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ink/ink1.xml" ContentType="application/inkml+xml"/>
  <Override PartName="/ppt/theme/themeOverride1.xml" ContentType="application/vnd.openxmlformats-officedocument.themeOverride+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151" r:id="rId4"/>
  </p:sldMasterIdLst>
  <p:notesMasterIdLst>
    <p:notesMasterId r:id="rId29"/>
  </p:notesMasterIdLst>
  <p:handoutMasterIdLst>
    <p:handoutMasterId r:id="rId30"/>
  </p:handoutMasterIdLst>
  <p:sldIdLst>
    <p:sldId id="2147479776" r:id="rId5"/>
    <p:sldId id="272" r:id="rId6"/>
    <p:sldId id="268" r:id="rId7"/>
    <p:sldId id="265" r:id="rId8"/>
    <p:sldId id="259" r:id="rId9"/>
    <p:sldId id="2147483646" r:id="rId10"/>
    <p:sldId id="2147483642" r:id="rId11"/>
    <p:sldId id="260" r:id="rId12"/>
    <p:sldId id="264" r:id="rId13"/>
    <p:sldId id="256" r:id="rId14"/>
    <p:sldId id="262" r:id="rId15"/>
    <p:sldId id="2147483645" r:id="rId16"/>
    <p:sldId id="2147483616" r:id="rId17"/>
    <p:sldId id="263" r:id="rId18"/>
    <p:sldId id="2147483647" r:id="rId19"/>
    <p:sldId id="258" r:id="rId20"/>
    <p:sldId id="257" r:id="rId21"/>
    <p:sldId id="2147478535" r:id="rId22"/>
    <p:sldId id="2147478825" r:id="rId23"/>
    <p:sldId id="2147469622" r:id="rId24"/>
    <p:sldId id="261" r:id="rId25"/>
    <p:sldId id="269" r:id="rId26"/>
    <p:sldId id="271" r:id="rId27"/>
    <p:sldId id="266" r:id="rId28"/>
  </p:sldIdLst>
  <p:sldSz cx="12192000" cy="6858000"/>
  <p:notesSz cx="6858000" cy="9144000"/>
  <p:custDataLst>
    <p:tags r:id="rId3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elcome to Veeam Primary Corporate Template" id="{43A694CB-73E3-45C9-BFC1-260647912FB8}">
          <p14:sldIdLst>
            <p14:sldId id="2147479776"/>
            <p14:sldId id="272"/>
            <p14:sldId id="268"/>
            <p14:sldId id="265"/>
            <p14:sldId id="259"/>
            <p14:sldId id="2147483646"/>
            <p14:sldId id="2147483642"/>
            <p14:sldId id="260"/>
            <p14:sldId id="264"/>
            <p14:sldId id="256"/>
            <p14:sldId id="262"/>
            <p14:sldId id="2147483645"/>
            <p14:sldId id="2147483616"/>
            <p14:sldId id="263"/>
            <p14:sldId id="2147483647"/>
            <p14:sldId id="258"/>
            <p14:sldId id="257"/>
            <p14:sldId id="2147478535"/>
          </p14:sldIdLst>
        </p14:section>
        <p14:section name="Additional diagrams" id="{F9DAF135-B04A-49DE-A61F-8C9843AB1B4C}">
          <p14:sldIdLst>
            <p14:sldId id="2147478825"/>
            <p14:sldId id="2147469622"/>
            <p14:sldId id="261"/>
            <p14:sldId id="269"/>
            <p14:sldId id="271"/>
            <p14:sldId id="26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56CA817-AB25-FDEB-901D-99E42420ABAC}" name="Jennifer Park" initials="JP" userId="S::jennifer.park@veeam.com::b19d644e-42e9-44a2-9217-96730612674c" providerId="AD"/>
  <p188:author id="{F742F86A-2C84-E396-D3DD-E82BFF25EDCE}" name="Florina Sacara" initials="" userId="S::florina.sacara@veeam.com::2337e30b-2f61-43d8-8392-ce3a880679df" providerId="AD"/>
  <p188:author id="{466D6B86-BE68-0391-C8B4-AC7979848279}" name="Neenu Sharma" initials="NS" userId="S::neenu.sharma@veeam.com::ed094e59-be11-4a7c-aca9-6be41115b955" providerId="AD"/>
  <p188:author id="{2E5AD4A6-2575-60D9-F1A9-D1D9887D16E3}" name="Misha Rangel" initials="MR" userId="S::misha.rangel@veeam.com::be3ead45-6f18-4387-84bb-17b9900599dc" providerId="AD"/>
  <p188:author id="{5A0A59A8-32FC-CB8D-460D-EC7DBD6B064F}" name="Natalia Krivopustova" initials="NK" userId="S::NKrivopustova@veeam.com::a3bcac9a-9d34-497d-a350-f644a5d33214" providerId="AD"/>
  <p188:author id="{EA6AFABF-06D8-C8F4-DDBA-37006C120F42}" name="Alexandr Pozdeev" initials="AP" userId="S::alexandr.pozdeev@veeam.com::d5923238-7b3e-4dbe-90eb-48912a57e410" providerId="AD"/>
  <p188:author id="{5C5DF9CC-CD08-D193-7E7C-813A6A69F536}" name="Tyler Lynch" initials="TL" userId="S::Tyler@duarte.com::2b0022d4-4731-4590-970e-389865d721af" providerId="AD"/>
  <p188:author id="{14FC17F3-D56F-5A93-2DEF-A24F4D2CD09B}" name="Amanda ONeil" initials="AO" userId="S::amanda.oneil@veeam.com::d48ce1df-d44b-49c5-99ac-74ab455f6c86" providerId="AD"/>
  <p188:author id="{5CD0E0F7-3FC7-AD12-48E9-E65A21C996B3}" name="Jay Kapur" initials="JK" userId="S::jay@duarte.com::ad043807-da17-49d2-b2f0-e3300631601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E71F4"/>
    <a:srgbClr val="262626"/>
    <a:srgbClr val="FFD836"/>
    <a:srgbClr val="FBFBFB"/>
    <a:srgbClr val="DBDEE1"/>
    <a:srgbClr val="B6BCC3"/>
    <a:srgbClr val="929BA5"/>
    <a:srgbClr val="505861"/>
    <a:srgbClr val="00D15F"/>
    <a:srgbClr val="AA94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31F9130-61C2-234D-8163-3366B228E3F6}" v="2" dt="2024-10-16T07:15:33.056"/>
  </p1510:revLst>
</p1510:revInfo>
</file>

<file path=ppt/tableStyles.xml><?xml version="1.0" encoding="utf-8"?>
<a:tblStyleLst xmlns:a="http://schemas.openxmlformats.org/drawingml/2006/main" def="{B301B821-A1FF-4177-AEE7-76D212191A09}">
  <a:tblStyle styleId="{5C22544A-7EE6-4342-B048-85BDC9FD1C3A}" styleName="Medium Style 2 - Accent 1">
    <a:wholeTbl>
      <a:tcTxStyle>
        <a:fontRef idx="minor">
          <a:srgbClr val="505861"/>
        </a:fontRef>
        <a:srgbClr val="505861"/>
      </a:tcTxStyle>
      <a:tcStyle>
        <a:tcBdr>
          <a:left>
            <a:ln w="0" cmpd="sng">
              <a:solidFill>
                <a:schemeClr val="lt1"/>
              </a:solidFill>
            </a:ln>
          </a:left>
          <a:right>
            <a:ln w="0" cmpd="sng">
              <a:solidFill>
                <a:schemeClr val="lt1"/>
              </a:solidFill>
            </a:ln>
          </a:right>
          <a:top>
            <a:ln w="0" cmpd="sng">
              <a:solidFill>
                <a:schemeClr val="lt1"/>
              </a:solidFill>
            </a:ln>
          </a:top>
          <a:bottom>
            <a:ln w="7000" cmpd="sng">
              <a:solidFill>
                <a:srgbClr val="E6E7F1"/>
              </a:solidFill>
            </a:ln>
          </a:bottom>
          <a:insideH>
            <a:ln w="7000" cmpd="sng">
              <a:solidFill>
                <a:srgbClr val="E6E7F1"/>
              </a:solidFill>
            </a:ln>
          </a:insideH>
          <a:insideV>
            <a:ln w="0" cmpd="sng">
              <a:solidFill>
                <a:schemeClr val="lt1"/>
              </a:solidFill>
            </a:ln>
          </a:insideV>
        </a:tcBdr>
        <a:fill>
          <a:solidFill>
            <a:schemeClr val="accent4">
              <a:alpha val="0"/>
            </a:schemeClr>
          </a:solidFill>
        </a:fill>
      </a:tcStyle>
    </a:wholeTbl>
    <a:band1H>
      <a:tcStyle>
        <a:tcBdr/>
        <a:fill>
          <a:solidFill>
            <a:schemeClr val="accent4">
              <a:alpha val="0"/>
            </a:schemeClr>
          </a:solidFill>
        </a:fill>
      </a:tcStyle>
    </a:band1H>
    <a:band2H>
      <a:tcStyle>
        <a:tcBdr/>
        <a:fill>
          <a:solidFill>
            <a:schemeClr val="accent4">
              <a:alpha val="0"/>
            </a:schemeClr>
          </a:solidFill>
        </a:fill>
      </a:tcStyle>
    </a:band2H>
    <a:band1V>
      <a:tcStyle>
        <a:tcBdr/>
        <a:fill>
          <a:solidFill>
            <a:schemeClr val="accent1">
              <a:alpha val="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insideV>
            <a:ln w="7000" cmpd="sng">
              <a:solidFill>
                <a:schemeClr val="lt1"/>
              </a:solidFill>
            </a:ln>
          </a:insideV>
        </a:tcBdr>
        <a:fill>
          <a:solidFill>
            <a:schemeClr val="accent1"/>
          </a:solidFill>
        </a:fill>
      </a:tcStyle>
    </a:lastRow>
    <a:firstRow>
      <a:tcTxStyle b="on">
        <a:fontRef idx="minor">
          <a:srgbClr val="00D15F"/>
        </a:fontRef>
        <a:srgbClr val="00D15F"/>
      </a:tcTxStyle>
      <a:tcStyle>
        <a:tcBdr>
          <a:bottom>
            <a:ln w="10500" cmpd="sng">
              <a:solidFill>
                <a:srgbClr val="00D15F"/>
              </a:solidFill>
            </a:ln>
          </a:bottom>
          <a:insideV>
            <a:ln w="0" cmpd="sng">
              <a:solidFill>
                <a:srgbClr val="005C37"/>
              </a:solidFill>
            </a:ln>
          </a:insideV>
        </a:tcBdr>
        <a:fill>
          <a:solidFill>
            <a:schemeClr val="accent1">
              <a:alpha val="0"/>
            </a:schemeClr>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rgbClr val="505861"/>
        </a:fontRef>
        <a:srgbClr val="505861"/>
      </a:tcTxStyle>
      <a:tcStyle>
        <a:tcBdr>
          <a:left>
            <a:ln w="0" cmpd="sng">
              <a:solidFill>
                <a:schemeClr val="lt1"/>
              </a:solidFill>
            </a:ln>
          </a:left>
          <a:right>
            <a:ln w="0" cmpd="sng">
              <a:solidFill>
                <a:schemeClr val="lt1"/>
              </a:solidFill>
            </a:ln>
          </a:right>
          <a:top>
            <a:ln w="0" cmpd="sng">
              <a:solidFill>
                <a:schemeClr val="lt1"/>
              </a:solidFill>
            </a:ln>
          </a:top>
          <a:bottom>
            <a:ln w="7000" cmpd="sng">
              <a:solidFill>
                <a:srgbClr val="E6E7F1"/>
              </a:solidFill>
            </a:ln>
          </a:bottom>
          <a:insideH>
            <a:ln w="7000" cmpd="sng">
              <a:solidFill>
                <a:srgbClr val="E6E7F1"/>
              </a:solidFill>
            </a:ln>
          </a:insideH>
          <a:insideV>
            <a:ln w="0" cmpd="sng">
              <a:solidFill>
                <a:schemeClr val="lt1"/>
              </a:solidFill>
            </a:ln>
          </a:insideV>
        </a:tcBdr>
        <a:fill>
          <a:solidFill>
            <a:schemeClr val="accent4">
              <a:alpha val="0"/>
            </a:schemeClr>
          </a:solidFill>
        </a:fill>
      </a:tcStyle>
    </a:wholeTbl>
    <a:band1H>
      <a:tcStyle>
        <a:tcBdr/>
        <a:fill>
          <a:solidFill>
            <a:schemeClr val="accent4">
              <a:alpha val="0"/>
            </a:schemeClr>
          </a:solidFill>
        </a:fill>
      </a:tcStyle>
    </a:band1H>
    <a:band2H>
      <a:tcStyle>
        <a:tcBdr/>
        <a:fill>
          <a:solidFill>
            <a:schemeClr val="accent4">
              <a:alpha val="0"/>
            </a:schemeClr>
          </a:solidFill>
        </a:fill>
      </a:tcStyle>
    </a:band2H>
    <a:band1V>
      <a:tcStyle>
        <a:tcBdr/>
        <a:fill>
          <a:solidFill>
            <a:schemeClr val="accent1">
              <a:alpha val="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insideV>
            <a:ln w="7000" cmpd="sng">
              <a:solidFill>
                <a:schemeClr val="lt1"/>
              </a:solidFill>
            </a:ln>
          </a:insideV>
        </a:tcBdr>
        <a:fill>
          <a:solidFill>
            <a:schemeClr val="accent1"/>
          </a:solidFill>
        </a:fill>
      </a:tcStyle>
    </a:lastRow>
    <a:firstRow>
      <a:tcTxStyle b="on">
        <a:fontRef idx="minor">
          <a:srgbClr val="8E71F4"/>
        </a:fontRef>
        <a:srgbClr val="8E71F4"/>
      </a:tcTxStyle>
      <a:tcStyle>
        <a:tcBdr>
          <a:bottom>
            <a:ln w="10500" cmpd="sng">
              <a:solidFill>
                <a:srgbClr val="8E71F4"/>
              </a:solidFill>
            </a:ln>
          </a:bottom>
          <a:insideV>
            <a:ln w="0" cmpd="sng">
              <a:solidFill>
                <a:srgbClr val="005C37"/>
              </a:solidFill>
            </a:ln>
          </a:insideV>
        </a:tcBdr>
        <a:fill>
          <a:solidFill>
            <a:schemeClr val="accent1">
              <a:alpha val="0"/>
            </a:schemeClr>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7"/>
    <p:restoredTop sz="87465" autoAdjust="0"/>
  </p:normalViewPr>
  <p:slideViewPr>
    <p:cSldViewPr snapToGrid="0">
      <p:cViewPr varScale="1">
        <p:scale>
          <a:sx n="109" d="100"/>
          <a:sy n="109" d="100"/>
        </p:scale>
        <p:origin x="920" y="184"/>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37"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handoutMaster" Target="handoutMasters/handoutMaster1.xml"/><Relationship Id="rId35"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ornel Popescu" userId="32ae4f20-45a7-458d-848b-494091707420" providerId="ADAL" clId="{E31F9130-61C2-234D-8163-3366B228E3F6}"/>
    <pc:docChg chg="custSel addSld modSld modSection">
      <pc:chgData name="Cornel Popescu" userId="32ae4f20-45a7-458d-848b-494091707420" providerId="ADAL" clId="{E31F9130-61C2-234D-8163-3366B228E3F6}" dt="2024-10-16T07:15:55.994" v="17" actId="1076"/>
      <pc:docMkLst>
        <pc:docMk/>
      </pc:docMkLst>
      <pc:sldChg chg="addSp delSp modSp add mod">
        <pc:chgData name="Cornel Popescu" userId="32ae4f20-45a7-458d-848b-494091707420" providerId="ADAL" clId="{E31F9130-61C2-234D-8163-3366B228E3F6}" dt="2024-10-16T07:15:55.994" v="17" actId="1076"/>
        <pc:sldMkLst>
          <pc:docMk/>
          <pc:sldMk cId="1683556024" sldId="257"/>
        </pc:sldMkLst>
        <pc:spChg chg="del">
          <ac:chgData name="Cornel Popescu" userId="32ae4f20-45a7-458d-848b-494091707420" providerId="ADAL" clId="{E31F9130-61C2-234D-8163-3366B228E3F6}" dt="2024-10-16T07:10:06.948" v="1" actId="478"/>
          <ac:spMkLst>
            <pc:docMk/>
            <pc:sldMk cId="1683556024" sldId="257"/>
            <ac:spMk id="2" creationId="{611E3D79-19AC-1A54-E195-685410892CBB}"/>
          </ac:spMkLst>
        </pc:spChg>
        <pc:spChg chg="add del mod">
          <ac:chgData name="Cornel Popescu" userId="32ae4f20-45a7-458d-848b-494091707420" providerId="ADAL" clId="{E31F9130-61C2-234D-8163-3366B228E3F6}" dt="2024-10-16T07:10:13.082" v="3" actId="478"/>
          <ac:spMkLst>
            <pc:docMk/>
            <pc:sldMk cId="1683556024" sldId="257"/>
            <ac:spMk id="4" creationId="{4BCE30D1-A2AC-BBDC-0E18-F7E0BAE28C23}"/>
          </ac:spMkLst>
        </pc:spChg>
        <pc:spChg chg="del">
          <ac:chgData name="Cornel Popescu" userId="32ae4f20-45a7-458d-848b-494091707420" providerId="ADAL" clId="{E31F9130-61C2-234D-8163-3366B228E3F6}" dt="2024-10-16T07:10:11.066" v="2" actId="478"/>
          <ac:spMkLst>
            <pc:docMk/>
            <pc:sldMk cId="1683556024" sldId="257"/>
            <ac:spMk id="123" creationId="{EE4990E4-C42D-0838-9A7E-2E2245FD3E5C}"/>
          </ac:spMkLst>
        </pc:spChg>
        <pc:spChg chg="del">
          <ac:chgData name="Cornel Popescu" userId="32ae4f20-45a7-458d-848b-494091707420" providerId="ADAL" clId="{E31F9130-61C2-234D-8163-3366B228E3F6}" dt="2024-10-16T07:10:06.948" v="1" actId="478"/>
          <ac:spMkLst>
            <pc:docMk/>
            <pc:sldMk cId="1683556024" sldId="257"/>
            <ac:spMk id="128" creationId="{A0943619-46CE-C92D-B123-DA2CF4102E83}"/>
          </ac:spMkLst>
        </pc:spChg>
        <pc:grpChg chg="del">
          <ac:chgData name="Cornel Popescu" userId="32ae4f20-45a7-458d-848b-494091707420" providerId="ADAL" clId="{E31F9130-61C2-234D-8163-3366B228E3F6}" dt="2024-10-16T07:10:06.948" v="1" actId="478"/>
          <ac:grpSpMkLst>
            <pc:docMk/>
            <pc:sldMk cId="1683556024" sldId="257"/>
            <ac:grpSpMk id="134" creationId="{18E53EA8-9FA3-B6C5-4683-B0DFE94BD590}"/>
          </ac:grpSpMkLst>
        </pc:grpChg>
        <pc:grpChg chg="del">
          <ac:chgData name="Cornel Popescu" userId="32ae4f20-45a7-458d-848b-494091707420" providerId="ADAL" clId="{E31F9130-61C2-234D-8163-3366B228E3F6}" dt="2024-10-16T07:10:06.948" v="1" actId="478"/>
          <ac:grpSpMkLst>
            <pc:docMk/>
            <pc:sldMk cId="1683556024" sldId="257"/>
            <ac:grpSpMk id="149" creationId="{7461AC09-3B23-6328-35AB-88E6E6565104}"/>
          </ac:grpSpMkLst>
        </pc:grpChg>
        <pc:grpChg chg="del">
          <ac:chgData name="Cornel Popescu" userId="32ae4f20-45a7-458d-848b-494091707420" providerId="ADAL" clId="{E31F9130-61C2-234D-8163-3366B228E3F6}" dt="2024-10-16T07:10:06.948" v="1" actId="478"/>
          <ac:grpSpMkLst>
            <pc:docMk/>
            <pc:sldMk cId="1683556024" sldId="257"/>
            <ac:grpSpMk id="160" creationId="{8A2EEE25-D59F-4F1A-5331-D26E794E86CC}"/>
          </ac:grpSpMkLst>
        </pc:grpChg>
        <pc:grpChg chg="del">
          <ac:chgData name="Cornel Popescu" userId="32ae4f20-45a7-458d-848b-494091707420" providerId="ADAL" clId="{E31F9130-61C2-234D-8163-3366B228E3F6}" dt="2024-10-16T07:10:06.948" v="1" actId="478"/>
          <ac:grpSpMkLst>
            <pc:docMk/>
            <pc:sldMk cId="1683556024" sldId="257"/>
            <ac:grpSpMk id="173" creationId="{AA5C6E4A-C7CC-C674-8598-17BCC983434B}"/>
          </ac:grpSpMkLst>
        </pc:grpChg>
        <pc:grpChg chg="del">
          <ac:chgData name="Cornel Popescu" userId="32ae4f20-45a7-458d-848b-494091707420" providerId="ADAL" clId="{E31F9130-61C2-234D-8163-3366B228E3F6}" dt="2024-10-16T07:10:06.948" v="1" actId="478"/>
          <ac:grpSpMkLst>
            <pc:docMk/>
            <pc:sldMk cId="1683556024" sldId="257"/>
            <ac:grpSpMk id="177" creationId="{6516A5F1-1C4D-B04C-0CC2-328F2BAC0325}"/>
          </ac:grpSpMkLst>
        </pc:grpChg>
        <pc:graphicFrameChg chg="del">
          <ac:chgData name="Cornel Popescu" userId="32ae4f20-45a7-458d-848b-494091707420" providerId="ADAL" clId="{E31F9130-61C2-234D-8163-3366B228E3F6}" dt="2024-10-16T07:10:06.948" v="1" actId="478"/>
          <ac:graphicFrameMkLst>
            <pc:docMk/>
            <pc:sldMk cId="1683556024" sldId="257"/>
            <ac:graphicFrameMk id="124" creationId="{4490CA17-9C4D-1993-0644-5D43DDAC4AB3}"/>
          </ac:graphicFrameMkLst>
        </pc:graphicFrameChg>
        <pc:picChg chg="add mod">
          <ac:chgData name="Cornel Popescu" userId="32ae4f20-45a7-458d-848b-494091707420" providerId="ADAL" clId="{E31F9130-61C2-234D-8163-3366B228E3F6}" dt="2024-10-16T07:10:29.162" v="8" actId="1076"/>
          <ac:picMkLst>
            <pc:docMk/>
            <pc:sldMk cId="1683556024" sldId="257"/>
            <ac:picMk id="5" creationId="{4CF91E1C-56E6-CB94-966D-E561080E6908}"/>
          </ac:picMkLst>
        </pc:picChg>
        <pc:picChg chg="add mod">
          <ac:chgData name="Cornel Popescu" userId="32ae4f20-45a7-458d-848b-494091707420" providerId="ADAL" clId="{E31F9130-61C2-234D-8163-3366B228E3F6}" dt="2024-10-16T07:15:55.994" v="17" actId="1076"/>
          <ac:picMkLst>
            <pc:docMk/>
            <pc:sldMk cId="1683556024" sldId="257"/>
            <ac:picMk id="7" creationId="{F986853E-3A73-4014-9229-FE3C90E129FA}"/>
          </ac:picMkLst>
        </pc:picChg>
        <pc:picChg chg="del">
          <ac:chgData name="Cornel Popescu" userId="32ae4f20-45a7-458d-848b-494091707420" providerId="ADAL" clId="{E31F9130-61C2-234D-8163-3366B228E3F6}" dt="2024-10-16T07:10:06.948" v="1" actId="478"/>
          <ac:picMkLst>
            <pc:docMk/>
            <pc:sldMk cId="1683556024" sldId="257"/>
            <ac:picMk id="129" creationId="{672A002E-18A0-4F4D-716F-5DA4FF14F4B7}"/>
          </ac:picMkLst>
        </pc:picChg>
        <pc:picChg chg="del">
          <ac:chgData name="Cornel Popescu" userId="32ae4f20-45a7-458d-848b-494091707420" providerId="ADAL" clId="{E31F9130-61C2-234D-8163-3366B228E3F6}" dt="2024-10-16T07:10:06.948" v="1" actId="478"/>
          <ac:picMkLst>
            <pc:docMk/>
            <pc:sldMk cId="1683556024" sldId="257"/>
            <ac:picMk id="130" creationId="{FA54D552-EC11-42F1-0897-24DA35D2DD9B}"/>
          </ac:picMkLst>
        </pc:picChg>
        <pc:picChg chg="del">
          <ac:chgData name="Cornel Popescu" userId="32ae4f20-45a7-458d-848b-494091707420" providerId="ADAL" clId="{E31F9130-61C2-234D-8163-3366B228E3F6}" dt="2024-10-16T07:10:06.948" v="1" actId="478"/>
          <ac:picMkLst>
            <pc:docMk/>
            <pc:sldMk cId="1683556024" sldId="257"/>
            <ac:picMk id="133" creationId="{E657DD41-E58F-C927-ECD3-C90AB7430DF6}"/>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veeamsoftwarecorp-my.sharepoint.com/personal/jeffrey_lense_veeam_com/Documents/2023/2023-05-VeeamON/IDC-Tracker-History.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144890477230898E-2"/>
          <c:y val="5.8355791583751739E-2"/>
          <c:w val="0.91379158907517655"/>
          <c:h val="0.84002291156035069"/>
        </c:manualLayout>
      </c:layout>
      <c:lineChart>
        <c:grouping val="standard"/>
        <c:varyColors val="0"/>
        <c:ser>
          <c:idx val="0"/>
          <c:order val="0"/>
          <c:tx>
            <c:strRef>
              <c:f>'Rank (2)'!$A$2</c:f>
              <c:strCache>
                <c:ptCount val="1"/>
                <c:pt idx="0">
                  <c:v>Veeam</c:v>
                </c:pt>
              </c:strCache>
            </c:strRef>
          </c:tx>
          <c:spPr>
            <a:ln w="76200" cap="rnd">
              <a:solidFill>
                <a:schemeClr val="accent2"/>
              </a:solidFill>
              <a:round/>
            </a:ln>
            <a:effectLst/>
          </c:spPr>
          <c:marker>
            <c:symbol val="circle"/>
            <c:size val="5"/>
            <c:spPr>
              <a:noFill/>
              <a:ln w="9525">
                <a:noFill/>
              </a:ln>
              <a:effectLst/>
            </c:spPr>
          </c:marker>
          <c:cat>
            <c:numRef>
              <c:f>'Rank (2)'!$B$1:$I$1</c:f>
              <c:numCache>
                <c:formatCode>General</c:formatCode>
                <c:ptCount val="8"/>
                <c:pt idx="0">
                  <c:v>2023</c:v>
                </c:pt>
                <c:pt idx="1">
                  <c:v>2022</c:v>
                </c:pt>
                <c:pt idx="2">
                  <c:v>2021</c:v>
                </c:pt>
                <c:pt idx="3">
                  <c:v>2020</c:v>
                </c:pt>
                <c:pt idx="4">
                  <c:v>2019</c:v>
                </c:pt>
                <c:pt idx="5">
                  <c:v>2018</c:v>
                </c:pt>
                <c:pt idx="6">
                  <c:v>2017</c:v>
                </c:pt>
                <c:pt idx="7">
                  <c:v>2016</c:v>
                </c:pt>
              </c:numCache>
            </c:numRef>
          </c:cat>
          <c:val>
            <c:numRef>
              <c:f>'Rank (2)'!$B$2:$I$2</c:f>
              <c:numCache>
                <c:formatCode>0.0%</c:formatCode>
                <c:ptCount val="8"/>
                <c:pt idx="0">
                  <c:v>0.13100000000000001</c:v>
                </c:pt>
                <c:pt idx="1">
                  <c:v>0.12</c:v>
                </c:pt>
                <c:pt idx="2" formatCode="0.00%">
                  <c:v>0.11700000000000001</c:v>
                </c:pt>
                <c:pt idx="3" formatCode="0.00%">
                  <c:v>0.112</c:v>
                </c:pt>
                <c:pt idx="4" formatCode="0%">
                  <c:v>0.1</c:v>
                </c:pt>
                <c:pt idx="5" formatCode="0.00%">
                  <c:v>8.8999999999999996E-2</c:v>
                </c:pt>
                <c:pt idx="6" formatCode="0.00%">
                  <c:v>9.9000000000000005E-2</c:v>
                </c:pt>
                <c:pt idx="7" formatCode="0%">
                  <c:v>7.0000000000000007E-2</c:v>
                </c:pt>
              </c:numCache>
            </c:numRef>
          </c:val>
          <c:smooth val="1"/>
          <c:extLst>
            <c:ext xmlns:c16="http://schemas.microsoft.com/office/drawing/2014/chart" uri="{C3380CC4-5D6E-409C-BE32-E72D297353CC}">
              <c16:uniqueId val="{00000000-2E9E-B34F-A7FA-79BF68654B4C}"/>
            </c:ext>
          </c:extLst>
        </c:ser>
        <c:ser>
          <c:idx val="1"/>
          <c:order val="1"/>
          <c:tx>
            <c:strRef>
              <c:f>'Rank (2)'!$A$3</c:f>
              <c:strCache>
                <c:ptCount val="1"/>
                <c:pt idx="0">
                  <c:v>Dell Technologies</c:v>
                </c:pt>
              </c:strCache>
            </c:strRef>
          </c:tx>
          <c:spPr>
            <a:ln w="76200" cap="rnd">
              <a:solidFill>
                <a:srgbClr val="007DB8"/>
              </a:solidFill>
              <a:round/>
            </a:ln>
            <a:effectLst/>
          </c:spPr>
          <c:marker>
            <c:symbol val="circle"/>
            <c:size val="5"/>
            <c:spPr>
              <a:noFill/>
              <a:ln w="9525">
                <a:noFill/>
              </a:ln>
              <a:effectLst/>
            </c:spPr>
          </c:marker>
          <c:cat>
            <c:numRef>
              <c:f>'Rank (2)'!$B$1:$I$1</c:f>
              <c:numCache>
                <c:formatCode>General</c:formatCode>
                <c:ptCount val="8"/>
                <c:pt idx="0">
                  <c:v>2023</c:v>
                </c:pt>
                <c:pt idx="1">
                  <c:v>2022</c:v>
                </c:pt>
                <c:pt idx="2">
                  <c:v>2021</c:v>
                </c:pt>
                <c:pt idx="3">
                  <c:v>2020</c:v>
                </c:pt>
                <c:pt idx="4">
                  <c:v>2019</c:v>
                </c:pt>
                <c:pt idx="5">
                  <c:v>2018</c:v>
                </c:pt>
                <c:pt idx="6">
                  <c:v>2017</c:v>
                </c:pt>
                <c:pt idx="7">
                  <c:v>2016</c:v>
                </c:pt>
              </c:numCache>
            </c:numRef>
          </c:cat>
          <c:val>
            <c:numRef>
              <c:f>'Rank (2)'!$B$3:$I$3</c:f>
              <c:numCache>
                <c:formatCode>0.0%</c:formatCode>
                <c:ptCount val="8"/>
                <c:pt idx="0">
                  <c:v>0.11899999999999999</c:v>
                </c:pt>
                <c:pt idx="1">
                  <c:v>0.112</c:v>
                </c:pt>
                <c:pt idx="2" formatCode="0%">
                  <c:v>0.12</c:v>
                </c:pt>
                <c:pt idx="3" formatCode="0.00%">
                  <c:v>0.156</c:v>
                </c:pt>
                <c:pt idx="4" formatCode="0.00%">
                  <c:v>0.16300000000000001</c:v>
                </c:pt>
                <c:pt idx="5" formatCode="0.00%">
                  <c:v>0.16600000000000001</c:v>
                </c:pt>
                <c:pt idx="6" formatCode="0.00%">
                  <c:v>0.125</c:v>
                </c:pt>
                <c:pt idx="7" formatCode="0.00%">
                  <c:v>0.14499999999999999</c:v>
                </c:pt>
              </c:numCache>
            </c:numRef>
          </c:val>
          <c:smooth val="1"/>
          <c:extLst>
            <c:ext xmlns:c16="http://schemas.microsoft.com/office/drawing/2014/chart" uri="{C3380CC4-5D6E-409C-BE32-E72D297353CC}">
              <c16:uniqueId val="{00000001-2E9E-B34F-A7FA-79BF68654B4C}"/>
            </c:ext>
          </c:extLst>
        </c:ser>
        <c:ser>
          <c:idx val="2"/>
          <c:order val="2"/>
          <c:tx>
            <c:strRef>
              <c:f>'Rank (2)'!$A$4</c:f>
              <c:strCache>
                <c:ptCount val="1"/>
                <c:pt idx="0">
                  <c:v>IBM</c:v>
                </c:pt>
              </c:strCache>
            </c:strRef>
          </c:tx>
          <c:spPr>
            <a:ln w="76200" cap="rnd">
              <a:solidFill>
                <a:schemeClr val="accent1">
                  <a:lumMod val="75000"/>
                  <a:lumOff val="25000"/>
                </a:schemeClr>
              </a:solidFill>
              <a:round/>
            </a:ln>
            <a:effectLst/>
          </c:spPr>
          <c:marker>
            <c:symbol val="circle"/>
            <c:size val="5"/>
            <c:spPr>
              <a:noFill/>
              <a:ln w="9525">
                <a:noFill/>
              </a:ln>
              <a:effectLst/>
            </c:spPr>
          </c:marker>
          <c:cat>
            <c:numRef>
              <c:f>'Rank (2)'!$B$1:$I$1</c:f>
              <c:numCache>
                <c:formatCode>General</c:formatCode>
                <c:ptCount val="8"/>
                <c:pt idx="0">
                  <c:v>2023</c:v>
                </c:pt>
                <c:pt idx="1">
                  <c:v>2022</c:v>
                </c:pt>
                <c:pt idx="2">
                  <c:v>2021</c:v>
                </c:pt>
                <c:pt idx="3">
                  <c:v>2020</c:v>
                </c:pt>
                <c:pt idx="4">
                  <c:v>2019</c:v>
                </c:pt>
                <c:pt idx="5">
                  <c:v>2018</c:v>
                </c:pt>
                <c:pt idx="6">
                  <c:v>2017</c:v>
                </c:pt>
                <c:pt idx="7">
                  <c:v>2016</c:v>
                </c:pt>
              </c:numCache>
            </c:numRef>
          </c:cat>
          <c:val>
            <c:numRef>
              <c:f>'Rank (2)'!$B$4:$I$4</c:f>
              <c:numCache>
                <c:formatCode>0.0%</c:formatCode>
                <c:ptCount val="8"/>
                <c:pt idx="0">
                  <c:v>8.7999999999999995E-2</c:v>
                </c:pt>
                <c:pt idx="1">
                  <c:v>8.7999999999999995E-2</c:v>
                </c:pt>
                <c:pt idx="2" formatCode="0.00%">
                  <c:v>8.5999999999999993E-2</c:v>
                </c:pt>
                <c:pt idx="3" formatCode="0.00%">
                  <c:v>0.111</c:v>
                </c:pt>
                <c:pt idx="4" formatCode="0.00%">
                  <c:v>0.122</c:v>
                </c:pt>
                <c:pt idx="5" formatCode="0%">
                  <c:v>0.13</c:v>
                </c:pt>
                <c:pt idx="6" formatCode="0.00%">
                  <c:v>0.14699999999999999</c:v>
                </c:pt>
                <c:pt idx="7" formatCode="0.00%">
                  <c:v>0.156</c:v>
                </c:pt>
              </c:numCache>
            </c:numRef>
          </c:val>
          <c:smooth val="1"/>
          <c:extLst>
            <c:ext xmlns:c16="http://schemas.microsoft.com/office/drawing/2014/chart" uri="{C3380CC4-5D6E-409C-BE32-E72D297353CC}">
              <c16:uniqueId val="{00000002-2E9E-B34F-A7FA-79BF68654B4C}"/>
            </c:ext>
          </c:extLst>
        </c:ser>
        <c:ser>
          <c:idx val="3"/>
          <c:order val="3"/>
          <c:tx>
            <c:strRef>
              <c:f>'Rank (2)'!$A$5</c:f>
              <c:strCache>
                <c:ptCount val="1"/>
                <c:pt idx="0">
                  <c:v>Veritas</c:v>
                </c:pt>
              </c:strCache>
            </c:strRef>
          </c:tx>
          <c:spPr>
            <a:ln w="76200" cap="rnd">
              <a:solidFill>
                <a:srgbClr val="B1181D"/>
              </a:solidFill>
              <a:round/>
            </a:ln>
            <a:effectLst/>
          </c:spPr>
          <c:marker>
            <c:symbol val="circle"/>
            <c:size val="5"/>
            <c:spPr>
              <a:noFill/>
              <a:ln w="9525">
                <a:noFill/>
              </a:ln>
              <a:effectLst/>
            </c:spPr>
          </c:marker>
          <c:cat>
            <c:numRef>
              <c:f>'Rank (2)'!$B$1:$I$1</c:f>
              <c:numCache>
                <c:formatCode>General</c:formatCode>
                <c:ptCount val="8"/>
                <c:pt idx="0">
                  <c:v>2023</c:v>
                </c:pt>
                <c:pt idx="1">
                  <c:v>2022</c:v>
                </c:pt>
                <c:pt idx="2">
                  <c:v>2021</c:v>
                </c:pt>
                <c:pt idx="3">
                  <c:v>2020</c:v>
                </c:pt>
                <c:pt idx="4">
                  <c:v>2019</c:v>
                </c:pt>
                <c:pt idx="5">
                  <c:v>2018</c:v>
                </c:pt>
                <c:pt idx="6">
                  <c:v>2017</c:v>
                </c:pt>
                <c:pt idx="7">
                  <c:v>2016</c:v>
                </c:pt>
              </c:numCache>
            </c:numRef>
          </c:cat>
          <c:val>
            <c:numRef>
              <c:f>'Rank (2)'!$B$5:$I$5</c:f>
              <c:numCache>
                <c:formatCode>0.0%</c:formatCode>
                <c:ptCount val="8"/>
                <c:pt idx="0">
                  <c:v>8.3000000000000004E-2</c:v>
                </c:pt>
                <c:pt idx="1">
                  <c:v>8.5999999999999993E-2</c:v>
                </c:pt>
                <c:pt idx="2" formatCode="0.00%">
                  <c:v>9.8000000000000004E-2</c:v>
                </c:pt>
                <c:pt idx="3" formatCode="0.00%">
                  <c:v>0.11600000000000001</c:v>
                </c:pt>
                <c:pt idx="4" formatCode="0.00%">
                  <c:v>0.11799999999999999</c:v>
                </c:pt>
                <c:pt idx="5" formatCode="0.00%">
                  <c:v>0.129</c:v>
                </c:pt>
                <c:pt idx="6" formatCode="0.00%">
                  <c:v>0.17100000000000001</c:v>
                </c:pt>
                <c:pt idx="7" formatCode="0.00%">
                  <c:v>0.188</c:v>
                </c:pt>
              </c:numCache>
            </c:numRef>
          </c:val>
          <c:smooth val="1"/>
          <c:extLst>
            <c:ext xmlns:c16="http://schemas.microsoft.com/office/drawing/2014/chart" uri="{C3380CC4-5D6E-409C-BE32-E72D297353CC}">
              <c16:uniqueId val="{00000003-2E9E-B34F-A7FA-79BF68654B4C}"/>
            </c:ext>
          </c:extLst>
        </c:ser>
        <c:ser>
          <c:idx val="4"/>
          <c:order val="4"/>
          <c:tx>
            <c:strRef>
              <c:f>'Rank (2)'!$A$6</c:f>
              <c:strCache>
                <c:ptCount val="1"/>
                <c:pt idx="0">
                  <c:v>Commvault</c:v>
                </c:pt>
              </c:strCache>
            </c:strRef>
          </c:tx>
          <c:spPr>
            <a:ln w="76200" cap="rnd">
              <a:solidFill>
                <a:srgbClr val="FF4A6A"/>
              </a:solidFill>
              <a:round/>
            </a:ln>
            <a:effectLst/>
          </c:spPr>
          <c:marker>
            <c:symbol val="circle"/>
            <c:size val="5"/>
            <c:spPr>
              <a:noFill/>
              <a:ln w="9525">
                <a:noFill/>
              </a:ln>
              <a:effectLst/>
            </c:spPr>
          </c:marker>
          <c:cat>
            <c:numRef>
              <c:f>'Rank (2)'!$B$1:$I$1</c:f>
              <c:numCache>
                <c:formatCode>General</c:formatCode>
                <c:ptCount val="8"/>
                <c:pt idx="0">
                  <c:v>2023</c:v>
                </c:pt>
                <c:pt idx="1">
                  <c:v>2022</c:v>
                </c:pt>
                <c:pt idx="2">
                  <c:v>2021</c:v>
                </c:pt>
                <c:pt idx="3">
                  <c:v>2020</c:v>
                </c:pt>
                <c:pt idx="4">
                  <c:v>2019</c:v>
                </c:pt>
                <c:pt idx="5">
                  <c:v>2018</c:v>
                </c:pt>
                <c:pt idx="6">
                  <c:v>2017</c:v>
                </c:pt>
                <c:pt idx="7">
                  <c:v>2016</c:v>
                </c:pt>
              </c:numCache>
            </c:numRef>
          </c:cat>
          <c:val>
            <c:numRef>
              <c:f>'Rank (2)'!$B$6:$I$6</c:f>
              <c:numCache>
                <c:formatCode>0.0%</c:formatCode>
                <c:ptCount val="8"/>
                <c:pt idx="0">
                  <c:v>6.4000000000000001E-2</c:v>
                </c:pt>
                <c:pt idx="1">
                  <c:v>6.2E-2</c:v>
                </c:pt>
                <c:pt idx="2" formatCode="0.00%">
                  <c:v>6.3E-2</c:v>
                </c:pt>
                <c:pt idx="3" formatCode="0.00%">
                  <c:v>7.1999999999999995E-2</c:v>
                </c:pt>
                <c:pt idx="4" formatCode="0.00%">
                  <c:v>6.8000000000000005E-2</c:v>
                </c:pt>
                <c:pt idx="5" formatCode="0.00%">
                  <c:v>7.4999999999999997E-2</c:v>
                </c:pt>
                <c:pt idx="6" formatCode="0.00%">
                  <c:v>8.1000000000000003E-2</c:v>
                </c:pt>
                <c:pt idx="7" formatCode="0.00%">
                  <c:v>7.1999999999999995E-2</c:v>
                </c:pt>
              </c:numCache>
            </c:numRef>
          </c:val>
          <c:smooth val="1"/>
          <c:extLst>
            <c:ext xmlns:c16="http://schemas.microsoft.com/office/drawing/2014/chart" uri="{C3380CC4-5D6E-409C-BE32-E72D297353CC}">
              <c16:uniqueId val="{00000004-2E9E-B34F-A7FA-79BF68654B4C}"/>
            </c:ext>
          </c:extLst>
        </c:ser>
        <c:dLbls>
          <c:showLegendKey val="0"/>
          <c:showVal val="0"/>
          <c:showCatName val="0"/>
          <c:showSerName val="0"/>
          <c:showPercent val="0"/>
          <c:showBubbleSize val="0"/>
        </c:dLbls>
        <c:marker val="1"/>
        <c:smooth val="0"/>
        <c:axId val="465243424"/>
        <c:axId val="567688672"/>
      </c:lineChart>
      <c:catAx>
        <c:axId val="465243424"/>
        <c:scaling>
          <c:orientation val="maxMin"/>
        </c:scaling>
        <c:delete val="0"/>
        <c:axPos val="b"/>
        <c:numFmt formatCode="General" sourceLinked="1"/>
        <c:majorTickMark val="cross"/>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RO"/>
          </a:p>
        </c:txPr>
        <c:crossAx val="567688672"/>
        <c:crosses val="autoZero"/>
        <c:auto val="1"/>
        <c:lblAlgn val="ctr"/>
        <c:lblOffset val="100"/>
        <c:noMultiLvlLbl val="0"/>
      </c:catAx>
      <c:valAx>
        <c:axId val="567688672"/>
        <c:scaling>
          <c:orientation val="minMax"/>
          <c:max val="0.19000000000000003"/>
          <c:min val="6.0000000000000012E-2"/>
        </c:scaling>
        <c:delete val="0"/>
        <c:axPos val="r"/>
        <c:majorGridlines>
          <c:spPr>
            <a:ln w="3175" cap="flat" cmpd="sng" algn="ctr">
              <a:solidFill>
                <a:schemeClr val="bg1">
                  <a:alpha val="14279"/>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RO"/>
          </a:p>
        </c:txPr>
        <c:crossAx val="46524342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RO"/>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FE5FB8B-0990-501F-CBDA-8289ADEB909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latin typeface="ES Build" pitchFamily="50" charset="0"/>
            </a:endParaRPr>
          </a:p>
        </p:txBody>
      </p:sp>
      <p:sp>
        <p:nvSpPr>
          <p:cNvPr id="3" name="Date Placeholder 2">
            <a:extLst>
              <a:ext uri="{FF2B5EF4-FFF2-40B4-BE49-F238E27FC236}">
                <a16:creationId xmlns:a16="http://schemas.microsoft.com/office/drawing/2014/main" id="{C877E847-83A8-2B69-E0E8-3F504C182BE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6908D62-93BB-489A-8F92-534C2AF6AC1C}" type="datetimeFigureOut">
              <a:rPr lang="en-US" smtClean="0">
                <a:latin typeface="ES Build" pitchFamily="50" charset="0"/>
              </a:rPr>
              <a:t>10/16/24</a:t>
            </a:fld>
            <a:endParaRPr lang="en-US">
              <a:latin typeface="ES Build" pitchFamily="50" charset="0"/>
            </a:endParaRPr>
          </a:p>
        </p:txBody>
      </p:sp>
      <p:sp>
        <p:nvSpPr>
          <p:cNvPr id="4" name="Footer Placeholder 3">
            <a:extLst>
              <a:ext uri="{FF2B5EF4-FFF2-40B4-BE49-F238E27FC236}">
                <a16:creationId xmlns:a16="http://schemas.microsoft.com/office/drawing/2014/main" id="{8EF2CA24-2FA5-DD34-7905-7CBA9F38393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latin typeface="ES Build" pitchFamily="50" charset="0"/>
            </a:endParaRPr>
          </a:p>
        </p:txBody>
      </p:sp>
      <p:sp>
        <p:nvSpPr>
          <p:cNvPr id="5" name="Slide Number Placeholder 4">
            <a:extLst>
              <a:ext uri="{FF2B5EF4-FFF2-40B4-BE49-F238E27FC236}">
                <a16:creationId xmlns:a16="http://schemas.microsoft.com/office/drawing/2014/main" id="{59147AAB-FBD8-3417-7333-7DD68E445A1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C3182C0-81F9-45AC-A139-9D56FEA8E9F0}" type="slidenum">
              <a:rPr lang="en-US" smtClean="0">
                <a:latin typeface="ES Build" pitchFamily="50" charset="0"/>
              </a:rPr>
              <a:t>‹#›</a:t>
            </a:fld>
            <a:endParaRPr lang="en-US">
              <a:latin typeface="ES Build" pitchFamily="50" charset="0"/>
            </a:endParaRPr>
          </a:p>
        </p:txBody>
      </p:sp>
    </p:spTree>
    <p:extLst>
      <p:ext uri="{BB962C8B-B14F-4D97-AF65-F5344CB8AC3E}">
        <p14:creationId xmlns:p14="http://schemas.microsoft.com/office/powerpoint/2010/main" val="4107289971"/>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0-06T19:33:32.208"/>
    </inkml:context>
    <inkml:brush xml:id="br0">
      <inkml:brushProperty name="width" value="0.05" units="cm"/>
      <inkml:brushProperty name="height" value="0.05" units="cm"/>
      <inkml:brushProperty name="color" value="#E71224"/>
    </inkml:brush>
  </inkml:definitions>
  <inkml:trace contextRef="#ctx0" brushRef="#br0">1 0 24575,'0'0'-819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ES Build" pitchFamily="50" charset="0"/>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ES Build" pitchFamily="50" charset="0"/>
              </a:defRPr>
            </a:lvl1pPr>
          </a:lstStyle>
          <a:p>
            <a:fld id="{04FECDBD-7113-A144-A72E-4C1FC98DD220}" type="datetimeFigureOut">
              <a:rPr lang="en-US" smtClean="0"/>
              <a:pPr/>
              <a:t>10/16/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ES Build" pitchFamily="50" charset="0"/>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ES Build" pitchFamily="50" charset="0"/>
              </a:defRPr>
            </a:lvl1pPr>
          </a:lstStyle>
          <a:p>
            <a:fld id="{A2D206B4-D7FF-F742-9988-8286DC6B11DB}" type="slidenum">
              <a:rPr lang="en-US" smtClean="0"/>
              <a:pPr/>
              <a:t>‹#›</a:t>
            </a:fld>
            <a:endParaRPr lang="en-US"/>
          </a:p>
        </p:txBody>
      </p:sp>
    </p:spTree>
    <p:extLst>
      <p:ext uri="{BB962C8B-B14F-4D97-AF65-F5344CB8AC3E}">
        <p14:creationId xmlns:p14="http://schemas.microsoft.com/office/powerpoint/2010/main" val="3979558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ES Build" pitchFamily="50" charset="0"/>
        <a:ea typeface="+mn-ea"/>
        <a:cs typeface="+mn-cs"/>
      </a:defRPr>
    </a:lvl1pPr>
    <a:lvl2pPr marL="457200" algn="l" defTabSz="914400" rtl="0" eaLnBrk="1" latinLnBrk="0" hangingPunct="1">
      <a:defRPr sz="1200" kern="1200">
        <a:solidFill>
          <a:schemeClr val="tx1"/>
        </a:solidFill>
        <a:latin typeface="ES Build" pitchFamily="50" charset="0"/>
        <a:ea typeface="+mn-ea"/>
        <a:cs typeface="+mn-cs"/>
      </a:defRPr>
    </a:lvl2pPr>
    <a:lvl3pPr marL="914400" algn="l" defTabSz="914400" rtl="0" eaLnBrk="1" latinLnBrk="0" hangingPunct="1">
      <a:defRPr sz="1200" kern="1200">
        <a:solidFill>
          <a:schemeClr val="tx1"/>
        </a:solidFill>
        <a:latin typeface="ES Build" pitchFamily="50" charset="0"/>
        <a:ea typeface="+mn-ea"/>
        <a:cs typeface="+mn-cs"/>
      </a:defRPr>
    </a:lvl3pPr>
    <a:lvl4pPr marL="1371600" algn="l" defTabSz="914400" rtl="0" eaLnBrk="1" latinLnBrk="0" hangingPunct="1">
      <a:defRPr sz="1200" kern="1200">
        <a:solidFill>
          <a:schemeClr val="tx1"/>
        </a:solidFill>
        <a:latin typeface="ES Build" pitchFamily="50" charset="0"/>
        <a:ea typeface="+mn-ea"/>
        <a:cs typeface="+mn-cs"/>
      </a:defRPr>
    </a:lvl4pPr>
    <a:lvl5pPr marL="1828800" algn="l" defTabSz="914400" rtl="0" eaLnBrk="1" latinLnBrk="0" hangingPunct="1">
      <a:defRPr sz="1200" kern="1200">
        <a:solidFill>
          <a:schemeClr val="tx1"/>
        </a:solidFill>
        <a:latin typeface="ES Build" pitchFamily="50"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llo, my name is [Name and Title]. Today I’m excited to share Veeam’s purpose with you: how we power data resilience to keep every business running. </a:t>
            </a:r>
          </a:p>
        </p:txBody>
      </p:sp>
      <p:sp>
        <p:nvSpPr>
          <p:cNvPr id="4" name="Slide Number Placeholder 3"/>
          <p:cNvSpPr>
            <a:spLocks noGrp="1"/>
          </p:cNvSpPr>
          <p:nvPr>
            <p:ph type="sldNum" sz="quarter" idx="5"/>
          </p:nvPr>
        </p:nvSpPr>
        <p:spPr/>
        <p:txBody>
          <a:bodyPr/>
          <a:lstStyle/>
          <a:p>
            <a:fld id="{A2D206B4-D7FF-F742-9988-8286DC6B11DB}" type="slidenum">
              <a:rPr lang="en-US" smtClean="0"/>
              <a:pPr/>
              <a:t>1</a:t>
            </a:fld>
            <a:endParaRPr lang="en-US"/>
          </a:p>
        </p:txBody>
      </p:sp>
    </p:spTree>
    <p:extLst>
      <p:ext uri="{BB962C8B-B14F-4D97-AF65-F5344CB8AC3E}">
        <p14:creationId xmlns:p14="http://schemas.microsoft.com/office/powerpoint/2010/main" val="4975307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indent="0">
              <a:lnSpc>
                <a:spcPct val="107000"/>
              </a:lnSpc>
              <a:spcAft>
                <a:spcPts val="0"/>
              </a:spcAft>
              <a:buFont typeface="Symbol" pitchFamily="2" charset="2"/>
              <a:buNone/>
            </a:pPr>
            <a:r>
              <a:rPr lang="en-US" dirty="0"/>
              <a:t>A common best practice for pre-incident planning is Zero Trust – a model that drives organizations to assume breach across their data estate. </a:t>
            </a:r>
          </a:p>
          <a:p>
            <a:pPr marL="0" lvl="1" indent="0">
              <a:lnSpc>
                <a:spcPct val="107000"/>
              </a:lnSpc>
              <a:spcAft>
                <a:spcPts val="0"/>
              </a:spcAft>
              <a:buFont typeface="Symbol" pitchFamily="2" charset="2"/>
              <a:buNone/>
            </a:pPr>
            <a:endParaRPr lang="en-US" dirty="0"/>
          </a:p>
          <a:p>
            <a:pPr marL="0" lvl="1" indent="0">
              <a:lnSpc>
                <a:spcPct val="107000"/>
              </a:lnSpc>
              <a:spcAft>
                <a:spcPts val="0"/>
              </a:spcAft>
              <a:buFont typeface="Symbol" pitchFamily="2" charset="2"/>
              <a:buNone/>
            </a:pPr>
            <a:r>
              <a:rPr lang="en-US" dirty="0"/>
              <a:t>Veeam plugs that principle into the foundational architecture of every solution, employing physical and/or logical separation of environments, and least privilege access, to minimize the attack surface and blast radius.</a:t>
            </a:r>
          </a:p>
          <a:p>
            <a:pPr marL="0" lvl="1" indent="0">
              <a:lnSpc>
                <a:spcPct val="107000"/>
              </a:lnSpc>
              <a:spcAft>
                <a:spcPts val="0"/>
              </a:spcAft>
              <a:buFont typeface="Symbol" pitchFamily="2" charset="2"/>
              <a:buNone/>
            </a:pPr>
            <a:endParaRPr lang="en-US" dirty="0"/>
          </a:p>
        </p:txBody>
      </p:sp>
      <p:sp>
        <p:nvSpPr>
          <p:cNvPr id="4" name="Slide Number Placeholder 3"/>
          <p:cNvSpPr>
            <a:spLocks noGrp="1"/>
          </p:cNvSpPr>
          <p:nvPr>
            <p:ph type="sldNum" sz="quarter" idx="5"/>
          </p:nvPr>
        </p:nvSpPr>
        <p:spPr/>
        <p:txBody>
          <a:bodyPr/>
          <a:lstStyle/>
          <a:p>
            <a:fld id="{A2D206B4-D7FF-F742-9988-8286DC6B11DB}" type="slidenum">
              <a:rPr lang="en-US" smtClean="0"/>
              <a:pPr/>
              <a:t>10</a:t>
            </a:fld>
            <a:endParaRPr lang="en-US"/>
          </a:p>
        </p:txBody>
      </p:sp>
    </p:spTree>
    <p:extLst>
      <p:ext uri="{BB962C8B-B14F-4D97-AF65-F5344CB8AC3E}">
        <p14:creationId xmlns:p14="http://schemas.microsoft.com/office/powerpoint/2010/main" val="25893590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cently Veeam acquired </a:t>
            </a:r>
            <a:r>
              <a:rPr lang="en-US" dirty="0" err="1"/>
              <a:t>Coveware</a:t>
            </a:r>
            <a:r>
              <a:rPr lang="en-US" dirty="0"/>
              <a:t>, a leading provider in cyber-extortion incident response. </a:t>
            </a:r>
          </a:p>
          <a:p>
            <a:endParaRPr lang="en-US" dirty="0"/>
          </a:p>
          <a:p>
            <a:r>
              <a:rPr lang="en-US" dirty="0" err="1"/>
              <a:t>Coveware</a:t>
            </a:r>
            <a:r>
              <a:rPr lang="en-US" dirty="0"/>
              <a:t> Incident Response is now offered as part of Veeam’s Cyber Secure program, combining our powerful security capabilities with expertise backed by the largest commercial database of Cyber Incident Response data.</a:t>
            </a:r>
          </a:p>
          <a:p>
            <a:endParaRPr lang="en-US" dirty="0"/>
          </a:p>
          <a:p>
            <a:r>
              <a:rPr lang="en-US" dirty="0"/>
              <a:t>No other vendor in the market provides this level of complete support for Enterprise Data Resilience. Period.</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D206B4-D7FF-F742-9988-8286DC6B11DB}" type="slidenum">
              <a:rPr kumimoji="0" lang="en-US" sz="1300" b="0" i="0" u="none" strike="noStrike" kern="1200" cap="none" spc="0" normalizeH="0" baseline="0" noProof="0" smtClean="0">
                <a:ln>
                  <a:noFill/>
                </a:ln>
                <a:solidFill>
                  <a:prstClr val="black"/>
                </a:solidFill>
                <a:effectLst/>
                <a:uLnTx/>
                <a:uFillTx/>
                <a:latin typeface="ES Build"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300" b="0" i="0" u="none" strike="noStrike" kern="1200" cap="none" spc="0" normalizeH="0" baseline="0" noProof="0">
              <a:ln>
                <a:noFill/>
              </a:ln>
              <a:solidFill>
                <a:prstClr val="black"/>
              </a:solidFill>
              <a:effectLst/>
              <a:uLnTx/>
              <a:uFillTx/>
              <a:latin typeface="ES Build" pitchFamily="50" charset="0"/>
              <a:ea typeface="+mn-ea"/>
              <a:cs typeface="+mn-cs"/>
            </a:endParaRPr>
          </a:p>
        </p:txBody>
      </p:sp>
    </p:spTree>
    <p:extLst>
      <p:ext uri="{BB962C8B-B14F-4D97-AF65-F5344CB8AC3E}">
        <p14:creationId xmlns:p14="http://schemas.microsoft.com/office/powerpoint/2010/main" val="24475049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ve mentioned our AI-powered threat detection before, but what I didn’t mention is how easy it is to use. The engine sends signals to the Veeam Threat Center dashboard, highlighting potential threats and measuring risk via an automated security scoring function. As cyber attacks become increasingly sophisticated, you should be looking to exploit the power of AI to stay one step ahead! </a:t>
            </a:r>
          </a:p>
          <a:p>
            <a:endParaRPr lang="en-US" dirty="0"/>
          </a:p>
          <a:p>
            <a:r>
              <a:rPr lang="en-US" dirty="0"/>
              <a:t>And part of that means using Veeam to its fullest extent. For example, when 450,000 organizations use your solution, you can learn a lot from their experiences. Back in 2019, Veeam launched Intelligent Diagnostics, a solution that leverages a database of signals from Veeam Tech Support to recommend remediation actions for common misconfigurations. These kinds of diagnostics can help you fix issues before they become a blocker to data resilience. </a:t>
            </a:r>
          </a:p>
          <a:p>
            <a:endParaRPr lang="en-US" dirty="0"/>
          </a:p>
          <a:p>
            <a:r>
              <a:rPr lang="en-US" dirty="0"/>
              <a:t>We also recently launched the Veeam AI Digital Assistant, unlocking in-product guidance using generative AI. This engine will only become more powerful, as we recently announced a joint partnership with Microsoft to co-develop and integrate with Microsoft Copilot. </a:t>
            </a:r>
          </a:p>
          <a:p>
            <a:endParaRPr lang="en-US" dirty="0"/>
          </a:p>
          <a:p>
            <a:r>
              <a:rPr lang="en-US" dirty="0"/>
              <a:t>And that Copilot integration will expand our existing capabilities for Backup Data Reuse. Veeam makes it easy to crack open backups and use them for dev/test, expose them to third-party data mining tools, execute eDiscovery requests and more, ultimately maximizing the value of your backup investments.</a:t>
            </a:r>
          </a:p>
          <a:p>
            <a:endParaRPr lang="en-US" dirty="0"/>
          </a:p>
        </p:txBody>
      </p:sp>
      <p:sp>
        <p:nvSpPr>
          <p:cNvPr id="4" name="Slide Number Placeholder 3"/>
          <p:cNvSpPr>
            <a:spLocks noGrp="1"/>
          </p:cNvSpPr>
          <p:nvPr>
            <p:ph type="sldNum" sz="quarter" idx="5"/>
          </p:nvPr>
        </p:nvSpPr>
        <p:spPr/>
        <p:txBody>
          <a:bodyPr/>
          <a:lstStyle/>
          <a:p>
            <a:fld id="{A2D206B4-D7FF-F742-9988-8286DC6B11DB}" type="slidenum">
              <a:rPr lang="en-US" smtClean="0"/>
              <a:pPr/>
              <a:t>12</a:t>
            </a:fld>
            <a:endParaRPr lang="en-US"/>
          </a:p>
        </p:txBody>
      </p:sp>
    </p:spTree>
    <p:extLst>
      <p:ext uri="{BB962C8B-B14F-4D97-AF65-F5344CB8AC3E}">
        <p14:creationId xmlns:p14="http://schemas.microsoft.com/office/powerpoint/2010/main" val="38677081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theme I’ve hit on throughout the five pillars of data resilience is Flexibility. Unlike other vendors in the space who have prescriptive and restrictive deployment options, Veeam offers customers choice with flexible delivery models. </a:t>
            </a:r>
          </a:p>
          <a:p>
            <a:endParaRPr lang="en-US" dirty="0"/>
          </a:p>
          <a:p>
            <a:r>
              <a:rPr lang="en-US" dirty="0"/>
              <a:t>Execute complete control over the architecture and deployment of your backup strategy with our Software Subscription options, or accelerate time to value with backup services from Veeam or one of our Veeam managed service partners. </a:t>
            </a:r>
          </a:p>
          <a:p>
            <a:endParaRPr lang="en-US" dirty="0"/>
          </a:p>
        </p:txBody>
      </p:sp>
      <p:sp>
        <p:nvSpPr>
          <p:cNvPr id="4" name="Slide Number Placeholder 3"/>
          <p:cNvSpPr>
            <a:spLocks noGrp="1"/>
          </p:cNvSpPr>
          <p:nvPr>
            <p:ph type="sldNum" sz="quarter" idx="5"/>
          </p:nvPr>
        </p:nvSpPr>
        <p:spPr/>
        <p:txBody>
          <a:bodyPr/>
          <a:lstStyle/>
          <a:p>
            <a:fld id="{A2D206B4-D7FF-F742-9988-8286DC6B11DB}" type="slidenum">
              <a:rPr lang="en-US" smtClean="0"/>
              <a:pPr/>
              <a:t>13</a:t>
            </a:fld>
            <a:endParaRPr lang="en-US"/>
          </a:p>
        </p:txBody>
      </p:sp>
    </p:spTree>
    <p:extLst>
      <p:ext uri="{BB962C8B-B14F-4D97-AF65-F5344CB8AC3E}">
        <p14:creationId xmlns:p14="http://schemas.microsoft.com/office/powerpoint/2010/main" val="4373544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bring these 5 pillars together, across our delivery models, I want to refresh on the beginning of the presentation. Our industry is currently experiencing the perfect storm of complexity and threats. Data volumes are growing, data is increasingly getting locked up in proprietary environments, workloads are going unprotected as they move to multiple clouds, and bad actors are gaining ground. The time is now to prioritize data resilience. </a:t>
            </a:r>
          </a:p>
        </p:txBody>
      </p:sp>
      <p:sp>
        <p:nvSpPr>
          <p:cNvPr id="4" name="Slide Number Placeholder 3"/>
          <p:cNvSpPr>
            <a:spLocks noGrp="1"/>
          </p:cNvSpPr>
          <p:nvPr>
            <p:ph type="sldNum" sz="quarter" idx="5"/>
          </p:nvPr>
        </p:nvSpPr>
        <p:spPr/>
        <p:txBody>
          <a:bodyPr/>
          <a:lstStyle/>
          <a:p>
            <a:fld id="{A2D206B4-D7FF-F742-9988-8286DC6B11DB}" type="slidenum">
              <a:rPr lang="en-US" smtClean="0"/>
              <a:pPr/>
              <a:t>14</a:t>
            </a:fld>
            <a:endParaRPr lang="en-US"/>
          </a:p>
        </p:txBody>
      </p:sp>
    </p:spTree>
    <p:extLst>
      <p:ext uri="{BB962C8B-B14F-4D97-AF65-F5344CB8AC3E}">
        <p14:creationId xmlns:p14="http://schemas.microsoft.com/office/powerpoint/2010/main" val="2362334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450,000 customers, 74% of the Global 2000 trust Veeam to keep their business running. VMware backup was just the start for us – as you’ve heard, we continue to create the standard that other vendors follow across disaster recovery, data resilience, cloud data protection and more.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D206B4-D7FF-F742-9988-8286DC6B11DB}" type="slidenum">
              <a:rPr kumimoji="0" lang="en-US" sz="1200" b="0" i="0" u="none" strike="noStrike" kern="1200" cap="none" spc="0" normalizeH="0" baseline="0" noProof="0" smtClean="0">
                <a:ln>
                  <a:noFill/>
                </a:ln>
                <a:solidFill>
                  <a:prstClr val="black"/>
                </a:solidFill>
                <a:effectLst/>
                <a:uLnTx/>
                <a:uFillTx/>
                <a:latin typeface="ES Build"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ES Build" pitchFamily="50" charset="0"/>
              <a:ea typeface="+mn-ea"/>
              <a:cs typeface="+mn-cs"/>
            </a:endParaRPr>
          </a:p>
        </p:txBody>
      </p:sp>
    </p:spTree>
    <p:extLst>
      <p:ext uri="{BB962C8B-B14F-4D97-AF65-F5344CB8AC3E}">
        <p14:creationId xmlns:p14="http://schemas.microsoft.com/office/powerpoint/2010/main" val="3715776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category leadership is why analysts from IDC, Gartner and others recognize us for our commitment to innovation. From leading in data protection for modern workloads, to our disciplined approach to data portability, to our award-winning recovery capabilities, there’s a lot to brag about at Veeam. But we truly do this because we are passionate about keeping businesses like yours up and running. With Veeam by your side, you have the confidence knowing that you can meet the IT needs of today, and tomorrow.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D206B4-D7FF-F742-9988-8286DC6B11DB}" type="slidenum">
              <a:rPr kumimoji="0" lang="en-US" sz="1200" b="0" i="0" u="none" strike="noStrike" kern="1200" cap="none" spc="0" normalizeH="0" baseline="0" noProof="0" smtClean="0">
                <a:ln>
                  <a:noFill/>
                </a:ln>
                <a:solidFill>
                  <a:prstClr val="black"/>
                </a:solidFill>
                <a:effectLst/>
                <a:uLnTx/>
                <a:uFillTx/>
                <a:latin typeface="ES Build"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ES Build" pitchFamily="50" charset="0"/>
              <a:ea typeface="+mn-ea"/>
              <a:cs typeface="+mn-cs"/>
            </a:endParaRPr>
          </a:p>
        </p:txBody>
      </p:sp>
    </p:spTree>
    <p:extLst>
      <p:ext uri="{BB962C8B-B14F-4D97-AF65-F5344CB8AC3E}">
        <p14:creationId xmlns:p14="http://schemas.microsoft.com/office/powerpoint/2010/main" val="8619818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45A96B-3BD1-8546-9A8D-2887882B7E7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9D02BD0-7943-387F-E46A-46FB8CEB8BA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993E841-01B3-7AAC-F7F5-1909086028CB}"/>
              </a:ext>
            </a:extLst>
          </p:cNvPr>
          <p:cNvSpPr>
            <a:spLocks noGrp="1"/>
          </p:cNvSpPr>
          <p:nvPr>
            <p:ph type="body" idx="1"/>
          </p:nvPr>
        </p:nvSpPr>
        <p:spPr/>
        <p:txBody>
          <a:bodyPr/>
          <a:lstStyle/>
          <a:p>
            <a:r>
              <a:rPr lang="en-US" dirty="0"/>
              <a:t>Our category leadership is why analysts from IDC, Gartner and others recognize us for our commitment to innovation. From leading in data protection for modern workloads, to our disciplined approach to data portability, to our award-winning recovery capabilities, there’s a lot to brag about at Veeam. But we truly do this because we are passionate about keeping businesses like yours up and running. With Veeam by your side, you have the confidence knowing that you can meet the IT needs of today, and tomorrow. </a:t>
            </a:r>
          </a:p>
        </p:txBody>
      </p:sp>
      <p:sp>
        <p:nvSpPr>
          <p:cNvPr id="4" name="Slide Number Placeholder 3">
            <a:extLst>
              <a:ext uri="{FF2B5EF4-FFF2-40B4-BE49-F238E27FC236}">
                <a16:creationId xmlns:a16="http://schemas.microsoft.com/office/drawing/2014/main" id="{5BFFDA85-767B-FF71-E257-602C5D57600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D206B4-D7FF-F742-9988-8286DC6B11DB}" type="slidenum">
              <a:rPr kumimoji="0" lang="en-US" sz="1200" b="0" i="0" u="none" strike="noStrike" kern="1200" cap="none" spc="0" normalizeH="0" baseline="0" noProof="0" smtClean="0">
                <a:ln>
                  <a:noFill/>
                </a:ln>
                <a:solidFill>
                  <a:prstClr val="black"/>
                </a:solidFill>
                <a:effectLst/>
                <a:uLnTx/>
                <a:uFillTx/>
                <a:latin typeface="ES Build"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ES Build" pitchFamily="50" charset="0"/>
              <a:ea typeface="+mn-ea"/>
              <a:cs typeface="+mn-cs"/>
            </a:endParaRPr>
          </a:p>
        </p:txBody>
      </p:sp>
    </p:spTree>
    <p:extLst>
      <p:ext uri="{BB962C8B-B14F-4D97-AF65-F5344CB8AC3E}">
        <p14:creationId xmlns:p14="http://schemas.microsoft.com/office/powerpoint/2010/main" val="11945114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look forward to discussing more about your current business requirements, sharing insights from other organizations we work with, and proving the power of Veeam in a proof of concept. Thank you for the time today! </a:t>
            </a:r>
          </a:p>
        </p:txBody>
      </p:sp>
      <p:sp>
        <p:nvSpPr>
          <p:cNvPr id="4" name="Slide Number Placeholder 3"/>
          <p:cNvSpPr>
            <a:spLocks noGrp="1"/>
          </p:cNvSpPr>
          <p:nvPr>
            <p:ph type="sldNum" sz="quarter" idx="5"/>
          </p:nvPr>
        </p:nvSpPr>
        <p:spPr/>
        <p:txBody>
          <a:bodyPr/>
          <a:lstStyle/>
          <a:p>
            <a:fld id="{A2D206B4-D7FF-F742-9988-8286DC6B11DB}" type="slidenum">
              <a:rPr lang="en-US" smtClean="0"/>
              <a:pPr/>
              <a:t>18</a:t>
            </a:fld>
            <a:endParaRPr lang="en-US"/>
          </a:p>
        </p:txBody>
      </p:sp>
    </p:spTree>
    <p:extLst>
      <p:ext uri="{BB962C8B-B14F-4D97-AF65-F5344CB8AC3E}">
        <p14:creationId xmlns:p14="http://schemas.microsoft.com/office/powerpoint/2010/main" val="6731606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776300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nSpc>
                <a:spcPct val="107000"/>
              </a:lnSpc>
              <a:spcBef>
                <a:spcPts val="0"/>
              </a:spcBef>
              <a:spcAft>
                <a:spcPts val="0"/>
              </a:spcAft>
              <a:buNone/>
            </a:pPr>
            <a:r>
              <a:rPr lang="en-US" dirty="0">
                <a:effectLst/>
                <a:latin typeface="Arial Narrow" panose="020B0604020202020204" pitchFamily="34" charset="0"/>
                <a:ea typeface="Aptos" panose="020B0004020202020204" pitchFamily="34" charset="0"/>
                <a:cs typeface="Arial Narrow" panose="020B0604020202020204" pitchFamily="34" charset="0"/>
              </a:rPr>
              <a:t>To start, it’s important to recognize that data is the lifeblood of every business, and presents increasingly complex challenges for organizations like yours to manage. As data explodes year on year, and sprawls across multiple clouds, countless endpoints and geographic locations, Veeam is tracking two emerging threats to data resilience. </a:t>
            </a:r>
          </a:p>
          <a:p>
            <a:pPr marL="0" marR="0" indent="0">
              <a:lnSpc>
                <a:spcPct val="107000"/>
              </a:lnSpc>
              <a:spcBef>
                <a:spcPts val="0"/>
              </a:spcBef>
              <a:spcAft>
                <a:spcPts val="0"/>
              </a:spcAft>
              <a:buNone/>
            </a:pPr>
            <a:endParaRPr lang="en-US" dirty="0">
              <a:effectLst/>
              <a:latin typeface="Arial Narrow" panose="020B0604020202020204" pitchFamily="34" charset="0"/>
              <a:ea typeface="Aptos" panose="020B0004020202020204" pitchFamily="34" charset="0"/>
              <a:cs typeface="Arial Narrow" panose="020B0604020202020204" pitchFamily="34" charset="0"/>
            </a:endParaRPr>
          </a:p>
          <a:p>
            <a:pPr marL="0" marR="0" indent="0">
              <a:lnSpc>
                <a:spcPct val="107000"/>
              </a:lnSpc>
              <a:spcBef>
                <a:spcPts val="0"/>
              </a:spcBef>
              <a:spcAft>
                <a:spcPts val="0"/>
              </a:spcAft>
              <a:buNone/>
            </a:pPr>
            <a:r>
              <a:rPr lang="en-US" dirty="0">
                <a:effectLst/>
                <a:latin typeface="Arial Narrow" panose="020B0604020202020204" pitchFamily="34" charset="0"/>
                <a:ea typeface="Aptos" panose="020B0004020202020204" pitchFamily="34" charset="0"/>
                <a:cs typeface="Arial Narrow" panose="020B0604020202020204" pitchFamily="34" charset="0"/>
              </a:rPr>
              <a:t>The first is Vendor Lock-in. To keep data resilient, you need the ability to move your data easily to new applications or platforms, especially as the industry tracks aggressive vendor price increases, sending budgets spiraling. </a:t>
            </a:r>
          </a:p>
          <a:p>
            <a:pPr marL="0" marR="0" indent="0">
              <a:lnSpc>
                <a:spcPct val="107000"/>
              </a:lnSpc>
              <a:spcBef>
                <a:spcPts val="0"/>
              </a:spcBef>
              <a:spcAft>
                <a:spcPts val="0"/>
              </a:spcAft>
              <a:buNone/>
            </a:pPr>
            <a:endParaRPr lang="en-US" dirty="0">
              <a:effectLst/>
              <a:latin typeface="Arial Narrow" panose="020B0604020202020204" pitchFamily="34" charset="0"/>
              <a:ea typeface="Aptos" panose="020B0004020202020204" pitchFamily="34" charset="0"/>
              <a:cs typeface="Arial Narrow" panose="020B0604020202020204" pitchFamily="34" charset="0"/>
            </a:endParaRPr>
          </a:p>
          <a:p>
            <a:pPr marL="0" marR="0" indent="0">
              <a:lnSpc>
                <a:spcPct val="107000"/>
              </a:lnSpc>
              <a:spcBef>
                <a:spcPts val="0"/>
              </a:spcBef>
              <a:spcAft>
                <a:spcPts val="0"/>
              </a:spcAft>
              <a:buNone/>
            </a:pPr>
            <a:r>
              <a:rPr lang="en-US" dirty="0">
                <a:effectLst/>
                <a:latin typeface="Arial Narrow" panose="020B0604020202020204" pitchFamily="34" charset="0"/>
                <a:ea typeface="Aptos" panose="020B0004020202020204" pitchFamily="34" charset="0"/>
                <a:cs typeface="Arial Narrow" panose="020B0604020202020204" pitchFamily="34" charset="0"/>
              </a:rPr>
              <a:t>The second is the increasing volume and sophistication of Ransomware – a costly problem, especially when you consider that 27% of organizations who paid a ransom still couldn’t recover their dat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ES Build"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ES Build" pitchFamily="50" charset="0"/>
              <a:ea typeface="+mn-ea"/>
              <a:cs typeface="+mn-cs"/>
            </a:endParaRPr>
          </a:p>
        </p:txBody>
      </p:sp>
    </p:spTree>
    <p:extLst>
      <p:ext uri="{BB962C8B-B14F-4D97-AF65-F5344CB8AC3E}">
        <p14:creationId xmlns:p14="http://schemas.microsoft.com/office/powerpoint/2010/main" val="23533199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a:t>There are three enterprise-grade editions of the Veeam Data Platform to meet your specific needs and budget. All editions contain Veeam’s award-winning Secure Backup and Instant Recovery</a:t>
            </a:r>
          </a:p>
          <a:p>
            <a:pPr marL="15875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lang="en-US"/>
          </a:p>
          <a:p>
            <a:pPr marL="15875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a:t>Advanced and Premium editions also deliver advanced data resiliency features including - monitoring, analytics and fully orchestrated recovery.</a:t>
            </a:r>
          </a:p>
          <a:p>
            <a:pPr marL="15875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lang="en-US"/>
          </a:p>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a:t>Premium Edition is your clear path to data </a:t>
            </a:r>
            <a:r>
              <a:rPr lang="en-US" sz="1100">
                <a:solidFill>
                  <a:schemeClr val="bg2"/>
                </a:solidFill>
                <a:latin typeface="Tahoma"/>
              </a:rPr>
              <a:t>resilience, enabling you to be ready for any scenario with orchestrated recovery - </a:t>
            </a:r>
            <a:r>
              <a:rPr lang="en-US"/>
              <a:t>providing you access to the full capabilities available with the Veeam Data Platform, adding the ability to rapidly respond to a ransomware attack with orchestrated recovery that is secure, tested and documented for compliance</a:t>
            </a:r>
          </a:p>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a:t>Advanced Edition, which combines backup &amp; recovery with monitoring and analytics enables you to m</a:t>
            </a:r>
            <a:r>
              <a:rPr lang="en-US" sz="1100">
                <a:solidFill>
                  <a:schemeClr val="bg2"/>
                </a:solidFill>
                <a:latin typeface="Tahoma"/>
              </a:rPr>
              <a:t>aintain full visibility for proactive management and recovery success</a:t>
            </a:r>
            <a:r>
              <a:rPr lang="en-US"/>
              <a:t> with deep, intelligent monitoring and observability to identify and resolve any backup or recovery problems before they become emergencies</a:t>
            </a:r>
          </a:p>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a:t>Foundation Edition allows you to o</a:t>
            </a:r>
            <a:r>
              <a:rPr lang="en-US" sz="1100">
                <a:solidFill>
                  <a:schemeClr val="bg2"/>
                </a:solidFill>
                <a:latin typeface="Tahoma"/>
              </a:rPr>
              <a:t>wn, control, backup and recover all your data, anywhere in the hybrid cloud </a:t>
            </a:r>
          </a:p>
          <a:p>
            <a:pPr marL="15875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lang="en-US"/>
          </a:p>
          <a:p>
            <a:pPr marL="15875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lang="en-US"/>
          </a:p>
        </p:txBody>
      </p:sp>
    </p:spTree>
    <p:extLst>
      <p:ext uri="{BB962C8B-B14F-4D97-AF65-F5344CB8AC3E}">
        <p14:creationId xmlns:p14="http://schemas.microsoft.com/office/powerpoint/2010/main" val="9214781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D206B4-D7FF-F742-9988-8286DC6B11DB}" type="slidenum">
              <a:rPr kumimoji="0" lang="en-US" sz="1300" b="0" i="0" u="none" strike="noStrike" kern="1200" cap="none" spc="0" normalizeH="0" baseline="0" noProof="0" smtClean="0">
                <a:ln>
                  <a:noFill/>
                </a:ln>
                <a:solidFill>
                  <a:prstClr val="black"/>
                </a:solidFill>
                <a:effectLst/>
                <a:uLnTx/>
                <a:uFillTx/>
                <a:latin typeface="ES Build"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300" b="0" i="0" u="none" strike="noStrike" kern="1200" cap="none" spc="0" normalizeH="0" baseline="0" noProof="0">
              <a:ln>
                <a:noFill/>
              </a:ln>
              <a:solidFill>
                <a:prstClr val="black"/>
              </a:solidFill>
              <a:effectLst/>
              <a:uLnTx/>
              <a:uFillTx/>
              <a:latin typeface="ES Build" pitchFamily="50" charset="0"/>
              <a:ea typeface="+mn-ea"/>
              <a:cs typeface="+mn-cs"/>
            </a:endParaRPr>
          </a:p>
        </p:txBody>
      </p:sp>
    </p:spTree>
    <p:extLst>
      <p:ext uri="{BB962C8B-B14F-4D97-AF65-F5344CB8AC3E}">
        <p14:creationId xmlns:p14="http://schemas.microsoft.com/office/powerpoint/2010/main" val="3308073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D206B4-D7FF-F742-9988-8286DC6B11DB}" type="slidenum">
              <a:rPr kumimoji="0" lang="en-US" sz="1300" b="0" i="0" u="none" strike="noStrike" kern="1200" cap="none" spc="0" normalizeH="0" baseline="0" noProof="0" smtClean="0">
                <a:ln>
                  <a:noFill/>
                </a:ln>
                <a:solidFill>
                  <a:prstClr val="black"/>
                </a:solidFill>
                <a:effectLst/>
                <a:uLnTx/>
                <a:uFillTx/>
                <a:latin typeface="ES Build"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300" b="0" i="0" u="none" strike="noStrike" kern="1200" cap="none" spc="0" normalizeH="0" baseline="0" noProof="0">
              <a:ln>
                <a:noFill/>
              </a:ln>
              <a:solidFill>
                <a:prstClr val="black"/>
              </a:solidFill>
              <a:effectLst/>
              <a:uLnTx/>
              <a:uFillTx/>
              <a:latin typeface="ES Build" pitchFamily="50" charset="0"/>
              <a:ea typeface="+mn-ea"/>
              <a:cs typeface="+mn-cs"/>
            </a:endParaRPr>
          </a:p>
        </p:txBody>
      </p:sp>
    </p:spTree>
    <p:extLst>
      <p:ext uri="{BB962C8B-B14F-4D97-AF65-F5344CB8AC3E}">
        <p14:creationId xmlns:p14="http://schemas.microsoft.com/office/powerpoint/2010/main" val="193718086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2D206B4-D7FF-F742-9988-8286DC6B11DB}" type="slidenum">
              <a:rPr lang="en-US" smtClean="0"/>
              <a:pPr/>
              <a:t>24</a:t>
            </a:fld>
            <a:endParaRPr lang="en-US"/>
          </a:p>
        </p:txBody>
      </p:sp>
    </p:spTree>
    <p:extLst>
      <p:ext uri="{BB962C8B-B14F-4D97-AF65-F5344CB8AC3E}">
        <p14:creationId xmlns:p14="http://schemas.microsoft.com/office/powerpoint/2010/main" val="14504161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nSpc>
                <a:spcPct val="107000"/>
              </a:lnSpc>
              <a:spcBef>
                <a:spcPts val="0"/>
              </a:spcBef>
              <a:spcAft>
                <a:spcPts val="0"/>
              </a:spcAft>
              <a:buNone/>
            </a:pPr>
            <a:r>
              <a:rPr lang="en-US" dirty="0">
                <a:effectLst/>
                <a:latin typeface="Arial Narrow" panose="020B0604020202020204" pitchFamily="34" charset="0"/>
                <a:ea typeface="Aptos" panose="020B0004020202020204" pitchFamily="34" charset="0"/>
                <a:cs typeface="Arial Narrow" panose="020B0604020202020204" pitchFamily="34" charset="0"/>
              </a:rPr>
              <a:t>The world runs on data. Every business runs on data. If that data is unavailable, every business stops. You need to protect your data across every cloud, every endpoint, VM, app, container. </a:t>
            </a:r>
          </a:p>
          <a:p>
            <a:pPr marL="0" marR="0" indent="0">
              <a:lnSpc>
                <a:spcPct val="107000"/>
              </a:lnSpc>
              <a:spcBef>
                <a:spcPts val="0"/>
              </a:spcBef>
              <a:spcAft>
                <a:spcPts val="0"/>
              </a:spcAft>
              <a:buNone/>
            </a:pPr>
            <a:endParaRPr lang="en-US" dirty="0">
              <a:effectLst/>
              <a:latin typeface="Arial Narrow" panose="020B0604020202020204" pitchFamily="34" charset="0"/>
              <a:ea typeface="Aptos" panose="020B0004020202020204" pitchFamily="34" charset="0"/>
              <a:cs typeface="Arial Narrow" panose="020B0604020202020204" pitchFamily="34" charset="0"/>
            </a:endParaRPr>
          </a:p>
          <a:p>
            <a:pPr marL="0" marR="0" indent="0">
              <a:lnSpc>
                <a:spcPct val="107000"/>
              </a:lnSpc>
              <a:spcBef>
                <a:spcPts val="0"/>
              </a:spcBef>
              <a:spcAft>
                <a:spcPts val="0"/>
              </a:spcAft>
              <a:buNone/>
            </a:pPr>
            <a:r>
              <a:rPr lang="en-US" dirty="0">
                <a:effectLst/>
                <a:latin typeface="Arial Narrow" panose="020B0604020202020204" pitchFamily="34" charset="0"/>
                <a:ea typeface="Aptos" panose="020B0004020202020204" pitchFamily="34" charset="0"/>
                <a:cs typeface="Arial Narrow" panose="020B0604020202020204" pitchFamily="34" charset="0"/>
              </a:rPr>
              <a:t>We call this “data resilience.”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ES Build"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ES Build" pitchFamily="50" charset="0"/>
              <a:ea typeface="+mn-ea"/>
              <a:cs typeface="+mn-cs"/>
            </a:endParaRPr>
          </a:p>
        </p:txBody>
      </p:sp>
    </p:spTree>
    <p:extLst>
      <p:ext uri="{BB962C8B-B14F-4D97-AF65-F5344CB8AC3E}">
        <p14:creationId xmlns:p14="http://schemas.microsoft.com/office/powerpoint/2010/main" val="41216360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what does it mean for a company to pursue “data resilience”? Veeam looks at it across 5 core pillars:</a:t>
            </a:r>
          </a:p>
          <a:p>
            <a:endParaRPr lang="en-US" dirty="0"/>
          </a:p>
          <a:p>
            <a:r>
              <a:rPr lang="en-US" dirty="0"/>
              <a:t>The first is Data Backup. Backups are often the first target of ransomware attacks – regardless of where that data resides. Next is Data Recovery. Traditional recovery strategies leave businesses vulnerable, with 43% of data unrecoverable post-attack. </a:t>
            </a:r>
          </a:p>
          <a:p>
            <a:endParaRPr lang="en-US" dirty="0"/>
          </a:p>
          <a:p>
            <a:r>
              <a:rPr lang="en-US" dirty="0"/>
              <a:t>Then, Veeam is passionate about Data Freedom – the ability to freely move your data whenever, wherever and however you want. Data resilience wouldn’t be possible without Data Security – ensuring your data is secure, immutable and recoverable. And finally, Data Intelligence. Veeam is committed to making our products better, and helping you derive insights from your backup data. </a:t>
            </a:r>
          </a:p>
          <a:p>
            <a:endParaRPr lang="en-US" dirty="0"/>
          </a:p>
          <a:p>
            <a:r>
              <a:rPr lang="en-US" dirty="0"/>
              <a:t>We’ll talk more about all of these pillars in today’s presentation.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D206B4-D7FF-F742-9988-8286DC6B11DB}" type="slidenum">
              <a:rPr kumimoji="0" lang="en-US" sz="1200" b="0" i="0" u="none" strike="noStrike" kern="1200" cap="none" spc="0" normalizeH="0" baseline="0" noProof="0" smtClean="0">
                <a:ln>
                  <a:noFill/>
                </a:ln>
                <a:solidFill>
                  <a:prstClr val="black"/>
                </a:solidFill>
                <a:effectLst/>
                <a:uLnTx/>
                <a:uFillTx/>
                <a:latin typeface="ES Build"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ES Build" pitchFamily="50" charset="0"/>
              <a:ea typeface="+mn-ea"/>
              <a:cs typeface="+mn-cs"/>
            </a:endParaRPr>
          </a:p>
        </p:txBody>
      </p:sp>
    </p:spTree>
    <p:extLst>
      <p:ext uri="{BB962C8B-B14F-4D97-AF65-F5344CB8AC3E}">
        <p14:creationId xmlns:p14="http://schemas.microsoft.com/office/powerpoint/2010/main" val="36718508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07000"/>
              </a:lnSpc>
              <a:spcAft>
                <a:spcPts val="800"/>
              </a:spcAft>
              <a:buNone/>
            </a:pPr>
            <a:r>
              <a:rPr lang="en-US" dirty="0">
                <a:effectLst/>
                <a:latin typeface="Arial Narrow" panose="020B0604020202020204" pitchFamily="34" charset="0"/>
                <a:ea typeface="Aptos" panose="020B0004020202020204" pitchFamily="34" charset="0"/>
                <a:cs typeface="Arial Narrow" panose="020B0604020202020204" pitchFamily="34" charset="0"/>
              </a:rPr>
              <a:t>But first, Veeam recognizes that to meet modern data protection requirements, we need to support a broad set of workloads across physical, virtual, cloud, apps and containers. And you can expect new workloads to be continuously added with each release! </a:t>
            </a:r>
            <a:endParaRPr lang="en-US" dirty="0"/>
          </a:p>
        </p:txBody>
      </p:sp>
      <p:sp>
        <p:nvSpPr>
          <p:cNvPr id="4" name="Slide Number Placeholder 3"/>
          <p:cNvSpPr>
            <a:spLocks noGrp="1"/>
          </p:cNvSpPr>
          <p:nvPr>
            <p:ph type="sldNum" sz="quarter" idx="5"/>
          </p:nvPr>
        </p:nvSpPr>
        <p:spPr/>
        <p:txBody>
          <a:bodyPr/>
          <a:lstStyle/>
          <a:p>
            <a:fld id="{A2D206B4-D7FF-F742-9988-8286DC6B11DB}" type="slidenum">
              <a:rPr lang="en-US" smtClean="0"/>
              <a:pPr/>
              <a:t>5</a:t>
            </a:fld>
            <a:endParaRPr lang="en-US"/>
          </a:p>
        </p:txBody>
      </p:sp>
    </p:spTree>
    <p:extLst>
      <p:ext uri="{BB962C8B-B14F-4D97-AF65-F5344CB8AC3E}">
        <p14:creationId xmlns:p14="http://schemas.microsoft.com/office/powerpoint/2010/main" val="15687239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07000"/>
              </a:lnSpc>
              <a:spcBef>
                <a:spcPts val="0"/>
              </a:spcBef>
              <a:spcAft>
                <a:spcPts val="800"/>
              </a:spcAft>
              <a:buFont typeface="Symbol" pitchFamily="2" charset="2"/>
              <a:buNone/>
            </a:pPr>
            <a:r>
              <a:rPr lang="en-US" dirty="0">
                <a:effectLst/>
                <a:latin typeface="Arial Narrow" panose="020B0604020202020204" pitchFamily="34" charset="0"/>
                <a:ea typeface="Aptos" panose="020B0004020202020204" pitchFamily="34" charset="0"/>
                <a:cs typeface="Arial Narrow" panose="020B0604020202020204" pitchFamily="34" charset="0"/>
              </a:rPr>
              <a:t>Data Backup is the foundation of data resilience. Veeam leverages native APIs at the platform layer, enabling your team to retire point tools in favor of a platform that combines backups, snapshots, replication and continuous data protection capabilities, optimizing your total cost of ownership. </a:t>
            </a:r>
          </a:p>
          <a:p>
            <a:pPr marL="0" marR="0" lvl="0" indent="0">
              <a:lnSpc>
                <a:spcPct val="107000"/>
              </a:lnSpc>
              <a:spcBef>
                <a:spcPts val="0"/>
              </a:spcBef>
              <a:spcAft>
                <a:spcPts val="800"/>
              </a:spcAft>
              <a:buFont typeface="Symbol" pitchFamily="2" charset="2"/>
              <a:buNone/>
            </a:pPr>
            <a:endParaRPr lang="en-US" dirty="0">
              <a:effectLst/>
              <a:latin typeface="Arial Narrow" panose="020B0604020202020204" pitchFamily="34" charset="0"/>
              <a:ea typeface="Aptos" panose="020B0004020202020204" pitchFamily="34" charset="0"/>
              <a:cs typeface="Arial Narrow" panose="020B0604020202020204" pitchFamily="34" charset="0"/>
            </a:endParaRPr>
          </a:p>
          <a:p>
            <a:pPr marL="0" marR="0" lvl="0" indent="0">
              <a:lnSpc>
                <a:spcPct val="107000"/>
              </a:lnSpc>
              <a:spcBef>
                <a:spcPts val="0"/>
              </a:spcBef>
              <a:spcAft>
                <a:spcPts val="800"/>
              </a:spcAft>
              <a:buFont typeface="Symbol" pitchFamily="2" charset="2"/>
              <a:buNone/>
            </a:pPr>
            <a:r>
              <a:rPr lang="en-US" dirty="0">
                <a:effectLst/>
                <a:latin typeface="Arial Narrow" panose="020B0604020202020204" pitchFamily="34" charset="0"/>
                <a:ea typeface="Aptos" panose="020B0004020202020204" pitchFamily="34" charset="0"/>
                <a:cs typeface="Arial Narrow" panose="020B0604020202020204" pitchFamily="34" charset="0"/>
              </a:rPr>
              <a:t>And that commitment to TCO extends to the scalability enhancements we add each year. You can manage complex, distributed and multi-cloud environments with centralized management tools, enabling automated policy-setting that leaves no workload unprotected. </a:t>
            </a:r>
          </a:p>
          <a:p>
            <a:pPr marL="0" marR="0" lvl="0" indent="0">
              <a:lnSpc>
                <a:spcPct val="107000"/>
              </a:lnSpc>
              <a:spcBef>
                <a:spcPts val="0"/>
              </a:spcBef>
              <a:spcAft>
                <a:spcPts val="800"/>
              </a:spcAft>
              <a:buFont typeface="Symbol" pitchFamily="2" charset="2"/>
              <a:buNone/>
            </a:pPr>
            <a:endParaRPr lang="en-US" dirty="0">
              <a:effectLst/>
              <a:latin typeface="Arial Narrow" panose="020B0604020202020204" pitchFamily="34" charset="0"/>
              <a:ea typeface="Aptos" panose="020B0004020202020204" pitchFamily="34" charset="0"/>
              <a:cs typeface="Arial Narrow" panose="020B0604020202020204" pitchFamily="34" charset="0"/>
            </a:endParaRPr>
          </a:p>
          <a:p>
            <a:pPr marL="0" marR="0" lvl="0" indent="0">
              <a:lnSpc>
                <a:spcPct val="107000"/>
              </a:lnSpc>
              <a:spcBef>
                <a:spcPts val="0"/>
              </a:spcBef>
              <a:spcAft>
                <a:spcPts val="800"/>
              </a:spcAft>
              <a:buFont typeface="Symbol" pitchFamily="2" charset="2"/>
              <a:buNone/>
            </a:pPr>
            <a:r>
              <a:rPr lang="en-US" dirty="0">
                <a:effectLst/>
                <a:latin typeface="Arial Narrow" panose="020B0604020202020204" pitchFamily="34" charset="0"/>
                <a:ea typeface="Aptos" panose="020B0004020202020204" pitchFamily="34" charset="0"/>
                <a:cs typeface="Arial Narrow" panose="020B0604020202020204" pitchFamily="34" charset="0"/>
              </a:rPr>
              <a:t>Plus, Veeam empowers IT teams to move ‘testing’ off the ‘nice to have’ list by automating recoverability testing at scale, instilling confidence that Veeam just works! </a:t>
            </a:r>
          </a:p>
          <a:p>
            <a:endParaRPr lang="en-US" dirty="0"/>
          </a:p>
        </p:txBody>
      </p:sp>
      <p:sp>
        <p:nvSpPr>
          <p:cNvPr id="4" name="Slide Number Placeholder 3"/>
          <p:cNvSpPr>
            <a:spLocks noGrp="1"/>
          </p:cNvSpPr>
          <p:nvPr>
            <p:ph type="sldNum" sz="quarter" idx="5"/>
          </p:nvPr>
        </p:nvSpPr>
        <p:spPr/>
        <p:txBody>
          <a:bodyPr/>
          <a:lstStyle/>
          <a:p>
            <a:fld id="{A2D206B4-D7FF-F742-9988-8286DC6B11DB}" type="slidenum">
              <a:rPr lang="en-US" smtClean="0"/>
              <a:pPr/>
              <a:t>6</a:t>
            </a:fld>
            <a:endParaRPr lang="en-US"/>
          </a:p>
        </p:txBody>
      </p:sp>
    </p:spTree>
    <p:extLst>
      <p:ext uri="{BB962C8B-B14F-4D97-AF65-F5344CB8AC3E}">
        <p14:creationId xmlns:p14="http://schemas.microsoft.com/office/powerpoint/2010/main" val="13041960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ing of testing, it’s a good reminder that disruption to your business is inevitable! And the time to find out how successfully you’ll recover isn’t while you’re in the middle of a disaster. </a:t>
            </a:r>
          </a:p>
          <a:p>
            <a:endParaRPr lang="en-US" dirty="0"/>
          </a:p>
          <a:p>
            <a:r>
              <a:rPr lang="en-US" dirty="0"/>
              <a:t>Veeam’s comprehensive recovery capabilities aim to reduce downtime, recover with precision, provide documentation, and even sequence disaster recovery – offering you a level of confidence most IT Teams don’t have today. </a:t>
            </a:r>
          </a:p>
          <a:p>
            <a:endParaRPr lang="en-US" dirty="0"/>
          </a:p>
          <a:p>
            <a:r>
              <a:rPr lang="en-US" dirty="0"/>
              <a:t>Perhaps the worst kind of disaster is when you have to recover from a successful cyber attack. Veeam’s Secure Restore enables you to scan a backup with your antivirus software, or with YARA tools, to ensure it’s verified clean before you restore to production. </a:t>
            </a:r>
          </a:p>
          <a:p>
            <a:endParaRPr lang="en-US" dirty="0"/>
          </a:p>
        </p:txBody>
      </p:sp>
      <p:sp>
        <p:nvSpPr>
          <p:cNvPr id="4" name="Slide Number Placeholder 3"/>
          <p:cNvSpPr>
            <a:spLocks noGrp="1"/>
          </p:cNvSpPr>
          <p:nvPr>
            <p:ph type="sldNum" sz="quarter" idx="5"/>
          </p:nvPr>
        </p:nvSpPr>
        <p:spPr/>
        <p:txBody>
          <a:bodyPr/>
          <a:lstStyle/>
          <a:p>
            <a:fld id="{A2D206B4-D7FF-F742-9988-8286DC6B11DB}" type="slidenum">
              <a:rPr lang="en-US" smtClean="0"/>
              <a:pPr/>
              <a:t>7</a:t>
            </a:fld>
            <a:endParaRPr lang="en-US"/>
          </a:p>
        </p:txBody>
      </p:sp>
    </p:spTree>
    <p:extLst>
      <p:ext uri="{BB962C8B-B14F-4D97-AF65-F5344CB8AC3E}">
        <p14:creationId xmlns:p14="http://schemas.microsoft.com/office/powerpoint/2010/main" val="38932937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recovering from a cyber attack, you may have to opt for plan b, c, or d to get your business back up and running. At Veeam we are passionate about keeping data portable – so in the event of a disaster Veeam enables you to relocate and </a:t>
            </a:r>
            <a:r>
              <a:rPr lang="en-US" dirty="0" err="1"/>
              <a:t>replatform</a:t>
            </a:r>
            <a:r>
              <a:rPr lang="en-US" dirty="0"/>
              <a:t> your data so you can recover wherever and however you need to. </a:t>
            </a:r>
          </a:p>
          <a:p>
            <a:endParaRPr lang="en-US" dirty="0"/>
          </a:p>
          <a:p>
            <a:r>
              <a:rPr lang="en-US" dirty="0"/>
              <a:t>And that portability promise extends to other use cases. If you’re executing a hardware refresh, or </a:t>
            </a:r>
            <a:r>
              <a:rPr lang="en-US" dirty="0" err="1"/>
              <a:t>replatforming</a:t>
            </a:r>
            <a:r>
              <a:rPr lang="en-US" dirty="0"/>
              <a:t> a VM, or even building a container practice, Veeam can support the migration and ongoing data protection. </a:t>
            </a:r>
          </a:p>
          <a:p>
            <a:endParaRPr lang="en-US" dirty="0"/>
          </a:p>
          <a:p>
            <a:r>
              <a:rPr lang="en-US" dirty="0"/>
              <a:t>And we’re able to do this in no small part to our broad storage support. So whether you’re looking to reuse and optimize existing storage, leverage Veeam’s turnkey backup service – Veeam Data Cloud – or point backups to your cloud-of-choice, Veeam has you covered! </a:t>
            </a:r>
          </a:p>
          <a:p>
            <a:endParaRPr lang="en-US" dirty="0"/>
          </a:p>
        </p:txBody>
      </p:sp>
      <p:sp>
        <p:nvSpPr>
          <p:cNvPr id="4" name="Slide Number Placeholder 3"/>
          <p:cNvSpPr>
            <a:spLocks noGrp="1"/>
          </p:cNvSpPr>
          <p:nvPr>
            <p:ph type="sldNum" sz="quarter" idx="5"/>
          </p:nvPr>
        </p:nvSpPr>
        <p:spPr/>
        <p:txBody>
          <a:bodyPr/>
          <a:lstStyle/>
          <a:p>
            <a:fld id="{A2D206B4-D7FF-F742-9988-8286DC6B11DB}" type="slidenum">
              <a:rPr lang="en-US" smtClean="0"/>
              <a:pPr/>
              <a:t>8</a:t>
            </a:fld>
            <a:endParaRPr lang="en-US"/>
          </a:p>
        </p:txBody>
      </p:sp>
    </p:spTree>
    <p:extLst>
      <p:ext uri="{BB962C8B-B14F-4D97-AF65-F5344CB8AC3E}">
        <p14:creationId xmlns:p14="http://schemas.microsoft.com/office/powerpoint/2010/main" val="41308724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other cornerstone of the Veeam story is our relentless commitment to security innovation. We believe organizations shouldn’t relegate data protection to the back-half of an incident response plan. Instead, Veeam offers a 360-approach, pre-, during- and post-incident. </a:t>
            </a:r>
          </a:p>
          <a:p>
            <a:endParaRPr lang="en-US" dirty="0"/>
          </a:p>
          <a:p>
            <a:r>
              <a:rPr lang="en-US" dirty="0"/>
              <a:t>For example, Veeam now offers a broad range of options to detect suspicious activity by performing low impact scans on your backups, adding yet another set of signals for your organization to detect incidents faster. </a:t>
            </a:r>
          </a:p>
          <a:p>
            <a:endParaRPr lang="en-US" dirty="0"/>
          </a:p>
          <a:p>
            <a:r>
              <a:rPr lang="en-US" dirty="0"/>
              <a:t>Another way we think proactively is our dedication to supporting immutability everywhere. Keeping backups in immutable storage ensures your data is authentic, accurate and free from tampering. </a:t>
            </a:r>
          </a:p>
          <a:p>
            <a:endParaRPr lang="en-US" dirty="0"/>
          </a:p>
        </p:txBody>
      </p:sp>
      <p:sp>
        <p:nvSpPr>
          <p:cNvPr id="4" name="Slide Number Placeholder 3"/>
          <p:cNvSpPr>
            <a:spLocks noGrp="1"/>
          </p:cNvSpPr>
          <p:nvPr>
            <p:ph type="sldNum" sz="quarter" idx="5"/>
          </p:nvPr>
        </p:nvSpPr>
        <p:spPr/>
        <p:txBody>
          <a:bodyPr/>
          <a:lstStyle/>
          <a:p>
            <a:fld id="{A2D206B4-D7FF-F742-9988-8286DC6B11DB}" type="slidenum">
              <a:rPr lang="en-US" smtClean="0"/>
              <a:pPr/>
              <a:t>9</a:t>
            </a:fld>
            <a:endParaRPr lang="en-US"/>
          </a:p>
        </p:txBody>
      </p:sp>
    </p:spTree>
    <p:extLst>
      <p:ext uri="{BB962C8B-B14F-4D97-AF65-F5344CB8AC3E}">
        <p14:creationId xmlns:p14="http://schemas.microsoft.com/office/powerpoint/2010/main" val="4848348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8" Type="http://schemas.openxmlformats.org/officeDocument/2006/relationships/hyperlink" Target="https://www.instagram.com/veeam_software/" TargetMode="External"/><Relationship Id="rId13" Type="http://schemas.openxmlformats.org/officeDocument/2006/relationships/image" Target="../media/image26.png"/><Relationship Id="rId3" Type="http://schemas.openxmlformats.org/officeDocument/2006/relationships/image" Target="../media/image2.png"/><Relationship Id="rId7" Type="http://schemas.openxmlformats.org/officeDocument/2006/relationships/hyperlink" Target="https://www.facebook.com/VeeamSoftware/" TargetMode="External"/><Relationship Id="rId12" Type="http://schemas.openxmlformats.org/officeDocument/2006/relationships/hyperlink" Target="https://www.youtube.com/@veeam" TargetMode="External"/><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23.png"/><Relationship Id="rId11" Type="http://schemas.openxmlformats.org/officeDocument/2006/relationships/image" Target="../media/image25.svg"/><Relationship Id="rId5" Type="http://schemas.openxmlformats.org/officeDocument/2006/relationships/hyperlink" Target="https://community.veeam.com/" TargetMode="External"/><Relationship Id="rId15" Type="http://schemas.openxmlformats.org/officeDocument/2006/relationships/image" Target="../media/image27.png"/><Relationship Id="rId10" Type="http://schemas.openxmlformats.org/officeDocument/2006/relationships/image" Target="../media/image24.png"/><Relationship Id="rId4" Type="http://schemas.openxmlformats.org/officeDocument/2006/relationships/image" Target="../media/image3.svg"/><Relationship Id="rId9" Type="http://schemas.openxmlformats.org/officeDocument/2006/relationships/hyperlink" Target="https://twitter.com/Veeam" TargetMode="External"/><Relationship Id="rId14" Type="http://schemas.openxmlformats.org/officeDocument/2006/relationships/hyperlink" Target="https://www.linkedin.com/company/veeam-software/" TargetMode="External"/></Relationships>
</file>

<file path=ppt/slideLayouts/_rels/slideLayout74.xml.rels><?xml version="1.0" encoding="UTF-8" standalone="yes"?>
<Relationships xmlns="http://schemas.openxmlformats.org/package/2006/relationships"><Relationship Id="rId8" Type="http://schemas.openxmlformats.org/officeDocument/2006/relationships/hyperlink" Target="https://www.instagram.com/veeam_software/" TargetMode="External"/><Relationship Id="rId13" Type="http://schemas.openxmlformats.org/officeDocument/2006/relationships/image" Target="../media/image26.png"/><Relationship Id="rId3" Type="http://schemas.openxmlformats.org/officeDocument/2006/relationships/image" Target="../media/image2.png"/><Relationship Id="rId7" Type="http://schemas.openxmlformats.org/officeDocument/2006/relationships/hyperlink" Target="https://www.facebook.com/VeeamSoftware/" TargetMode="External"/><Relationship Id="rId12" Type="http://schemas.openxmlformats.org/officeDocument/2006/relationships/hyperlink" Target="https://www.youtube.com/@veeam" TargetMode="External"/><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28.png"/><Relationship Id="rId11" Type="http://schemas.openxmlformats.org/officeDocument/2006/relationships/image" Target="../media/image25.svg"/><Relationship Id="rId5" Type="http://schemas.openxmlformats.org/officeDocument/2006/relationships/hyperlink" Target="https://community.veeam.com/" TargetMode="External"/><Relationship Id="rId15" Type="http://schemas.openxmlformats.org/officeDocument/2006/relationships/image" Target="../media/image27.png"/><Relationship Id="rId10" Type="http://schemas.openxmlformats.org/officeDocument/2006/relationships/image" Target="../media/image24.png"/><Relationship Id="rId4" Type="http://schemas.openxmlformats.org/officeDocument/2006/relationships/image" Target="../media/image3.svg"/><Relationship Id="rId9" Type="http://schemas.openxmlformats.org/officeDocument/2006/relationships/hyperlink" Target="https://twitter.com/Veeam" TargetMode="External"/><Relationship Id="rId14" Type="http://schemas.openxmlformats.org/officeDocument/2006/relationships/hyperlink" Target="https://www.linkedin.com/company/veeam-software/" TargetMode="External"/></Relationships>
</file>

<file path=ppt/slideLayouts/_rels/slideLayout75.xml.rels><?xml version="1.0" encoding="UTF-8" standalone="yes"?>
<Relationships xmlns="http://schemas.openxmlformats.org/package/2006/relationships"><Relationship Id="rId8" Type="http://schemas.openxmlformats.org/officeDocument/2006/relationships/hyperlink" Target="https://www.instagram.com/veeam_software/" TargetMode="External"/><Relationship Id="rId13" Type="http://schemas.openxmlformats.org/officeDocument/2006/relationships/image" Target="../media/image26.png"/><Relationship Id="rId3" Type="http://schemas.openxmlformats.org/officeDocument/2006/relationships/image" Target="../media/image30.png"/><Relationship Id="rId7" Type="http://schemas.openxmlformats.org/officeDocument/2006/relationships/hyperlink" Target="https://www.facebook.com/VeeamSoftware/" TargetMode="External"/><Relationship Id="rId12" Type="http://schemas.openxmlformats.org/officeDocument/2006/relationships/hyperlink" Target="https://www.youtube.com/@veeam" TargetMode="External"/><Relationship Id="rId2" Type="http://schemas.openxmlformats.org/officeDocument/2006/relationships/image" Target="../media/image29.png"/><Relationship Id="rId1" Type="http://schemas.openxmlformats.org/officeDocument/2006/relationships/slideMaster" Target="../slideMasters/slideMaster1.xml"/><Relationship Id="rId6" Type="http://schemas.openxmlformats.org/officeDocument/2006/relationships/image" Target="../media/image23.png"/><Relationship Id="rId11" Type="http://schemas.openxmlformats.org/officeDocument/2006/relationships/image" Target="../media/image25.svg"/><Relationship Id="rId5" Type="http://schemas.openxmlformats.org/officeDocument/2006/relationships/hyperlink" Target="https://community.veeam.com/" TargetMode="External"/><Relationship Id="rId15" Type="http://schemas.openxmlformats.org/officeDocument/2006/relationships/image" Target="../media/image27.png"/><Relationship Id="rId10" Type="http://schemas.openxmlformats.org/officeDocument/2006/relationships/image" Target="../media/image24.png"/><Relationship Id="rId4" Type="http://schemas.openxmlformats.org/officeDocument/2006/relationships/image" Target="../media/image31.svg"/><Relationship Id="rId9" Type="http://schemas.openxmlformats.org/officeDocument/2006/relationships/hyperlink" Target="https://twitter.com/Veeam" TargetMode="External"/><Relationship Id="rId14" Type="http://schemas.openxmlformats.org/officeDocument/2006/relationships/hyperlink" Target="https://www.linkedin.com/company/veeam-software/" TargetMode="External"/></Relationships>
</file>

<file path=ppt/slideLayouts/_rels/slideLayout76.xml.rels><?xml version="1.0" encoding="UTF-8" standalone="yes"?>
<Relationships xmlns="http://schemas.openxmlformats.org/package/2006/relationships"><Relationship Id="rId8" Type="http://schemas.openxmlformats.org/officeDocument/2006/relationships/hyperlink" Target="https://www.facebook.com/VeeamSoftware/" TargetMode="External"/><Relationship Id="rId13" Type="http://schemas.openxmlformats.org/officeDocument/2006/relationships/hyperlink" Target="https://www.youtube.com/@veeam" TargetMode="External"/><Relationship Id="rId3" Type="http://schemas.openxmlformats.org/officeDocument/2006/relationships/image" Target="../media/image5.png"/><Relationship Id="rId7" Type="http://schemas.openxmlformats.org/officeDocument/2006/relationships/image" Target="../media/image23.png"/><Relationship Id="rId12" Type="http://schemas.openxmlformats.org/officeDocument/2006/relationships/image" Target="../media/image25.svg"/><Relationship Id="rId2" Type="http://schemas.openxmlformats.org/officeDocument/2006/relationships/slideMaster" Target="../slideMasters/slideMaster1.xml"/><Relationship Id="rId16" Type="http://schemas.openxmlformats.org/officeDocument/2006/relationships/image" Target="../media/image27.png"/><Relationship Id="rId1" Type="http://schemas.openxmlformats.org/officeDocument/2006/relationships/themeOverride" Target="../theme/themeOverride1.xml"/><Relationship Id="rId6" Type="http://schemas.openxmlformats.org/officeDocument/2006/relationships/hyperlink" Target="https://community.veeam.com/" TargetMode="External"/><Relationship Id="rId11" Type="http://schemas.openxmlformats.org/officeDocument/2006/relationships/image" Target="../media/image24.png"/><Relationship Id="rId5" Type="http://schemas.openxmlformats.org/officeDocument/2006/relationships/image" Target="../media/image33.svg"/><Relationship Id="rId15" Type="http://schemas.openxmlformats.org/officeDocument/2006/relationships/hyperlink" Target="https://www.linkedin.com/company/veeam-software/" TargetMode="External"/><Relationship Id="rId10" Type="http://schemas.openxmlformats.org/officeDocument/2006/relationships/hyperlink" Target="https://twitter.com/Veeam" TargetMode="External"/><Relationship Id="rId4" Type="http://schemas.openxmlformats.org/officeDocument/2006/relationships/image" Target="../media/image32.png"/><Relationship Id="rId9" Type="http://schemas.openxmlformats.org/officeDocument/2006/relationships/hyperlink" Target="https://www.instagram.com/veeam_software/" TargetMode="External"/><Relationship Id="rId14" Type="http://schemas.openxmlformats.org/officeDocument/2006/relationships/image" Target="../media/image26.pn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Freeform: Shape 4">
            <a:extLst>
              <a:ext uri="{FF2B5EF4-FFF2-40B4-BE49-F238E27FC236}">
                <a16:creationId xmlns:a16="http://schemas.microsoft.com/office/drawing/2014/main" id="{F2F1153D-CB0F-BB40-3E15-C9DC5D790961}"/>
              </a:ext>
            </a:extLst>
          </p:cNvPr>
          <p:cNvSpPr/>
          <p:nvPr userDrawn="1"/>
        </p:nvSpPr>
        <p:spPr>
          <a:xfrm>
            <a:off x="0" y="-18997"/>
            <a:ext cx="12192000" cy="5865318"/>
          </a:xfrm>
          <a:custGeom>
            <a:avLst/>
            <a:gdLst>
              <a:gd name="connsiteX0" fmla="*/ 0 w 12192000"/>
              <a:gd name="connsiteY0" fmla="*/ 0 h 5865318"/>
              <a:gd name="connsiteX1" fmla="*/ 797535 w 12192000"/>
              <a:gd name="connsiteY1" fmla="*/ 0 h 5865318"/>
              <a:gd name="connsiteX2" fmla="*/ 5613390 w 12192000"/>
              <a:gd name="connsiteY2" fmla="*/ 4815480 h 5865318"/>
              <a:gd name="connsiteX3" fmla="*/ 6578610 w 12192000"/>
              <a:gd name="connsiteY3" fmla="*/ 4815480 h 5865318"/>
              <a:gd name="connsiteX4" fmla="*/ 11261178 w 12192000"/>
              <a:gd name="connsiteY4" fmla="*/ 133278 h 5865318"/>
              <a:gd name="connsiteX5" fmla="*/ 11394466 w 12192000"/>
              <a:gd name="connsiteY5" fmla="*/ 0 h 5865318"/>
              <a:gd name="connsiteX6" fmla="*/ 12192000 w 12192000"/>
              <a:gd name="connsiteY6" fmla="*/ 0 h 5865318"/>
              <a:gd name="connsiteX7" fmla="*/ 12192000 w 12192000"/>
              <a:gd name="connsiteY7" fmla="*/ 4291292 h 5865318"/>
              <a:gd name="connsiteX8" fmla="*/ 12130037 w 12192000"/>
              <a:gd name="connsiteY8" fmla="*/ 4353124 h 5865318"/>
              <a:gd name="connsiteX9" fmla="*/ 11617391 w 12192000"/>
              <a:gd name="connsiteY9" fmla="*/ 4864691 h 5865318"/>
              <a:gd name="connsiteX10" fmla="*/ 9228878 w 12192000"/>
              <a:gd name="connsiteY10" fmla="*/ 5865318 h 5865318"/>
              <a:gd name="connsiteX11" fmla="*/ 2979482 w 12192000"/>
              <a:gd name="connsiteY11" fmla="*/ 5865318 h 5865318"/>
              <a:gd name="connsiteX12" fmla="*/ 574609 w 12192000"/>
              <a:gd name="connsiteY12" fmla="*/ 4864691 h 5865318"/>
              <a:gd name="connsiteX13" fmla="*/ 263974 w 12192000"/>
              <a:gd name="connsiteY13" fmla="*/ 4554710 h 5865318"/>
              <a:gd name="connsiteX14" fmla="*/ 0 w 12192000"/>
              <a:gd name="connsiteY14" fmla="*/ 4291292 h 5865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5865318">
                <a:moveTo>
                  <a:pt x="0" y="0"/>
                </a:moveTo>
                <a:lnTo>
                  <a:pt x="797535" y="0"/>
                </a:lnTo>
                <a:lnTo>
                  <a:pt x="5613390" y="4815480"/>
                </a:lnTo>
                <a:cubicBezTo>
                  <a:pt x="5875144" y="5094344"/>
                  <a:pt x="6316856" y="5094344"/>
                  <a:pt x="6578610" y="4815480"/>
                </a:cubicBezTo>
                <a:cubicBezTo>
                  <a:pt x="8984505" y="2409773"/>
                  <a:pt x="10413006" y="981384"/>
                  <a:pt x="11261178" y="133278"/>
                </a:cubicBezTo>
                <a:lnTo>
                  <a:pt x="11394466" y="0"/>
                </a:lnTo>
                <a:lnTo>
                  <a:pt x="12192000" y="0"/>
                </a:lnTo>
                <a:lnTo>
                  <a:pt x="12192000" y="4291292"/>
                </a:lnTo>
                <a:lnTo>
                  <a:pt x="12130037" y="4353124"/>
                </a:lnTo>
                <a:cubicBezTo>
                  <a:pt x="11617391" y="4864691"/>
                  <a:pt x="11617391" y="4864691"/>
                  <a:pt x="11617391" y="4864691"/>
                </a:cubicBezTo>
                <a:cubicBezTo>
                  <a:pt x="10979364" y="5504436"/>
                  <a:pt x="10112301" y="5865318"/>
                  <a:pt x="9228878" y="5865318"/>
                </a:cubicBezTo>
                <a:cubicBezTo>
                  <a:pt x="2979482" y="5865318"/>
                  <a:pt x="2979482" y="5865318"/>
                  <a:pt x="2979482" y="5865318"/>
                </a:cubicBezTo>
                <a:cubicBezTo>
                  <a:pt x="2079699" y="5865318"/>
                  <a:pt x="1212636" y="5504436"/>
                  <a:pt x="574609" y="4864691"/>
                </a:cubicBezTo>
                <a:cubicBezTo>
                  <a:pt x="467760" y="4758067"/>
                  <a:pt x="364250" y="4654775"/>
                  <a:pt x="263974" y="4554710"/>
                </a:cubicBezTo>
                <a:lnTo>
                  <a:pt x="0" y="4291292"/>
                </a:lnTo>
                <a:close/>
              </a:path>
            </a:pathLst>
          </a:custGeom>
          <a:gradFill flip="none" rotWithShape="1">
            <a:gsLst>
              <a:gs pos="56000">
                <a:srgbClr val="00D05D">
                  <a:lumMod val="60000"/>
                  <a:lumOff val="40000"/>
                  <a:alpha val="9000"/>
                </a:srgbClr>
              </a:gs>
              <a:gs pos="100000">
                <a:srgbClr val="00D05D">
                  <a:lumMod val="60000"/>
                  <a:lumOff val="40000"/>
                </a:srgbClr>
              </a:gs>
            </a:gsLst>
            <a:lin ang="2400000" scaled="0"/>
            <a:tileRect/>
          </a:gradFill>
          <a:ln>
            <a:noFill/>
          </a:ln>
        </p:spPr>
        <p:txBody>
          <a:bodyPr vert="horz" wrap="square" lIns="91440" tIns="45720" rIns="91440" bIns="45720" numCol="1" anchor="t" anchorCtr="0" compatLnSpc="1">
            <a:prstTxWarp prst="textNoShape">
              <a:avLst/>
            </a:prstTxWarp>
            <a:noAutofit/>
          </a:bodyPr>
          <a:lstStyle/>
          <a:p>
            <a:pPr marR="0" lvl="0" indent="0" fontAlgn="auto">
              <a:lnSpc>
                <a:spcPct val="100000"/>
              </a:lnSpc>
              <a:spcBef>
                <a:spcPts val="0"/>
              </a:spcBef>
              <a:spcAft>
                <a:spcPts val="0"/>
              </a:spcAft>
              <a:buClrTx/>
              <a:buSzTx/>
              <a:buFontTx/>
              <a:buNone/>
              <a:tabLst/>
            </a:pPr>
            <a:endParaRPr kumimoji="0" lang="en-US" b="0" i="0" u="none" strike="noStrike" kern="0" cap="none" spc="0" normalizeH="0" baseline="0">
              <a:ln>
                <a:noFill/>
              </a:ln>
              <a:solidFill>
                <a:srgbClr val="4F5860"/>
              </a:solidFill>
              <a:effectLst/>
              <a:uLnTx/>
              <a:uFillTx/>
            </a:endParaRPr>
          </a:p>
        </p:txBody>
      </p:sp>
      <p:sp>
        <p:nvSpPr>
          <p:cNvPr id="6" name="Title 1">
            <a:extLst>
              <a:ext uri="{FF2B5EF4-FFF2-40B4-BE49-F238E27FC236}">
                <a16:creationId xmlns:a16="http://schemas.microsoft.com/office/drawing/2014/main" id="{4CDB086E-9F87-4B33-D62C-A31BB4E5473B}"/>
              </a:ext>
            </a:extLst>
          </p:cNvPr>
          <p:cNvSpPr>
            <a:spLocks noGrp="1"/>
          </p:cNvSpPr>
          <p:nvPr>
            <p:ph type="ctrTitle"/>
          </p:nvPr>
        </p:nvSpPr>
        <p:spPr>
          <a:xfrm>
            <a:off x="793751" y="1731962"/>
            <a:ext cx="10536764" cy="2581299"/>
          </a:xfrm>
        </p:spPr>
        <p:txBody>
          <a:bodyPr anchor="ctr">
            <a:normAutofit/>
          </a:bodyPr>
          <a:lstStyle>
            <a:lvl1pPr algn="l">
              <a:lnSpc>
                <a:spcPct val="85000"/>
              </a:lnSpc>
              <a:defRPr lang="en-US" sz="8900" b="0" i="0" kern="1200" spc="-150" baseline="0" dirty="0">
                <a:solidFill>
                  <a:schemeClr val="accent1"/>
                </a:solidFill>
                <a:latin typeface="ES Build" pitchFamily="2" charset="77"/>
                <a:ea typeface="ES Build" pitchFamily="2" charset="77"/>
                <a:cs typeface="+mj-cs"/>
              </a:defRPr>
            </a:lvl1pPr>
          </a:lstStyle>
          <a:p>
            <a:r>
              <a:rPr lang="en-US"/>
              <a:t>Click to edit Master title style</a:t>
            </a:r>
          </a:p>
        </p:txBody>
      </p:sp>
      <p:sp>
        <p:nvSpPr>
          <p:cNvPr id="8" name="Subtitle 2">
            <a:extLst>
              <a:ext uri="{FF2B5EF4-FFF2-40B4-BE49-F238E27FC236}">
                <a16:creationId xmlns:a16="http://schemas.microsoft.com/office/drawing/2014/main" id="{CF42BD3E-E39E-7A26-D12A-C298830544AD}"/>
              </a:ext>
            </a:extLst>
          </p:cNvPr>
          <p:cNvSpPr>
            <a:spLocks noGrp="1"/>
          </p:cNvSpPr>
          <p:nvPr>
            <p:ph type="subTitle" idx="1"/>
          </p:nvPr>
        </p:nvSpPr>
        <p:spPr>
          <a:xfrm>
            <a:off x="793751" y="4316414"/>
            <a:ext cx="10536764" cy="487705"/>
          </a:xfrm>
        </p:spPr>
        <p:txBody>
          <a:bodyPr/>
          <a:lstStyle>
            <a:lvl1pPr marL="0" indent="0" algn="l">
              <a:buNone/>
              <a:defRPr sz="2400" b="0" i="0">
                <a:solidFill>
                  <a:schemeClr val="accent1"/>
                </a:solidFill>
                <a:latin typeface="ES Build" pitchFamily="2" charset="77"/>
                <a:ea typeface="ES Build"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Footer Placeholder 4">
            <a:extLst>
              <a:ext uri="{FF2B5EF4-FFF2-40B4-BE49-F238E27FC236}">
                <a16:creationId xmlns:a16="http://schemas.microsoft.com/office/drawing/2014/main" id="{0003DDA7-BB6B-1A41-0568-1C5C4CCF8DE8}"/>
              </a:ext>
            </a:extLst>
          </p:cNvPr>
          <p:cNvSpPr>
            <a:spLocks noGrp="1"/>
          </p:cNvSpPr>
          <p:nvPr>
            <p:ph type="ftr" sz="quarter" idx="11"/>
          </p:nvPr>
        </p:nvSpPr>
        <p:spPr>
          <a:xfrm>
            <a:off x="782098" y="6301069"/>
            <a:ext cx="5185316" cy="224341"/>
          </a:xfrm>
          <a:prstGeom prst="rect">
            <a:avLst/>
          </a:prstGeom>
        </p:spPr>
        <p:txBody>
          <a:bodyPr/>
          <a:lstStyle>
            <a:lvl1pPr>
              <a:defRPr>
                <a:solidFill>
                  <a:schemeClr val="accent1"/>
                </a:solidFill>
              </a:defRPr>
            </a:lvl1pPr>
          </a:lstStyle>
          <a:p>
            <a:endParaRPr lang="en-US"/>
          </a:p>
        </p:txBody>
      </p:sp>
      <p:cxnSp>
        <p:nvCxnSpPr>
          <p:cNvPr id="10" name="Straight Connector 9">
            <a:extLst>
              <a:ext uri="{FF2B5EF4-FFF2-40B4-BE49-F238E27FC236}">
                <a16:creationId xmlns:a16="http://schemas.microsoft.com/office/drawing/2014/main" id="{66690116-9B72-3EEE-97F1-4D2A1B6B135C}"/>
              </a:ext>
            </a:extLst>
          </p:cNvPr>
          <p:cNvCxnSpPr>
            <a:cxnSpLocks/>
          </p:cNvCxnSpPr>
          <p:nvPr userDrawn="1"/>
        </p:nvCxnSpPr>
        <p:spPr>
          <a:xfrm>
            <a:off x="782564" y="6167438"/>
            <a:ext cx="10547951" cy="0"/>
          </a:xfrm>
          <a:prstGeom prst="line">
            <a:avLst/>
          </a:prstGeom>
          <a:ln w="19050" cap="sq">
            <a:solidFill>
              <a:schemeClr val="accent1"/>
            </a:solidFill>
            <a:miter lim="800000"/>
            <a:headEnd type="none" w="med" len="sm"/>
            <a:tailEnd type="none" w="sm" len="sm"/>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49F3AE38-4231-B0CE-AB29-418E99AE7528}"/>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82097" y="691400"/>
            <a:ext cx="1351504" cy="419154"/>
          </a:xfrm>
          <a:prstGeom prst="rect">
            <a:avLst/>
          </a:prstGeom>
        </p:spPr>
      </p:pic>
      <p:sp>
        <p:nvSpPr>
          <p:cNvPr id="12" name="Text Placeholder 12">
            <a:extLst>
              <a:ext uri="{FF2B5EF4-FFF2-40B4-BE49-F238E27FC236}">
                <a16:creationId xmlns:a16="http://schemas.microsoft.com/office/drawing/2014/main" id="{FB784AAB-C227-31A8-F220-A60DC51705E5}"/>
              </a:ext>
            </a:extLst>
          </p:cNvPr>
          <p:cNvSpPr>
            <a:spLocks noGrp="1"/>
          </p:cNvSpPr>
          <p:nvPr>
            <p:ph type="body" sz="quarter" idx="13" hasCustomPrompt="1"/>
          </p:nvPr>
        </p:nvSpPr>
        <p:spPr>
          <a:xfrm>
            <a:off x="793751" y="1528837"/>
            <a:ext cx="3276599" cy="274955"/>
          </a:xfrm>
        </p:spPr>
        <p:txBody>
          <a:bodyPr>
            <a:noAutofit/>
          </a:bodyPr>
          <a:lstStyle>
            <a:lvl1pPr marL="0" indent="0">
              <a:buNone/>
              <a:defRPr sz="1600" b="0" spc="0" baseline="0">
                <a:solidFill>
                  <a:schemeClr val="accent1"/>
                </a:solidFill>
                <a:latin typeface="ES Build Medium" pitchFamily="2" charset="0"/>
                <a:ea typeface="ES Build Medium" pitchFamily="2" charset="0"/>
              </a:defRPr>
            </a:lvl1pPr>
            <a:lvl2pPr>
              <a:defRPr b="0">
                <a:solidFill>
                  <a:schemeClr val="accent1"/>
                </a:solidFill>
              </a:defRPr>
            </a:lvl2pPr>
          </a:lstStyle>
          <a:p>
            <a:pPr lvl="0"/>
            <a:r>
              <a:rPr lang="en-US"/>
              <a:t>Date</a:t>
            </a:r>
          </a:p>
        </p:txBody>
      </p:sp>
      <p:sp>
        <p:nvSpPr>
          <p:cNvPr id="14" name="Text Placeholder 16">
            <a:extLst>
              <a:ext uri="{FF2B5EF4-FFF2-40B4-BE49-F238E27FC236}">
                <a16:creationId xmlns:a16="http://schemas.microsoft.com/office/drawing/2014/main" id="{FAE751CD-EF2C-3A61-EE9B-1DF1A1E8E9CC}"/>
              </a:ext>
            </a:extLst>
          </p:cNvPr>
          <p:cNvSpPr>
            <a:spLocks noGrp="1"/>
          </p:cNvSpPr>
          <p:nvPr>
            <p:ph type="body" sz="quarter" idx="14" hasCustomPrompt="1"/>
          </p:nvPr>
        </p:nvSpPr>
        <p:spPr>
          <a:xfrm>
            <a:off x="1766493" y="5140383"/>
            <a:ext cx="2893401" cy="682510"/>
          </a:xfrm>
        </p:spPr>
        <p:txBody>
          <a:bodyPr>
            <a:noAutofit/>
          </a:bodyPr>
          <a:lstStyle>
            <a:lvl1pPr marL="0" indent="0">
              <a:lnSpc>
                <a:spcPct val="80000"/>
              </a:lnSpc>
              <a:buNone/>
              <a:defRPr sz="2400" b="0" i="0">
                <a:solidFill>
                  <a:schemeClr val="accent1"/>
                </a:solidFill>
                <a:latin typeface="ES Build "/>
                <a:ea typeface="ES Build Neutral" pitchFamily="2" charset="77"/>
              </a:defRPr>
            </a:lvl1pPr>
            <a:lvl2pPr marL="0" indent="0">
              <a:lnSpc>
                <a:spcPct val="80000"/>
              </a:lnSpc>
              <a:buNone/>
              <a:defRPr sz="1600" b="0" i="0">
                <a:solidFill>
                  <a:schemeClr val="accent1"/>
                </a:solidFill>
                <a:latin typeface="ES Build Neutral" pitchFamily="2" charset="77"/>
                <a:ea typeface="ES Build Neutral" pitchFamily="2" charset="77"/>
              </a:defRPr>
            </a:lvl2pPr>
          </a:lstStyle>
          <a:p>
            <a:pPr lvl="0"/>
            <a:r>
              <a:rPr lang="en-US"/>
              <a:t>Speaker name</a:t>
            </a:r>
          </a:p>
          <a:p>
            <a:pPr lvl="1"/>
            <a:r>
              <a:rPr lang="en-US"/>
              <a:t>Title</a:t>
            </a:r>
          </a:p>
        </p:txBody>
      </p:sp>
      <p:sp>
        <p:nvSpPr>
          <p:cNvPr id="15" name="TextBox 14">
            <a:extLst>
              <a:ext uri="{FF2B5EF4-FFF2-40B4-BE49-F238E27FC236}">
                <a16:creationId xmlns:a16="http://schemas.microsoft.com/office/drawing/2014/main" id="{5E54C71E-309C-BF9C-34AD-A13754FE765D}"/>
              </a:ext>
            </a:extLst>
          </p:cNvPr>
          <p:cNvSpPr txBox="1"/>
          <p:nvPr userDrawn="1"/>
        </p:nvSpPr>
        <p:spPr>
          <a:xfrm>
            <a:off x="765932" y="6562482"/>
            <a:ext cx="5211836" cy="107722"/>
          </a:xfrm>
          <a:prstGeom prst="rect">
            <a:avLst/>
          </a:prstGeom>
          <a:noFill/>
        </p:spPr>
        <p:txBody>
          <a:bodyPr wrap="square" lIns="0" tIns="0" rIns="0" bIns="0">
            <a:spAutoFit/>
          </a:bodyPr>
          <a:lstStyle/>
          <a:p>
            <a:r>
              <a:rPr lang="en-US" sz="700">
                <a:solidFill>
                  <a:schemeClr val="accent1"/>
                </a:solidFill>
              </a:rPr>
              <a:t>© 2024 Veeam Software. Confidential information. All rights reserved. All trademarks are the property of their respective owners. </a:t>
            </a:r>
          </a:p>
        </p:txBody>
      </p:sp>
      <p:sp>
        <p:nvSpPr>
          <p:cNvPr id="16" name="Picture Placeholder 22">
            <a:extLst>
              <a:ext uri="{FF2B5EF4-FFF2-40B4-BE49-F238E27FC236}">
                <a16:creationId xmlns:a16="http://schemas.microsoft.com/office/drawing/2014/main" id="{57109EE7-7309-7DBE-3CB2-28C0D1D8BFA0}"/>
              </a:ext>
            </a:extLst>
          </p:cNvPr>
          <p:cNvSpPr>
            <a:spLocks noGrp="1"/>
          </p:cNvSpPr>
          <p:nvPr>
            <p:ph type="pic" sz="quarter" idx="15"/>
          </p:nvPr>
        </p:nvSpPr>
        <p:spPr>
          <a:xfrm>
            <a:off x="782097" y="5081588"/>
            <a:ext cx="800100" cy="800100"/>
          </a:xfrm>
          <a:prstGeom prst="ellipse">
            <a:avLst/>
          </a:prstGeom>
          <a:solidFill>
            <a:schemeClr val="accent2">
              <a:lumMod val="50000"/>
            </a:schemeClr>
          </a:solidFill>
        </p:spPr>
        <p:txBody>
          <a:bodyPr anchor="ctr"/>
          <a:lstStyle>
            <a:lvl1pPr marL="0" indent="0" algn="ctr">
              <a:buNone/>
              <a:defRPr sz="800"/>
            </a:lvl1pPr>
          </a:lstStyle>
          <a:p>
            <a:r>
              <a:rPr lang="en-US"/>
              <a:t>Click icon to add picture</a:t>
            </a:r>
          </a:p>
        </p:txBody>
      </p:sp>
      <p:sp>
        <p:nvSpPr>
          <p:cNvPr id="18" name="Text Placeholder 24">
            <a:extLst>
              <a:ext uri="{FF2B5EF4-FFF2-40B4-BE49-F238E27FC236}">
                <a16:creationId xmlns:a16="http://schemas.microsoft.com/office/drawing/2014/main" id="{F6607B47-7BE7-21F9-D394-BAE6F010D9BC}"/>
              </a:ext>
            </a:extLst>
          </p:cNvPr>
          <p:cNvSpPr>
            <a:spLocks noGrp="1"/>
          </p:cNvSpPr>
          <p:nvPr>
            <p:ph type="body" sz="quarter" idx="16" hasCustomPrompt="1"/>
          </p:nvPr>
        </p:nvSpPr>
        <p:spPr>
          <a:xfrm>
            <a:off x="6096594" y="5130801"/>
            <a:ext cx="2871027" cy="701675"/>
          </a:xfrm>
        </p:spPr>
        <p:txBody>
          <a:bodyPr>
            <a:noAutofit/>
          </a:bodyPr>
          <a:lstStyle>
            <a:lvl1pPr marL="0" indent="0">
              <a:lnSpc>
                <a:spcPct val="80000"/>
              </a:lnSpc>
              <a:buNone/>
              <a:defRPr sz="2400" b="0" i="0">
                <a:solidFill>
                  <a:schemeClr val="accent1"/>
                </a:solidFill>
                <a:latin typeface="ES Build "/>
                <a:ea typeface="ES Build Neutral" pitchFamily="2" charset="77"/>
              </a:defRPr>
            </a:lvl1pPr>
            <a:lvl2pPr marL="0" indent="0">
              <a:lnSpc>
                <a:spcPct val="80000"/>
              </a:lnSpc>
              <a:buNone/>
              <a:defRPr sz="1600" b="0" i="0">
                <a:solidFill>
                  <a:schemeClr val="accent1"/>
                </a:solidFill>
                <a:latin typeface="ES Build Neutral" pitchFamily="2" charset="77"/>
                <a:ea typeface="ES Build Neutral" pitchFamily="2" charset="77"/>
              </a:defRPr>
            </a:lvl2pPr>
          </a:lstStyle>
          <a:p>
            <a:pPr lvl="0"/>
            <a:r>
              <a:rPr lang="en-US"/>
              <a:t>Speaker name</a:t>
            </a:r>
          </a:p>
          <a:p>
            <a:pPr lvl="1"/>
            <a:r>
              <a:rPr lang="en-US"/>
              <a:t>Title</a:t>
            </a:r>
          </a:p>
        </p:txBody>
      </p:sp>
      <p:sp>
        <p:nvSpPr>
          <p:cNvPr id="20" name="Picture Placeholder 26">
            <a:extLst>
              <a:ext uri="{FF2B5EF4-FFF2-40B4-BE49-F238E27FC236}">
                <a16:creationId xmlns:a16="http://schemas.microsoft.com/office/drawing/2014/main" id="{13350D35-9103-3C22-DB9B-10617CC468DC}"/>
              </a:ext>
            </a:extLst>
          </p:cNvPr>
          <p:cNvSpPr>
            <a:spLocks noGrp="1"/>
          </p:cNvSpPr>
          <p:nvPr>
            <p:ph type="pic" sz="quarter" idx="17"/>
          </p:nvPr>
        </p:nvSpPr>
        <p:spPr>
          <a:xfrm>
            <a:off x="5067364" y="5081588"/>
            <a:ext cx="800100" cy="800100"/>
          </a:xfrm>
          <a:prstGeom prst="ellipse">
            <a:avLst/>
          </a:prstGeom>
          <a:solidFill>
            <a:schemeClr val="accent2">
              <a:lumMod val="50000"/>
            </a:schemeClr>
          </a:solidFill>
        </p:spPr>
        <p:txBody>
          <a:bodyPr anchor="ctr"/>
          <a:lstStyle>
            <a:lvl1pPr marL="0" indent="0" algn="ctr">
              <a:buNone/>
              <a:defRPr sz="800"/>
            </a:lvl1pPr>
          </a:lstStyle>
          <a:p>
            <a:r>
              <a:rPr lang="en-US"/>
              <a:t>Click icon to add picture</a:t>
            </a:r>
          </a:p>
        </p:txBody>
      </p:sp>
    </p:spTree>
    <p:extLst>
      <p:ext uri="{BB962C8B-B14F-4D97-AF65-F5344CB8AC3E}">
        <p14:creationId xmlns:p14="http://schemas.microsoft.com/office/powerpoint/2010/main" val="385388294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26ED3E18-DCF2-26A9-EBA1-C8E4CB6EA918}"/>
              </a:ext>
            </a:extLst>
          </p:cNvPr>
          <p:cNvSpPr>
            <a:spLocks noGrp="1"/>
          </p:cNvSpPr>
          <p:nvPr>
            <p:ph sz="quarter" idx="10"/>
          </p:nvPr>
        </p:nvSpPr>
        <p:spPr>
          <a:xfrm>
            <a:off x="493288" y="1719645"/>
            <a:ext cx="3575304" cy="4449380"/>
          </a:xfrm>
        </p:spPr>
        <p:txBody>
          <a:bodyPr/>
          <a:lstStyle>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18">
            <a:extLst>
              <a:ext uri="{FF2B5EF4-FFF2-40B4-BE49-F238E27FC236}">
                <a16:creationId xmlns:a16="http://schemas.microsoft.com/office/drawing/2014/main" id="{4E0AE383-F63F-4E9C-C666-B46D64D59619}"/>
              </a:ext>
            </a:extLst>
          </p:cNvPr>
          <p:cNvSpPr>
            <a:spLocks noGrp="1"/>
          </p:cNvSpPr>
          <p:nvPr>
            <p:ph sz="quarter" idx="11"/>
          </p:nvPr>
        </p:nvSpPr>
        <p:spPr>
          <a:xfrm>
            <a:off x="4308475" y="1719645"/>
            <a:ext cx="3575304" cy="4449380"/>
          </a:xfrm>
        </p:spPr>
        <p:txBody>
          <a:bodyPr/>
          <a:lstStyle>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18">
            <a:extLst>
              <a:ext uri="{FF2B5EF4-FFF2-40B4-BE49-F238E27FC236}">
                <a16:creationId xmlns:a16="http://schemas.microsoft.com/office/drawing/2014/main" id="{A29DE87B-148E-A6ED-3FB2-A054842ECC3B}"/>
              </a:ext>
            </a:extLst>
          </p:cNvPr>
          <p:cNvSpPr>
            <a:spLocks noGrp="1"/>
          </p:cNvSpPr>
          <p:nvPr>
            <p:ph sz="quarter" idx="12"/>
          </p:nvPr>
        </p:nvSpPr>
        <p:spPr>
          <a:xfrm>
            <a:off x="8123662" y="1722852"/>
            <a:ext cx="3575304" cy="4449380"/>
          </a:xfrm>
        </p:spPr>
        <p:txBody>
          <a:bodyPr/>
          <a:lstStyle>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ubtitle 2">
            <a:extLst>
              <a:ext uri="{FF2B5EF4-FFF2-40B4-BE49-F238E27FC236}">
                <a16:creationId xmlns:a16="http://schemas.microsoft.com/office/drawing/2014/main" id="{30485577-8D00-F652-EBBF-B564E0C7B997}"/>
              </a:ext>
            </a:extLst>
          </p:cNvPr>
          <p:cNvSpPr>
            <a:spLocks noGrp="1"/>
          </p:cNvSpPr>
          <p:nvPr>
            <p:ph type="subTitle" idx="1"/>
          </p:nvPr>
        </p:nvSpPr>
        <p:spPr>
          <a:xfrm>
            <a:off x="502179" y="1032607"/>
            <a:ext cx="11194511" cy="338993"/>
          </a:xfrm>
        </p:spPr>
        <p:txBody>
          <a:bodyPr/>
          <a:lstStyle>
            <a:lvl1pPr marL="0" indent="0" algn="l">
              <a:buNone/>
              <a:defRPr sz="2100">
                <a:solidFill>
                  <a:schemeClr val="tx1"/>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Title 5">
            <a:extLst>
              <a:ext uri="{FF2B5EF4-FFF2-40B4-BE49-F238E27FC236}">
                <a16:creationId xmlns:a16="http://schemas.microsoft.com/office/drawing/2014/main" id="{DB493ACF-4E2D-428C-3232-50138B18E618}"/>
              </a:ext>
            </a:extLst>
          </p:cNvPr>
          <p:cNvSpPr>
            <a:spLocks noGrp="1"/>
          </p:cNvSpPr>
          <p:nvPr>
            <p:ph type="title"/>
          </p:nvPr>
        </p:nvSpPr>
        <p:spPr>
          <a:xfrm>
            <a:off x="493712" y="342900"/>
            <a:ext cx="11202987" cy="682625"/>
          </a:xfrm>
        </p:spPr>
        <p:txBody>
          <a:bodyPr/>
          <a:lstStyle/>
          <a:p>
            <a:r>
              <a:rPr lang="en-US"/>
              <a:t>Click to edit Master title style</a:t>
            </a:r>
          </a:p>
        </p:txBody>
      </p:sp>
      <p:sp>
        <p:nvSpPr>
          <p:cNvPr id="8" name="Footer Placeholder 66">
            <a:extLst>
              <a:ext uri="{FF2B5EF4-FFF2-40B4-BE49-F238E27FC236}">
                <a16:creationId xmlns:a16="http://schemas.microsoft.com/office/drawing/2014/main" id="{BEABD273-C1AD-68DB-61DB-6CB4AB7FA49D}"/>
              </a:ext>
            </a:extLst>
          </p:cNvPr>
          <p:cNvSpPr>
            <a:spLocks noGrp="1"/>
          </p:cNvSpPr>
          <p:nvPr>
            <p:ph type="ftr" sz="quarter" idx="3"/>
          </p:nvPr>
        </p:nvSpPr>
        <p:spPr>
          <a:xfrm>
            <a:off x="493288" y="6405456"/>
            <a:ext cx="9893725" cy="107722"/>
          </a:xfrm>
          <a:prstGeom prst="rect">
            <a:avLst/>
          </a:prstGeom>
        </p:spPr>
        <p:txBody>
          <a:bodyPr vert="horz" lIns="0" tIns="0" rIns="0" bIns="0" rtlCol="0" anchor="b"/>
          <a:lstStyle>
            <a:lvl1pPr algn="l">
              <a:defRPr sz="700">
                <a:solidFill>
                  <a:schemeClr val="tx2"/>
                </a:solidFill>
              </a:defRPr>
            </a:lvl1pPr>
          </a:lstStyle>
          <a:p>
            <a:endParaRPr lang="en-US"/>
          </a:p>
        </p:txBody>
      </p:sp>
    </p:spTree>
    <p:extLst>
      <p:ext uri="{BB962C8B-B14F-4D97-AF65-F5344CB8AC3E}">
        <p14:creationId xmlns:p14="http://schemas.microsoft.com/office/powerpoint/2010/main" val="7300665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Weighted Right">
    <p:bg>
      <p:bgPr>
        <a:solidFill>
          <a:schemeClr val="bg1"/>
        </a:solidFill>
        <a:effectLst/>
      </p:bgPr>
    </p:bg>
    <p:spTree>
      <p:nvGrpSpPr>
        <p:cNvPr id="1" name=""/>
        <p:cNvGrpSpPr/>
        <p:nvPr/>
      </p:nvGrpSpPr>
      <p:grpSpPr>
        <a:xfrm>
          <a:off x="0" y="0"/>
          <a:ext cx="0" cy="0"/>
          <a:chOff x="0" y="0"/>
          <a:chExt cx="0" cy="0"/>
        </a:xfrm>
      </p:grpSpPr>
      <p:sp>
        <p:nvSpPr>
          <p:cNvPr id="13" name="Content Placeholder 18">
            <a:extLst>
              <a:ext uri="{FF2B5EF4-FFF2-40B4-BE49-F238E27FC236}">
                <a16:creationId xmlns:a16="http://schemas.microsoft.com/office/drawing/2014/main" id="{30CC4F6A-09EF-CA7A-135E-2A7DA3DE8BE8}"/>
              </a:ext>
            </a:extLst>
          </p:cNvPr>
          <p:cNvSpPr>
            <a:spLocks noGrp="1"/>
          </p:cNvSpPr>
          <p:nvPr>
            <p:ph sz="quarter" idx="11"/>
          </p:nvPr>
        </p:nvSpPr>
        <p:spPr>
          <a:xfrm>
            <a:off x="5021263" y="1717247"/>
            <a:ext cx="6675427" cy="4449380"/>
          </a:xfrm>
        </p:spPr>
        <p:txBody>
          <a:bodyPr/>
          <a:lstStyle>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8">
            <a:extLst>
              <a:ext uri="{FF2B5EF4-FFF2-40B4-BE49-F238E27FC236}">
                <a16:creationId xmlns:a16="http://schemas.microsoft.com/office/drawing/2014/main" id="{5AF29E0F-6083-2CD4-1B4E-30B7C943B13F}"/>
              </a:ext>
            </a:extLst>
          </p:cNvPr>
          <p:cNvSpPr>
            <a:spLocks noGrp="1"/>
          </p:cNvSpPr>
          <p:nvPr>
            <p:ph sz="quarter" idx="10"/>
          </p:nvPr>
        </p:nvSpPr>
        <p:spPr>
          <a:xfrm>
            <a:off x="493288" y="1719645"/>
            <a:ext cx="3815188" cy="4449380"/>
          </a:xfrm>
        </p:spPr>
        <p:txBody>
          <a:bodyPr/>
          <a:lstStyle>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D9C83AE-EEB9-8559-C60D-D57900997BDB}"/>
              </a:ext>
            </a:extLst>
          </p:cNvPr>
          <p:cNvSpPr>
            <a:spLocks noGrp="1"/>
          </p:cNvSpPr>
          <p:nvPr>
            <p:ph type="title"/>
          </p:nvPr>
        </p:nvSpPr>
        <p:spPr>
          <a:xfrm>
            <a:off x="493712" y="342900"/>
            <a:ext cx="11202987" cy="682625"/>
          </a:xfrm>
        </p:spPr>
        <p:txBody>
          <a:bodyPr anchor="t"/>
          <a:lstStyle/>
          <a:p>
            <a:r>
              <a:rPr lang="en-US"/>
              <a:t>Click to edit Master title style</a:t>
            </a:r>
          </a:p>
        </p:txBody>
      </p:sp>
      <p:sp>
        <p:nvSpPr>
          <p:cNvPr id="4" name="Subtitle 2">
            <a:extLst>
              <a:ext uri="{FF2B5EF4-FFF2-40B4-BE49-F238E27FC236}">
                <a16:creationId xmlns:a16="http://schemas.microsoft.com/office/drawing/2014/main" id="{155588C1-C39D-1F0E-C67A-287A95C2A244}"/>
              </a:ext>
            </a:extLst>
          </p:cNvPr>
          <p:cNvSpPr>
            <a:spLocks noGrp="1"/>
          </p:cNvSpPr>
          <p:nvPr>
            <p:ph type="subTitle" idx="1"/>
          </p:nvPr>
        </p:nvSpPr>
        <p:spPr>
          <a:xfrm>
            <a:off x="502179" y="1032607"/>
            <a:ext cx="11194511" cy="338993"/>
          </a:xfrm>
        </p:spPr>
        <p:txBody>
          <a:bodyPr anchor="t"/>
          <a:lstStyle>
            <a:lvl1pPr marL="0" indent="0" algn="l">
              <a:buNone/>
              <a:defRPr sz="21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Footer Placeholder 66">
            <a:extLst>
              <a:ext uri="{FF2B5EF4-FFF2-40B4-BE49-F238E27FC236}">
                <a16:creationId xmlns:a16="http://schemas.microsoft.com/office/drawing/2014/main" id="{DF4FE5C4-523F-7647-BD86-2EB73DE91C3B}"/>
              </a:ext>
            </a:extLst>
          </p:cNvPr>
          <p:cNvSpPr>
            <a:spLocks noGrp="1"/>
          </p:cNvSpPr>
          <p:nvPr>
            <p:ph type="ftr" sz="quarter" idx="3"/>
          </p:nvPr>
        </p:nvSpPr>
        <p:spPr>
          <a:xfrm>
            <a:off x="493288" y="6405456"/>
            <a:ext cx="9893725" cy="107722"/>
          </a:xfrm>
          <a:prstGeom prst="rect">
            <a:avLst/>
          </a:prstGeom>
        </p:spPr>
        <p:txBody>
          <a:bodyPr vert="horz" lIns="0" tIns="0" rIns="0" bIns="0" rtlCol="0" anchor="b"/>
          <a:lstStyle>
            <a:lvl1pPr algn="l">
              <a:defRPr sz="700">
                <a:solidFill>
                  <a:schemeClr val="tx2"/>
                </a:solidFill>
              </a:defRPr>
            </a:lvl1pPr>
          </a:lstStyle>
          <a:p>
            <a:endParaRPr lang="en-US"/>
          </a:p>
        </p:txBody>
      </p:sp>
    </p:spTree>
    <p:extLst>
      <p:ext uri="{BB962C8B-B14F-4D97-AF65-F5344CB8AC3E}">
        <p14:creationId xmlns:p14="http://schemas.microsoft.com/office/powerpoint/2010/main" val="19438424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Four Charts">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010F1B0C-9864-2B66-5550-B51ABB2181E0}"/>
              </a:ext>
            </a:extLst>
          </p:cNvPr>
          <p:cNvSpPr>
            <a:spLocks noGrp="1"/>
          </p:cNvSpPr>
          <p:nvPr>
            <p:ph type="chart" sz="quarter" idx="11"/>
          </p:nvPr>
        </p:nvSpPr>
        <p:spPr>
          <a:xfrm>
            <a:off x="4308474" y="685800"/>
            <a:ext cx="3573463" cy="2400300"/>
          </a:xfrm>
        </p:spPr>
        <p:txBody>
          <a:bodyPr/>
          <a:lstStyle>
            <a:lvl1pPr marL="0" indent="0">
              <a:buNone/>
              <a:defRPr/>
            </a:lvl1pPr>
          </a:lstStyle>
          <a:p>
            <a:r>
              <a:rPr lang="en-US"/>
              <a:t>Click icon to add chart</a:t>
            </a:r>
          </a:p>
        </p:txBody>
      </p:sp>
      <p:sp>
        <p:nvSpPr>
          <p:cNvPr id="7" name="Chart Placeholder 5">
            <a:extLst>
              <a:ext uri="{FF2B5EF4-FFF2-40B4-BE49-F238E27FC236}">
                <a16:creationId xmlns:a16="http://schemas.microsoft.com/office/drawing/2014/main" id="{B5C4591E-0299-D4CA-4EC0-2577AB9AD23E}"/>
              </a:ext>
            </a:extLst>
          </p:cNvPr>
          <p:cNvSpPr>
            <a:spLocks noGrp="1"/>
          </p:cNvSpPr>
          <p:nvPr>
            <p:ph type="chart" sz="quarter" idx="12"/>
          </p:nvPr>
        </p:nvSpPr>
        <p:spPr>
          <a:xfrm>
            <a:off x="4305299" y="3432997"/>
            <a:ext cx="3575304" cy="2400300"/>
          </a:xfrm>
        </p:spPr>
        <p:txBody>
          <a:bodyPr/>
          <a:lstStyle>
            <a:lvl1pPr marL="0" indent="0">
              <a:buNone/>
              <a:defRPr/>
            </a:lvl1pPr>
          </a:lstStyle>
          <a:p>
            <a:r>
              <a:rPr lang="en-US"/>
              <a:t>Click icon to add chart</a:t>
            </a:r>
          </a:p>
        </p:txBody>
      </p:sp>
      <p:sp>
        <p:nvSpPr>
          <p:cNvPr id="8" name="Chart Placeholder 5">
            <a:extLst>
              <a:ext uri="{FF2B5EF4-FFF2-40B4-BE49-F238E27FC236}">
                <a16:creationId xmlns:a16="http://schemas.microsoft.com/office/drawing/2014/main" id="{2DFD2880-9F34-6A2B-7962-CB957956847C}"/>
              </a:ext>
            </a:extLst>
          </p:cNvPr>
          <p:cNvSpPr>
            <a:spLocks noGrp="1"/>
          </p:cNvSpPr>
          <p:nvPr>
            <p:ph type="chart" sz="quarter" idx="13"/>
          </p:nvPr>
        </p:nvSpPr>
        <p:spPr>
          <a:xfrm>
            <a:off x="8125919" y="685800"/>
            <a:ext cx="3575304" cy="2400300"/>
          </a:xfrm>
        </p:spPr>
        <p:txBody>
          <a:bodyPr/>
          <a:lstStyle>
            <a:lvl1pPr marL="0" indent="0">
              <a:buNone/>
              <a:defRPr/>
            </a:lvl1pPr>
          </a:lstStyle>
          <a:p>
            <a:r>
              <a:rPr lang="en-US"/>
              <a:t>Click icon to add chart</a:t>
            </a:r>
          </a:p>
        </p:txBody>
      </p:sp>
      <p:sp>
        <p:nvSpPr>
          <p:cNvPr id="9" name="Chart Placeholder 5">
            <a:extLst>
              <a:ext uri="{FF2B5EF4-FFF2-40B4-BE49-F238E27FC236}">
                <a16:creationId xmlns:a16="http://schemas.microsoft.com/office/drawing/2014/main" id="{3CD8E177-2464-66B3-840E-6CF2156BC440}"/>
              </a:ext>
            </a:extLst>
          </p:cNvPr>
          <p:cNvSpPr>
            <a:spLocks noGrp="1"/>
          </p:cNvSpPr>
          <p:nvPr>
            <p:ph type="chart" sz="quarter" idx="14"/>
          </p:nvPr>
        </p:nvSpPr>
        <p:spPr>
          <a:xfrm>
            <a:off x="8125919" y="3432997"/>
            <a:ext cx="3575304" cy="2400300"/>
          </a:xfrm>
        </p:spPr>
        <p:txBody>
          <a:bodyPr/>
          <a:lstStyle>
            <a:lvl1pPr marL="0" indent="0">
              <a:buNone/>
              <a:defRPr/>
            </a:lvl1pPr>
          </a:lstStyle>
          <a:p>
            <a:r>
              <a:rPr lang="en-US"/>
              <a:t>Click icon to add chart</a:t>
            </a:r>
          </a:p>
        </p:txBody>
      </p:sp>
      <p:sp>
        <p:nvSpPr>
          <p:cNvPr id="10" name="Title 1">
            <a:extLst>
              <a:ext uri="{FF2B5EF4-FFF2-40B4-BE49-F238E27FC236}">
                <a16:creationId xmlns:a16="http://schemas.microsoft.com/office/drawing/2014/main" id="{F5A595E0-7C19-EE8D-F4C3-E5B7E550716E}"/>
              </a:ext>
            </a:extLst>
          </p:cNvPr>
          <p:cNvSpPr>
            <a:spLocks noGrp="1"/>
          </p:cNvSpPr>
          <p:nvPr>
            <p:ph type="title"/>
          </p:nvPr>
        </p:nvSpPr>
        <p:spPr>
          <a:xfrm>
            <a:off x="493288" y="2075392"/>
            <a:ext cx="2861099" cy="1471461"/>
          </a:xfrm>
        </p:spPr>
        <p:txBody>
          <a:bodyPr anchor="ctr">
            <a:noAutofit/>
          </a:bodyPr>
          <a:lstStyle>
            <a:lvl1pPr>
              <a:defRPr>
                <a:solidFill>
                  <a:schemeClr val="tx1"/>
                </a:solidFill>
              </a:defRPr>
            </a:lvl1pPr>
          </a:lstStyle>
          <a:p>
            <a:r>
              <a:rPr lang="en-US"/>
              <a:t>Click to edit Master title style</a:t>
            </a:r>
          </a:p>
        </p:txBody>
      </p:sp>
      <p:sp>
        <p:nvSpPr>
          <p:cNvPr id="11" name="Subtitle 2">
            <a:extLst>
              <a:ext uri="{FF2B5EF4-FFF2-40B4-BE49-F238E27FC236}">
                <a16:creationId xmlns:a16="http://schemas.microsoft.com/office/drawing/2014/main" id="{E4386C81-DD1C-6DF3-6E7E-04FBACCF8C2F}"/>
              </a:ext>
            </a:extLst>
          </p:cNvPr>
          <p:cNvSpPr>
            <a:spLocks noGrp="1"/>
          </p:cNvSpPr>
          <p:nvPr>
            <p:ph type="subTitle" idx="1"/>
          </p:nvPr>
        </p:nvSpPr>
        <p:spPr>
          <a:xfrm>
            <a:off x="493713" y="3675854"/>
            <a:ext cx="2860675" cy="628841"/>
          </a:xfrm>
        </p:spPr>
        <p:txBody>
          <a:bodyPr>
            <a:noAutofit/>
          </a:bodyPr>
          <a:lstStyle>
            <a:lvl1pPr marL="0" indent="0" algn="l">
              <a:buNone/>
              <a:defRPr sz="21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Footer Placeholder 66">
            <a:extLst>
              <a:ext uri="{FF2B5EF4-FFF2-40B4-BE49-F238E27FC236}">
                <a16:creationId xmlns:a16="http://schemas.microsoft.com/office/drawing/2014/main" id="{D5D0586B-0112-D2A3-5141-4F52B0D0E4CD}"/>
              </a:ext>
            </a:extLst>
          </p:cNvPr>
          <p:cNvSpPr>
            <a:spLocks noGrp="1"/>
          </p:cNvSpPr>
          <p:nvPr>
            <p:ph type="ftr" sz="quarter" idx="3"/>
          </p:nvPr>
        </p:nvSpPr>
        <p:spPr>
          <a:xfrm>
            <a:off x="493288" y="6405456"/>
            <a:ext cx="9893725" cy="107722"/>
          </a:xfrm>
          <a:prstGeom prst="rect">
            <a:avLst/>
          </a:prstGeom>
        </p:spPr>
        <p:txBody>
          <a:bodyPr vert="horz" lIns="0" tIns="0" rIns="0" bIns="0" rtlCol="0" anchor="b"/>
          <a:lstStyle>
            <a:lvl1pPr algn="l">
              <a:defRPr sz="700">
                <a:solidFill>
                  <a:schemeClr val="tx2"/>
                </a:solidFill>
              </a:defRPr>
            </a:lvl1pPr>
          </a:lstStyle>
          <a:p>
            <a:endParaRPr lang="en-US"/>
          </a:p>
        </p:txBody>
      </p:sp>
    </p:spTree>
    <p:extLst>
      <p:ext uri="{BB962C8B-B14F-4D97-AF65-F5344CB8AC3E}">
        <p14:creationId xmlns:p14="http://schemas.microsoft.com/office/powerpoint/2010/main" val="17838769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Quote with Photo">
    <p:bg>
      <p:bgPr>
        <a:solidFill>
          <a:schemeClr val="bg1"/>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7B2A64-C4B7-C367-988A-AF7D9B55C478}"/>
              </a:ext>
            </a:extLst>
          </p:cNvPr>
          <p:cNvSpPr>
            <a:spLocks noGrp="1"/>
          </p:cNvSpPr>
          <p:nvPr>
            <p:ph type="pic" sz="quarter" idx="12" hasCustomPrompt="1"/>
          </p:nvPr>
        </p:nvSpPr>
        <p:spPr>
          <a:xfrm>
            <a:off x="6210300" y="0"/>
            <a:ext cx="5981700" cy="6858000"/>
          </a:xfrm>
          <a:custGeom>
            <a:avLst/>
            <a:gdLst>
              <a:gd name="connsiteX0" fmla="*/ 0 w 5981700"/>
              <a:gd name="connsiteY0" fmla="*/ 0 h 6858000"/>
              <a:gd name="connsiteX1" fmla="*/ 5981700 w 5981700"/>
              <a:gd name="connsiteY1" fmla="*/ 0 h 6858000"/>
              <a:gd name="connsiteX2" fmla="*/ 5981700 w 5981700"/>
              <a:gd name="connsiteY2" fmla="*/ 6858000 h 6858000"/>
              <a:gd name="connsiteX3" fmla="*/ 868521 w 5981700"/>
              <a:gd name="connsiteY3" fmla="*/ 6858000 h 6858000"/>
              <a:gd name="connsiteX4" fmla="*/ 832220 w 5981700"/>
              <a:gd name="connsiteY4" fmla="*/ 6854460 h 6858000"/>
              <a:gd name="connsiteX5" fmla="*/ 628589 w 5981700"/>
              <a:gd name="connsiteY5" fmla="*/ 6746455 h 6858000"/>
              <a:gd name="connsiteX6" fmla="*/ 108122 w 5981700"/>
              <a:gd name="connsiteY6" fmla="*/ 6225987 h 6858000"/>
              <a:gd name="connsiteX7" fmla="*/ 21455 w 5981700"/>
              <a:gd name="connsiteY7" fmla="*/ 6095966 h 6858000"/>
              <a:gd name="connsiteX8" fmla="*/ 0 w 5981700"/>
              <a:gd name="connsiteY8" fmla="*/ 602502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81700" h="6858000">
                <a:moveTo>
                  <a:pt x="0" y="0"/>
                </a:moveTo>
                <a:lnTo>
                  <a:pt x="5981700" y="0"/>
                </a:lnTo>
                <a:lnTo>
                  <a:pt x="5981700" y="6858000"/>
                </a:lnTo>
                <a:lnTo>
                  <a:pt x="868521" y="6858000"/>
                </a:lnTo>
                <a:lnTo>
                  <a:pt x="832220" y="6854460"/>
                </a:lnTo>
                <a:cubicBezTo>
                  <a:pt x="755128" y="6839198"/>
                  <a:pt x="683798" y="6801663"/>
                  <a:pt x="628589" y="6746455"/>
                </a:cubicBezTo>
                <a:lnTo>
                  <a:pt x="108122" y="6225987"/>
                </a:lnTo>
                <a:cubicBezTo>
                  <a:pt x="70644" y="6188509"/>
                  <a:pt x="41357" y="6144201"/>
                  <a:pt x="21455" y="6095966"/>
                </a:cubicBezTo>
                <a:lnTo>
                  <a:pt x="0" y="6025028"/>
                </a:lnTo>
                <a:close/>
              </a:path>
            </a:pathLst>
          </a:custGeom>
          <a:solidFill>
            <a:schemeClr val="bg2"/>
          </a:solidFill>
          <a:ln>
            <a:noFill/>
          </a:ln>
        </p:spPr>
        <p:txBody>
          <a:bodyPr wrap="square" lIns="182880" tIns="182880" rIns="0" anchor="t">
            <a:noAutofit/>
          </a:bodyPr>
          <a:lstStyle>
            <a:lvl1pPr marL="0" indent="0" algn="ctr">
              <a:buNone/>
              <a:defRPr>
                <a:solidFill>
                  <a:schemeClr val="tx1"/>
                </a:solidFill>
              </a:defRPr>
            </a:lvl1pPr>
          </a:lstStyle>
          <a:p>
            <a:r>
              <a:rPr lang="en-US"/>
              <a:t>Please use Veeam approved images</a:t>
            </a:r>
          </a:p>
        </p:txBody>
      </p:sp>
      <p:sp>
        <p:nvSpPr>
          <p:cNvPr id="4" name="Title 1">
            <a:extLst>
              <a:ext uri="{FF2B5EF4-FFF2-40B4-BE49-F238E27FC236}">
                <a16:creationId xmlns:a16="http://schemas.microsoft.com/office/drawing/2014/main" id="{AD7778CF-A5E1-5836-F550-AC9C3D684FCB}"/>
              </a:ext>
            </a:extLst>
          </p:cNvPr>
          <p:cNvSpPr>
            <a:spLocks noGrp="1"/>
          </p:cNvSpPr>
          <p:nvPr>
            <p:ph type="title"/>
          </p:nvPr>
        </p:nvSpPr>
        <p:spPr>
          <a:xfrm>
            <a:off x="963257" y="1679120"/>
            <a:ext cx="4654906" cy="3118757"/>
          </a:xfrm>
        </p:spPr>
        <p:txBody>
          <a:bodyPr anchor="t"/>
          <a:lstStyle>
            <a:lvl1pPr>
              <a:lnSpc>
                <a:spcPct val="87000"/>
              </a:lnSpc>
              <a:defRPr>
                <a:solidFill>
                  <a:schemeClr val="accent1"/>
                </a:solidFill>
              </a:defRPr>
            </a:lvl1pPr>
          </a:lstStyle>
          <a:p>
            <a:r>
              <a:rPr lang="en-US"/>
              <a:t>Click to edit Master title style</a:t>
            </a:r>
          </a:p>
        </p:txBody>
      </p:sp>
      <p:sp>
        <p:nvSpPr>
          <p:cNvPr id="20" name="object 2">
            <a:extLst>
              <a:ext uri="{FF2B5EF4-FFF2-40B4-BE49-F238E27FC236}">
                <a16:creationId xmlns:a16="http://schemas.microsoft.com/office/drawing/2014/main" id="{520EAD5B-EE6E-076C-443E-61899DD92BA2}"/>
              </a:ext>
            </a:extLst>
          </p:cNvPr>
          <p:cNvSpPr/>
          <p:nvPr userDrawn="1"/>
        </p:nvSpPr>
        <p:spPr>
          <a:xfrm>
            <a:off x="528239" y="1034733"/>
            <a:ext cx="468070" cy="468069"/>
          </a:xfrm>
          <a:custGeom>
            <a:avLst/>
            <a:gdLst/>
            <a:ahLst/>
            <a:cxnLst/>
            <a:rect l="l" t="t" r="r" b="b"/>
            <a:pathLst>
              <a:path w="828675" h="828675">
                <a:moveTo>
                  <a:pt x="828121" y="0"/>
                </a:moveTo>
                <a:lnTo>
                  <a:pt x="511712" y="565"/>
                </a:lnTo>
                <a:lnTo>
                  <a:pt x="468206" y="4936"/>
                </a:lnTo>
                <a:lnTo>
                  <a:pt x="426776" y="17574"/>
                </a:lnTo>
                <a:lnTo>
                  <a:pt x="388579" y="37999"/>
                </a:lnTo>
                <a:lnTo>
                  <a:pt x="354774" y="65736"/>
                </a:lnTo>
                <a:lnTo>
                  <a:pt x="65736" y="354774"/>
                </a:lnTo>
                <a:lnTo>
                  <a:pt x="38004" y="388579"/>
                </a:lnTo>
                <a:lnTo>
                  <a:pt x="17577" y="426774"/>
                </a:lnTo>
                <a:lnTo>
                  <a:pt x="4938" y="468201"/>
                </a:lnTo>
                <a:lnTo>
                  <a:pt x="565" y="511701"/>
                </a:lnTo>
                <a:lnTo>
                  <a:pt x="0" y="828110"/>
                </a:lnTo>
                <a:lnTo>
                  <a:pt x="235553" y="828110"/>
                </a:lnTo>
                <a:lnTo>
                  <a:pt x="236087" y="280776"/>
                </a:lnTo>
                <a:lnTo>
                  <a:pt x="239616" y="263356"/>
                </a:lnTo>
                <a:lnTo>
                  <a:pt x="249213" y="249132"/>
                </a:lnTo>
                <a:lnTo>
                  <a:pt x="263438" y="239540"/>
                </a:lnTo>
                <a:lnTo>
                  <a:pt x="280850" y="236013"/>
                </a:lnTo>
                <a:lnTo>
                  <a:pt x="828121" y="235553"/>
                </a:lnTo>
                <a:lnTo>
                  <a:pt x="828121" y="0"/>
                </a:lnTo>
                <a:close/>
              </a:path>
            </a:pathLst>
          </a:custGeom>
          <a:gradFill flip="none" rotWithShape="1">
            <a:gsLst>
              <a:gs pos="0">
                <a:srgbClr val="00824A"/>
              </a:gs>
              <a:gs pos="95413">
                <a:srgbClr val="96FFA1"/>
              </a:gs>
              <a:gs pos="32000">
                <a:srgbClr val="00D05D"/>
              </a:gs>
            </a:gsLst>
            <a:lin ang="8400000" scaled="0"/>
            <a:tileRect/>
          </a:gradFill>
        </p:spPr>
        <p:txBody>
          <a:bodyPr wrap="square" lIns="0" tIns="0" rIns="0" bIns="0" rtlCol="0"/>
          <a:lstStyle/>
          <a:p>
            <a:pPr marR="0" lvl="0" indent="0" fontAlgn="auto">
              <a:lnSpc>
                <a:spcPct val="100000"/>
              </a:lnSpc>
              <a:spcBef>
                <a:spcPts val="0"/>
              </a:spcBef>
              <a:spcAft>
                <a:spcPts val="0"/>
              </a:spcAft>
              <a:buClrTx/>
              <a:buSzTx/>
              <a:buFontTx/>
              <a:buNone/>
              <a:tabLst/>
            </a:pPr>
            <a:endParaRPr kumimoji="0" b="0" i="0" u="none" strike="noStrike" kern="0" cap="none" spc="0" normalizeH="0" baseline="0" noProof="0">
              <a:ln>
                <a:noFill/>
              </a:ln>
              <a:solidFill>
                <a:srgbClr val="4F5860"/>
              </a:solidFill>
              <a:effectLst/>
              <a:uLnTx/>
              <a:uFillTx/>
            </a:endParaRPr>
          </a:p>
        </p:txBody>
      </p:sp>
      <p:sp>
        <p:nvSpPr>
          <p:cNvPr id="2" name="Subtitle 2">
            <a:extLst>
              <a:ext uri="{FF2B5EF4-FFF2-40B4-BE49-F238E27FC236}">
                <a16:creationId xmlns:a16="http://schemas.microsoft.com/office/drawing/2014/main" id="{14ACDD1A-48D3-FFFC-3E6E-5E80D7C7A5FE}"/>
              </a:ext>
            </a:extLst>
          </p:cNvPr>
          <p:cNvSpPr>
            <a:spLocks noGrp="1"/>
          </p:cNvSpPr>
          <p:nvPr>
            <p:ph type="subTitle" idx="1" hasCustomPrompt="1"/>
          </p:nvPr>
        </p:nvSpPr>
        <p:spPr>
          <a:xfrm>
            <a:off x="963258" y="5078194"/>
            <a:ext cx="4654906" cy="747931"/>
          </a:xfrm>
        </p:spPr>
        <p:txBody>
          <a:bodyPr/>
          <a:lstStyle>
            <a:lvl1pPr marL="0" indent="0" algn="l">
              <a:buNone/>
              <a:defRPr lang="en-US" sz="2400" b="0" i="0" kern="1200" dirty="0">
                <a:solidFill>
                  <a:srgbClr val="8E71F4"/>
                </a:solidFill>
                <a:latin typeface="ES Build" pitchFamily="2" charset="77"/>
                <a:ea typeface="ES Build" pitchFamily="2" charset="77"/>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96000"/>
              </a:lnSpc>
              <a:spcBef>
                <a:spcPts val="900"/>
              </a:spcBef>
              <a:spcAft>
                <a:spcPts val="300"/>
              </a:spcAft>
              <a:buClrTx/>
              <a:buFont typeface="Arial" panose="020B0604020202020204" pitchFamily="34" charset="0"/>
              <a:buNone/>
              <a:tabLst/>
            </a:pPr>
            <a:r>
              <a:rPr lang="en-US"/>
              <a:t>Attribution</a:t>
            </a:r>
          </a:p>
        </p:txBody>
      </p:sp>
      <p:pic>
        <p:nvPicPr>
          <p:cNvPr id="3" name="Graphic 2">
            <a:extLst>
              <a:ext uri="{FF2B5EF4-FFF2-40B4-BE49-F238E27FC236}">
                <a16:creationId xmlns:a16="http://schemas.microsoft.com/office/drawing/2014/main" id="{1A0D135D-6F15-EEE1-0D80-1B6A2A23BD49}"/>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180146" y="6513177"/>
            <a:ext cx="516553" cy="157025"/>
          </a:xfrm>
          <a:prstGeom prst="rect">
            <a:avLst/>
          </a:prstGeom>
        </p:spPr>
      </p:pic>
    </p:spTree>
    <p:extLst>
      <p:ext uri="{BB962C8B-B14F-4D97-AF65-F5344CB8AC3E}">
        <p14:creationId xmlns:p14="http://schemas.microsoft.com/office/powerpoint/2010/main" val="1308407287"/>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with Photo">
    <p:bg>
      <p:bgPr>
        <a:solidFill>
          <a:schemeClr val="bg1"/>
        </a:solidFill>
        <a:effectLst/>
      </p:bgPr>
    </p:bg>
    <p:spTree>
      <p:nvGrpSpPr>
        <p:cNvPr id="1" name=""/>
        <p:cNvGrpSpPr/>
        <p:nvPr/>
      </p:nvGrpSpPr>
      <p:grpSpPr>
        <a:xfrm>
          <a:off x="0" y="0"/>
          <a:ext cx="0" cy="0"/>
          <a:chOff x="0" y="0"/>
          <a:chExt cx="0" cy="0"/>
        </a:xfrm>
      </p:grpSpPr>
      <p:sp>
        <p:nvSpPr>
          <p:cNvPr id="4" name="Picture Placeholder 13">
            <a:extLst>
              <a:ext uri="{FF2B5EF4-FFF2-40B4-BE49-F238E27FC236}">
                <a16:creationId xmlns:a16="http://schemas.microsoft.com/office/drawing/2014/main" id="{ED376942-9122-FE26-7F33-37835C84C2AA}"/>
              </a:ext>
            </a:extLst>
          </p:cNvPr>
          <p:cNvSpPr>
            <a:spLocks noGrp="1"/>
          </p:cNvSpPr>
          <p:nvPr>
            <p:ph type="pic" sz="quarter" idx="12" hasCustomPrompt="1"/>
          </p:nvPr>
        </p:nvSpPr>
        <p:spPr>
          <a:xfrm>
            <a:off x="6210300" y="0"/>
            <a:ext cx="5981700" cy="6858000"/>
          </a:xfrm>
          <a:custGeom>
            <a:avLst/>
            <a:gdLst>
              <a:gd name="connsiteX0" fmla="*/ 0 w 5981700"/>
              <a:gd name="connsiteY0" fmla="*/ 0 h 6858000"/>
              <a:gd name="connsiteX1" fmla="*/ 5981700 w 5981700"/>
              <a:gd name="connsiteY1" fmla="*/ 0 h 6858000"/>
              <a:gd name="connsiteX2" fmla="*/ 5981700 w 5981700"/>
              <a:gd name="connsiteY2" fmla="*/ 6858000 h 6858000"/>
              <a:gd name="connsiteX3" fmla="*/ 868521 w 5981700"/>
              <a:gd name="connsiteY3" fmla="*/ 6858000 h 6858000"/>
              <a:gd name="connsiteX4" fmla="*/ 832220 w 5981700"/>
              <a:gd name="connsiteY4" fmla="*/ 6854460 h 6858000"/>
              <a:gd name="connsiteX5" fmla="*/ 628589 w 5981700"/>
              <a:gd name="connsiteY5" fmla="*/ 6746455 h 6858000"/>
              <a:gd name="connsiteX6" fmla="*/ 108122 w 5981700"/>
              <a:gd name="connsiteY6" fmla="*/ 6225987 h 6858000"/>
              <a:gd name="connsiteX7" fmla="*/ 21455 w 5981700"/>
              <a:gd name="connsiteY7" fmla="*/ 6095966 h 6858000"/>
              <a:gd name="connsiteX8" fmla="*/ 0 w 5981700"/>
              <a:gd name="connsiteY8" fmla="*/ 602502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81700" h="6858000">
                <a:moveTo>
                  <a:pt x="0" y="0"/>
                </a:moveTo>
                <a:lnTo>
                  <a:pt x="5981700" y="0"/>
                </a:lnTo>
                <a:lnTo>
                  <a:pt x="5981700" y="6858000"/>
                </a:lnTo>
                <a:lnTo>
                  <a:pt x="868521" y="6858000"/>
                </a:lnTo>
                <a:lnTo>
                  <a:pt x="832220" y="6854460"/>
                </a:lnTo>
                <a:cubicBezTo>
                  <a:pt x="755128" y="6839198"/>
                  <a:pt x="683798" y="6801663"/>
                  <a:pt x="628589" y="6746455"/>
                </a:cubicBezTo>
                <a:lnTo>
                  <a:pt x="108122" y="6225987"/>
                </a:lnTo>
                <a:cubicBezTo>
                  <a:pt x="70644" y="6188509"/>
                  <a:pt x="41357" y="6144201"/>
                  <a:pt x="21455" y="6095966"/>
                </a:cubicBezTo>
                <a:lnTo>
                  <a:pt x="0" y="6025028"/>
                </a:lnTo>
                <a:close/>
              </a:path>
            </a:pathLst>
          </a:custGeom>
          <a:solidFill>
            <a:schemeClr val="bg1">
              <a:lumMod val="95000"/>
            </a:schemeClr>
          </a:solidFill>
        </p:spPr>
        <p:txBody>
          <a:bodyPr wrap="square" lIns="182880" tIns="182880" rIns="0" anchor="t">
            <a:noAutofit/>
          </a:bodyPr>
          <a:lstStyle>
            <a:lvl1pPr marL="0" indent="0" algn="ctr">
              <a:buNone/>
              <a:defRPr>
                <a:solidFill>
                  <a:schemeClr val="tx1"/>
                </a:solidFill>
              </a:defRPr>
            </a:lvl1pPr>
          </a:lstStyle>
          <a:p>
            <a:r>
              <a:rPr lang="en-US"/>
              <a:t>Please use Veeam approved images</a:t>
            </a:r>
          </a:p>
        </p:txBody>
      </p:sp>
      <p:sp>
        <p:nvSpPr>
          <p:cNvPr id="3" name="Footer Placeholder 66">
            <a:extLst>
              <a:ext uri="{FF2B5EF4-FFF2-40B4-BE49-F238E27FC236}">
                <a16:creationId xmlns:a16="http://schemas.microsoft.com/office/drawing/2014/main" id="{390F180B-8D91-8B67-65C1-D31CA48002D6}"/>
              </a:ext>
            </a:extLst>
          </p:cNvPr>
          <p:cNvSpPr>
            <a:spLocks noGrp="1"/>
          </p:cNvSpPr>
          <p:nvPr>
            <p:ph type="ftr" sz="quarter" idx="3"/>
          </p:nvPr>
        </p:nvSpPr>
        <p:spPr>
          <a:xfrm>
            <a:off x="493290" y="6405456"/>
            <a:ext cx="5124874" cy="107722"/>
          </a:xfrm>
          <a:prstGeom prst="rect">
            <a:avLst/>
          </a:prstGeom>
        </p:spPr>
        <p:txBody>
          <a:bodyPr vert="horz" lIns="0" tIns="0" rIns="0" bIns="0" rtlCol="0" anchor="t"/>
          <a:lstStyle>
            <a:lvl1pPr algn="l">
              <a:defRPr sz="700">
                <a:solidFill>
                  <a:schemeClr val="tx2"/>
                </a:solidFill>
              </a:defRPr>
            </a:lvl1pPr>
          </a:lstStyle>
          <a:p>
            <a:endParaRPr lang="en-US"/>
          </a:p>
        </p:txBody>
      </p:sp>
      <p:sp>
        <p:nvSpPr>
          <p:cNvPr id="7" name="Title 6">
            <a:extLst>
              <a:ext uri="{FF2B5EF4-FFF2-40B4-BE49-F238E27FC236}">
                <a16:creationId xmlns:a16="http://schemas.microsoft.com/office/drawing/2014/main" id="{7B160CC1-C532-FC64-CF24-FBC6F71CD5C7}"/>
              </a:ext>
            </a:extLst>
          </p:cNvPr>
          <p:cNvSpPr>
            <a:spLocks noGrp="1"/>
          </p:cNvSpPr>
          <p:nvPr>
            <p:ph type="title"/>
          </p:nvPr>
        </p:nvSpPr>
        <p:spPr>
          <a:xfrm>
            <a:off x="485246" y="342900"/>
            <a:ext cx="5124451" cy="682625"/>
          </a:xfrm>
        </p:spPr>
        <p:txBody>
          <a:bodyPr anchor="t">
            <a:noAutofit/>
          </a:bodyPr>
          <a:lstStyle/>
          <a:p>
            <a:r>
              <a:rPr lang="en-US"/>
              <a:t>Click to edit Master title style</a:t>
            </a:r>
          </a:p>
        </p:txBody>
      </p:sp>
      <p:sp>
        <p:nvSpPr>
          <p:cNvPr id="8" name="Subtitle 2">
            <a:extLst>
              <a:ext uri="{FF2B5EF4-FFF2-40B4-BE49-F238E27FC236}">
                <a16:creationId xmlns:a16="http://schemas.microsoft.com/office/drawing/2014/main" id="{9DC91D18-D941-B968-8B2A-E296B55FD283}"/>
              </a:ext>
            </a:extLst>
          </p:cNvPr>
          <p:cNvSpPr>
            <a:spLocks noGrp="1"/>
          </p:cNvSpPr>
          <p:nvPr>
            <p:ph type="subTitle" idx="1"/>
          </p:nvPr>
        </p:nvSpPr>
        <p:spPr>
          <a:xfrm>
            <a:off x="493713" y="1032607"/>
            <a:ext cx="5124451" cy="338993"/>
          </a:xfrm>
        </p:spPr>
        <p:txBody>
          <a:bodyPr anchor="t">
            <a:noAutofit/>
          </a:bodyPr>
          <a:lstStyle>
            <a:lvl1pPr marL="0" indent="0" algn="l">
              <a:buNone/>
              <a:defRPr sz="2100">
                <a:solidFill>
                  <a:schemeClr val="tx1"/>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Content Placeholder 18">
            <a:extLst>
              <a:ext uri="{FF2B5EF4-FFF2-40B4-BE49-F238E27FC236}">
                <a16:creationId xmlns:a16="http://schemas.microsoft.com/office/drawing/2014/main" id="{B9F2A843-E47E-7C1D-C8AB-5E24DBAC3166}"/>
              </a:ext>
            </a:extLst>
          </p:cNvPr>
          <p:cNvSpPr>
            <a:spLocks noGrp="1"/>
          </p:cNvSpPr>
          <p:nvPr>
            <p:ph sz="quarter" idx="10"/>
          </p:nvPr>
        </p:nvSpPr>
        <p:spPr>
          <a:xfrm>
            <a:off x="493288" y="1719645"/>
            <a:ext cx="5124452" cy="4449380"/>
          </a:xfrm>
        </p:spPr>
        <p:txBody>
          <a:bodyPr anchor="t"/>
          <a:lstStyle>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Graphic 10">
            <a:extLst>
              <a:ext uri="{FF2B5EF4-FFF2-40B4-BE49-F238E27FC236}">
                <a16:creationId xmlns:a16="http://schemas.microsoft.com/office/drawing/2014/main" id="{EA5D73F9-1845-9066-F594-D54B404C107C}"/>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180146" y="6513177"/>
            <a:ext cx="516553" cy="157025"/>
          </a:xfrm>
          <a:prstGeom prst="rect">
            <a:avLst/>
          </a:prstGeom>
        </p:spPr>
      </p:pic>
    </p:spTree>
    <p:extLst>
      <p:ext uri="{BB962C8B-B14F-4D97-AF65-F5344CB8AC3E}">
        <p14:creationId xmlns:p14="http://schemas.microsoft.com/office/powerpoint/2010/main" val="42756291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Content &amp; Picture Dark">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197FBCB4-2AC0-192D-7144-A7BE8A053CEF}"/>
              </a:ext>
            </a:extLst>
          </p:cNvPr>
          <p:cNvSpPr>
            <a:spLocks noGrp="1"/>
          </p:cNvSpPr>
          <p:nvPr>
            <p:ph type="pic" sz="quarter" idx="15" hasCustomPrompt="1"/>
          </p:nvPr>
        </p:nvSpPr>
        <p:spPr>
          <a:xfrm>
            <a:off x="7177088" y="1556763"/>
            <a:ext cx="3805237" cy="3744474"/>
          </a:xfrm>
          <a:prstGeom prst="roundRect">
            <a:avLst>
              <a:gd name="adj" fmla="val 869"/>
            </a:avLst>
          </a:prstGeom>
          <a:solidFill>
            <a:schemeClr val="bg2"/>
          </a:solidFill>
        </p:spPr>
        <p:txBody>
          <a:bodyPr/>
          <a:lstStyle>
            <a:lvl1pPr marL="0" indent="0" algn="ctr">
              <a:buNone/>
              <a:defRPr sz="1600"/>
            </a:lvl1pPr>
          </a:lstStyle>
          <a:p>
            <a:r>
              <a:rPr lang="en-US"/>
              <a:t>Please use Veeam approved images</a:t>
            </a:r>
          </a:p>
        </p:txBody>
      </p:sp>
      <p:sp>
        <p:nvSpPr>
          <p:cNvPr id="8" name="object 2">
            <a:extLst>
              <a:ext uri="{FF2B5EF4-FFF2-40B4-BE49-F238E27FC236}">
                <a16:creationId xmlns:a16="http://schemas.microsoft.com/office/drawing/2014/main" id="{3B21599D-5CF1-B6C2-D0C7-91432748B476}"/>
              </a:ext>
            </a:extLst>
          </p:cNvPr>
          <p:cNvSpPr/>
          <p:nvPr userDrawn="1"/>
        </p:nvSpPr>
        <p:spPr>
          <a:xfrm>
            <a:off x="6857009" y="1213653"/>
            <a:ext cx="422320" cy="422318"/>
          </a:xfrm>
          <a:custGeom>
            <a:avLst/>
            <a:gdLst/>
            <a:ahLst/>
            <a:cxnLst/>
            <a:rect l="l" t="t" r="r" b="b"/>
            <a:pathLst>
              <a:path w="828675" h="828675">
                <a:moveTo>
                  <a:pt x="828121" y="0"/>
                </a:moveTo>
                <a:lnTo>
                  <a:pt x="511712" y="565"/>
                </a:lnTo>
                <a:lnTo>
                  <a:pt x="468206" y="4936"/>
                </a:lnTo>
                <a:lnTo>
                  <a:pt x="426776" y="17574"/>
                </a:lnTo>
                <a:lnTo>
                  <a:pt x="388579" y="37999"/>
                </a:lnTo>
                <a:lnTo>
                  <a:pt x="354774" y="65736"/>
                </a:lnTo>
                <a:lnTo>
                  <a:pt x="65736" y="354774"/>
                </a:lnTo>
                <a:lnTo>
                  <a:pt x="38004" y="388579"/>
                </a:lnTo>
                <a:lnTo>
                  <a:pt x="17577" y="426774"/>
                </a:lnTo>
                <a:lnTo>
                  <a:pt x="4938" y="468201"/>
                </a:lnTo>
                <a:lnTo>
                  <a:pt x="565" y="511701"/>
                </a:lnTo>
                <a:lnTo>
                  <a:pt x="0" y="828110"/>
                </a:lnTo>
                <a:lnTo>
                  <a:pt x="235553" y="828110"/>
                </a:lnTo>
                <a:lnTo>
                  <a:pt x="236087" y="280776"/>
                </a:lnTo>
                <a:lnTo>
                  <a:pt x="239616" y="263356"/>
                </a:lnTo>
                <a:lnTo>
                  <a:pt x="249213" y="249132"/>
                </a:lnTo>
                <a:lnTo>
                  <a:pt x="263438" y="239540"/>
                </a:lnTo>
                <a:lnTo>
                  <a:pt x="280850" y="236013"/>
                </a:lnTo>
                <a:lnTo>
                  <a:pt x="828121" y="235553"/>
                </a:lnTo>
                <a:lnTo>
                  <a:pt x="828121" y="0"/>
                </a:lnTo>
                <a:close/>
              </a:path>
            </a:pathLst>
          </a:custGeom>
          <a:solidFill>
            <a:schemeClr val="accent2"/>
          </a:solidFill>
        </p:spPr>
        <p:txBody>
          <a:bodyPr wrap="square" lIns="0" tIns="0" rIns="0" bIns="0" rtlCol="0"/>
          <a:lstStyle/>
          <a:p>
            <a:pPr marR="0" lvl="0" indent="0" fontAlgn="auto">
              <a:lnSpc>
                <a:spcPct val="100000"/>
              </a:lnSpc>
              <a:spcBef>
                <a:spcPts val="0"/>
              </a:spcBef>
              <a:spcAft>
                <a:spcPts val="0"/>
              </a:spcAft>
              <a:buClrTx/>
              <a:buSzTx/>
              <a:buFontTx/>
              <a:buNone/>
              <a:tabLst/>
            </a:pPr>
            <a:endParaRPr kumimoji="0" b="0" i="0" u="none" strike="noStrike" kern="0" cap="none" spc="0" normalizeH="0" baseline="0" noProof="0">
              <a:ln>
                <a:noFill/>
              </a:ln>
              <a:solidFill>
                <a:srgbClr val="4F5860"/>
              </a:solidFill>
              <a:effectLst/>
              <a:uLnTx/>
              <a:uFillTx/>
            </a:endParaRPr>
          </a:p>
        </p:txBody>
      </p:sp>
      <p:sp>
        <p:nvSpPr>
          <p:cNvPr id="10" name="object 2">
            <a:extLst>
              <a:ext uri="{FF2B5EF4-FFF2-40B4-BE49-F238E27FC236}">
                <a16:creationId xmlns:a16="http://schemas.microsoft.com/office/drawing/2014/main" id="{68ECF173-E18B-1953-ACA9-0490C3A096A0}"/>
              </a:ext>
            </a:extLst>
          </p:cNvPr>
          <p:cNvSpPr/>
          <p:nvPr userDrawn="1"/>
        </p:nvSpPr>
        <p:spPr>
          <a:xfrm rot="10800000">
            <a:off x="10871208" y="5200104"/>
            <a:ext cx="422320" cy="422318"/>
          </a:xfrm>
          <a:custGeom>
            <a:avLst/>
            <a:gdLst/>
            <a:ahLst/>
            <a:cxnLst/>
            <a:rect l="l" t="t" r="r" b="b"/>
            <a:pathLst>
              <a:path w="828675" h="828675">
                <a:moveTo>
                  <a:pt x="828121" y="0"/>
                </a:moveTo>
                <a:lnTo>
                  <a:pt x="511712" y="565"/>
                </a:lnTo>
                <a:lnTo>
                  <a:pt x="468206" y="4936"/>
                </a:lnTo>
                <a:lnTo>
                  <a:pt x="426776" y="17574"/>
                </a:lnTo>
                <a:lnTo>
                  <a:pt x="388579" y="37999"/>
                </a:lnTo>
                <a:lnTo>
                  <a:pt x="354774" y="65736"/>
                </a:lnTo>
                <a:lnTo>
                  <a:pt x="65736" y="354774"/>
                </a:lnTo>
                <a:lnTo>
                  <a:pt x="38004" y="388579"/>
                </a:lnTo>
                <a:lnTo>
                  <a:pt x="17577" y="426774"/>
                </a:lnTo>
                <a:lnTo>
                  <a:pt x="4938" y="468201"/>
                </a:lnTo>
                <a:lnTo>
                  <a:pt x="565" y="511701"/>
                </a:lnTo>
                <a:lnTo>
                  <a:pt x="0" y="828110"/>
                </a:lnTo>
                <a:lnTo>
                  <a:pt x="235553" y="828110"/>
                </a:lnTo>
                <a:lnTo>
                  <a:pt x="236087" y="280776"/>
                </a:lnTo>
                <a:lnTo>
                  <a:pt x="239616" y="263356"/>
                </a:lnTo>
                <a:lnTo>
                  <a:pt x="249213" y="249132"/>
                </a:lnTo>
                <a:lnTo>
                  <a:pt x="263438" y="239540"/>
                </a:lnTo>
                <a:lnTo>
                  <a:pt x="280850" y="236013"/>
                </a:lnTo>
                <a:lnTo>
                  <a:pt x="828121" y="235553"/>
                </a:lnTo>
                <a:lnTo>
                  <a:pt x="828121" y="0"/>
                </a:lnTo>
                <a:close/>
              </a:path>
            </a:pathLst>
          </a:custGeom>
          <a:solidFill>
            <a:schemeClr val="accent2"/>
          </a:solidFill>
        </p:spPr>
        <p:txBody>
          <a:bodyPr wrap="square" lIns="0" tIns="0" rIns="0" bIns="0" rtlCol="0"/>
          <a:lstStyle/>
          <a:p>
            <a:pPr marR="0" lvl="0" indent="0" fontAlgn="auto">
              <a:lnSpc>
                <a:spcPct val="100000"/>
              </a:lnSpc>
              <a:spcBef>
                <a:spcPts val="0"/>
              </a:spcBef>
              <a:spcAft>
                <a:spcPts val="0"/>
              </a:spcAft>
              <a:buClrTx/>
              <a:buSzTx/>
              <a:buFontTx/>
              <a:buNone/>
              <a:tabLst/>
            </a:pPr>
            <a:endParaRPr kumimoji="0" b="0" i="0" u="none" strike="noStrike" kern="0" cap="none" spc="0" normalizeH="0" baseline="0" noProof="0">
              <a:ln>
                <a:noFill/>
              </a:ln>
              <a:solidFill>
                <a:srgbClr val="4F5860"/>
              </a:solidFill>
              <a:effectLst/>
              <a:uLnTx/>
              <a:uFillTx/>
            </a:endParaRPr>
          </a:p>
        </p:txBody>
      </p:sp>
      <p:sp>
        <p:nvSpPr>
          <p:cNvPr id="3" name="Footer Placeholder 66">
            <a:extLst>
              <a:ext uri="{FF2B5EF4-FFF2-40B4-BE49-F238E27FC236}">
                <a16:creationId xmlns:a16="http://schemas.microsoft.com/office/drawing/2014/main" id="{07F7C4CB-3D01-47C2-FC3C-7701C5341730}"/>
              </a:ext>
            </a:extLst>
          </p:cNvPr>
          <p:cNvSpPr>
            <a:spLocks noGrp="1"/>
          </p:cNvSpPr>
          <p:nvPr>
            <p:ph type="ftr" sz="quarter" idx="3"/>
          </p:nvPr>
        </p:nvSpPr>
        <p:spPr>
          <a:xfrm>
            <a:off x="493288" y="6405456"/>
            <a:ext cx="9893725" cy="107722"/>
          </a:xfrm>
          <a:prstGeom prst="rect">
            <a:avLst/>
          </a:prstGeom>
        </p:spPr>
        <p:txBody>
          <a:bodyPr vert="horz" lIns="0" tIns="0" rIns="0" bIns="0" rtlCol="0" anchor="b"/>
          <a:lstStyle>
            <a:lvl1pPr algn="l">
              <a:defRPr sz="700">
                <a:solidFill>
                  <a:schemeClr val="tx2"/>
                </a:solidFill>
              </a:defRPr>
            </a:lvl1pPr>
          </a:lstStyle>
          <a:p>
            <a:endParaRPr lang="en-US"/>
          </a:p>
        </p:txBody>
      </p:sp>
      <p:sp>
        <p:nvSpPr>
          <p:cNvPr id="11" name="Title 6">
            <a:extLst>
              <a:ext uri="{FF2B5EF4-FFF2-40B4-BE49-F238E27FC236}">
                <a16:creationId xmlns:a16="http://schemas.microsoft.com/office/drawing/2014/main" id="{3712A25C-AB6D-81A9-BBF7-68C895E83765}"/>
              </a:ext>
            </a:extLst>
          </p:cNvPr>
          <p:cNvSpPr>
            <a:spLocks noGrp="1"/>
          </p:cNvSpPr>
          <p:nvPr>
            <p:ph type="title"/>
          </p:nvPr>
        </p:nvSpPr>
        <p:spPr>
          <a:xfrm>
            <a:off x="493712" y="342900"/>
            <a:ext cx="5721351" cy="682625"/>
          </a:xfrm>
        </p:spPr>
        <p:txBody>
          <a:bodyPr anchor="t"/>
          <a:lstStyle/>
          <a:p>
            <a:r>
              <a:rPr lang="en-US"/>
              <a:t>Click to edit Master title style</a:t>
            </a:r>
          </a:p>
        </p:txBody>
      </p:sp>
      <p:sp>
        <p:nvSpPr>
          <p:cNvPr id="12" name="Subtitle 2">
            <a:extLst>
              <a:ext uri="{FF2B5EF4-FFF2-40B4-BE49-F238E27FC236}">
                <a16:creationId xmlns:a16="http://schemas.microsoft.com/office/drawing/2014/main" id="{FA89F9B7-AE4B-C7FE-569A-F8DCD63515C3}"/>
              </a:ext>
            </a:extLst>
          </p:cNvPr>
          <p:cNvSpPr>
            <a:spLocks noGrp="1"/>
          </p:cNvSpPr>
          <p:nvPr>
            <p:ph type="subTitle" idx="1"/>
          </p:nvPr>
        </p:nvSpPr>
        <p:spPr>
          <a:xfrm>
            <a:off x="502179" y="1032607"/>
            <a:ext cx="5712883" cy="338993"/>
          </a:xfrm>
        </p:spPr>
        <p:txBody>
          <a:bodyPr anchor="t"/>
          <a:lstStyle>
            <a:lvl1pPr marL="0" indent="0" algn="l">
              <a:buNone/>
              <a:defRPr sz="2100">
                <a:solidFill>
                  <a:schemeClr val="tx1"/>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Content Placeholder 18">
            <a:extLst>
              <a:ext uri="{FF2B5EF4-FFF2-40B4-BE49-F238E27FC236}">
                <a16:creationId xmlns:a16="http://schemas.microsoft.com/office/drawing/2014/main" id="{0802ECFE-2E8E-5C84-DEFB-1B038B1E07DA}"/>
              </a:ext>
            </a:extLst>
          </p:cNvPr>
          <p:cNvSpPr>
            <a:spLocks noGrp="1"/>
          </p:cNvSpPr>
          <p:nvPr>
            <p:ph sz="quarter" idx="10"/>
          </p:nvPr>
        </p:nvSpPr>
        <p:spPr>
          <a:xfrm>
            <a:off x="493287" y="1719645"/>
            <a:ext cx="5712883" cy="4449380"/>
          </a:xfrm>
        </p:spPr>
        <p:txBody>
          <a:bodyPr anchor="t"/>
          <a:lstStyle>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399411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3 Left Standar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92301F5-B69E-0D3C-D5CC-BB2804BD19A5}"/>
              </a:ext>
            </a:extLst>
          </p:cNvPr>
          <p:cNvSpPr/>
          <p:nvPr/>
        </p:nvSpPr>
        <p:spPr>
          <a:xfrm>
            <a:off x="0" y="0"/>
            <a:ext cx="367937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a:solidFill>
                <a:schemeClr val="bg1"/>
              </a:solidFill>
              <a:latin typeface="ES Build" pitchFamily="50" charset="0"/>
              <a:cs typeface="Microsoft Sans Serif" panose="020B0604020202020204" pitchFamily="34" charset="0"/>
            </a:endParaRPr>
          </a:p>
        </p:txBody>
      </p:sp>
      <p:sp>
        <p:nvSpPr>
          <p:cNvPr id="4" name="Footer Placeholder 66">
            <a:extLst>
              <a:ext uri="{FF2B5EF4-FFF2-40B4-BE49-F238E27FC236}">
                <a16:creationId xmlns:a16="http://schemas.microsoft.com/office/drawing/2014/main" id="{8D4A966B-B53C-F2FC-D0C5-9BA62824DD64}"/>
              </a:ext>
            </a:extLst>
          </p:cNvPr>
          <p:cNvSpPr>
            <a:spLocks noGrp="1"/>
          </p:cNvSpPr>
          <p:nvPr>
            <p:ph type="ftr" sz="quarter" idx="3"/>
          </p:nvPr>
        </p:nvSpPr>
        <p:spPr>
          <a:xfrm>
            <a:off x="4305300" y="6405456"/>
            <a:ext cx="6438900" cy="107722"/>
          </a:xfrm>
          <a:prstGeom prst="rect">
            <a:avLst/>
          </a:prstGeom>
        </p:spPr>
        <p:txBody>
          <a:bodyPr vert="horz" lIns="0" tIns="0" rIns="0" bIns="0" rtlCol="0" anchor="b"/>
          <a:lstStyle>
            <a:lvl1pPr algn="l">
              <a:defRPr sz="700">
                <a:solidFill>
                  <a:schemeClr val="tx2"/>
                </a:solidFill>
              </a:defRPr>
            </a:lvl1pPr>
          </a:lstStyle>
          <a:p>
            <a:endParaRPr lang="en-US"/>
          </a:p>
        </p:txBody>
      </p:sp>
      <p:sp>
        <p:nvSpPr>
          <p:cNvPr id="7" name="Title 1">
            <a:extLst>
              <a:ext uri="{FF2B5EF4-FFF2-40B4-BE49-F238E27FC236}">
                <a16:creationId xmlns:a16="http://schemas.microsoft.com/office/drawing/2014/main" id="{101E4FAE-DFE1-398C-FA0F-A0388EBC430E}"/>
              </a:ext>
            </a:extLst>
          </p:cNvPr>
          <p:cNvSpPr>
            <a:spLocks noGrp="1"/>
          </p:cNvSpPr>
          <p:nvPr>
            <p:ph type="title"/>
          </p:nvPr>
        </p:nvSpPr>
        <p:spPr>
          <a:xfrm>
            <a:off x="495301" y="1719263"/>
            <a:ext cx="2859087" cy="2134979"/>
          </a:xfrm>
        </p:spPr>
        <p:txBody>
          <a:bodyPr anchor="ctr">
            <a:noAutofit/>
          </a:bodyPr>
          <a:lstStyle>
            <a:lvl1pPr>
              <a:defRPr sz="4400">
                <a:solidFill>
                  <a:schemeClr val="bg1"/>
                </a:solidFill>
              </a:defRPr>
            </a:lvl1pPr>
          </a:lstStyle>
          <a:p>
            <a:r>
              <a:rPr lang="en-US"/>
              <a:t>Click to edit Master title style</a:t>
            </a:r>
          </a:p>
        </p:txBody>
      </p:sp>
      <p:sp>
        <p:nvSpPr>
          <p:cNvPr id="8" name="Subtitle 2">
            <a:extLst>
              <a:ext uri="{FF2B5EF4-FFF2-40B4-BE49-F238E27FC236}">
                <a16:creationId xmlns:a16="http://schemas.microsoft.com/office/drawing/2014/main" id="{B668BEB9-9234-7E67-DA77-389713DE99B5}"/>
              </a:ext>
            </a:extLst>
          </p:cNvPr>
          <p:cNvSpPr>
            <a:spLocks noGrp="1"/>
          </p:cNvSpPr>
          <p:nvPr>
            <p:ph type="subTitle" idx="1"/>
          </p:nvPr>
        </p:nvSpPr>
        <p:spPr>
          <a:xfrm>
            <a:off x="495302" y="3997587"/>
            <a:ext cx="2859086" cy="628841"/>
          </a:xfrm>
        </p:spPr>
        <p:txBody>
          <a:bodyPr/>
          <a:lstStyle>
            <a:lvl1pPr marL="0" indent="0" algn="l">
              <a:buNone/>
              <a:defRPr sz="2100">
                <a:solidFill>
                  <a:schemeClr val="bg1"/>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Content Placeholder 18">
            <a:extLst>
              <a:ext uri="{FF2B5EF4-FFF2-40B4-BE49-F238E27FC236}">
                <a16:creationId xmlns:a16="http://schemas.microsoft.com/office/drawing/2014/main" id="{8789FD9D-6C75-950D-5E12-9EAC4570C8DB}"/>
              </a:ext>
            </a:extLst>
          </p:cNvPr>
          <p:cNvSpPr>
            <a:spLocks noGrp="1"/>
          </p:cNvSpPr>
          <p:nvPr>
            <p:ph sz="quarter" idx="10"/>
          </p:nvPr>
        </p:nvSpPr>
        <p:spPr>
          <a:xfrm>
            <a:off x="4305300" y="682625"/>
            <a:ext cx="7391400" cy="5489607"/>
          </a:xfrm>
        </p:spPr>
        <p:txBody>
          <a:bodyPr/>
          <a:lstStyle>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Graphic 10">
            <a:extLst>
              <a:ext uri="{FF2B5EF4-FFF2-40B4-BE49-F238E27FC236}">
                <a16:creationId xmlns:a16="http://schemas.microsoft.com/office/drawing/2014/main" id="{0FF3B821-C1A6-2271-E3E1-099796B307EF}"/>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180146" y="6513177"/>
            <a:ext cx="516553" cy="157025"/>
          </a:xfrm>
          <a:prstGeom prst="rect">
            <a:avLst/>
          </a:prstGeom>
        </p:spPr>
      </p:pic>
      <p:sp>
        <p:nvSpPr>
          <p:cNvPr id="2" name="TextBox 1">
            <a:extLst>
              <a:ext uri="{FF2B5EF4-FFF2-40B4-BE49-F238E27FC236}">
                <a16:creationId xmlns:a16="http://schemas.microsoft.com/office/drawing/2014/main" id="{3C66DF71-054C-5BA0-B7F5-C1AF6620EFC7}"/>
              </a:ext>
            </a:extLst>
          </p:cNvPr>
          <p:cNvSpPr txBox="1"/>
          <p:nvPr userDrawn="1"/>
        </p:nvSpPr>
        <p:spPr>
          <a:xfrm>
            <a:off x="4301339" y="6562481"/>
            <a:ext cx="5029200" cy="107722"/>
          </a:xfrm>
          <a:prstGeom prst="rect">
            <a:avLst/>
          </a:prstGeom>
          <a:noFill/>
        </p:spPr>
        <p:txBody>
          <a:bodyPr wrap="square" lIns="0" tIns="0" rIns="0" bIns="0">
            <a:spAutoFit/>
          </a:bodyPr>
          <a:lstStyle/>
          <a:p>
            <a:r>
              <a:rPr lang="en-US" sz="700">
                <a:solidFill>
                  <a:schemeClr val="tx2"/>
                </a:solidFill>
              </a:rPr>
              <a:t>© 2024 Veeam Software. Confidential information. All rights reserved. All trademarks are the property of their respective owners. </a:t>
            </a:r>
          </a:p>
        </p:txBody>
      </p:sp>
    </p:spTree>
    <p:extLst>
      <p:ext uri="{BB962C8B-B14F-4D97-AF65-F5344CB8AC3E}">
        <p14:creationId xmlns:p14="http://schemas.microsoft.com/office/powerpoint/2010/main" val="370205073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3 Left Stacked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92301F5-B69E-0D3C-D5CC-BB2804BD19A5}"/>
              </a:ext>
            </a:extLst>
          </p:cNvPr>
          <p:cNvSpPr/>
          <p:nvPr/>
        </p:nvSpPr>
        <p:spPr>
          <a:xfrm>
            <a:off x="0" y="0"/>
            <a:ext cx="367937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a:solidFill>
                <a:schemeClr val="bg1"/>
              </a:solidFill>
              <a:latin typeface="ES Build" pitchFamily="50" charset="0"/>
              <a:cs typeface="Microsoft Sans Serif" panose="020B0604020202020204" pitchFamily="34" charset="0"/>
            </a:endParaRPr>
          </a:p>
        </p:txBody>
      </p:sp>
      <p:sp>
        <p:nvSpPr>
          <p:cNvPr id="4" name="Footer Placeholder 66">
            <a:extLst>
              <a:ext uri="{FF2B5EF4-FFF2-40B4-BE49-F238E27FC236}">
                <a16:creationId xmlns:a16="http://schemas.microsoft.com/office/drawing/2014/main" id="{5A937196-A9E2-700D-0EF2-E8B6E1F366B1}"/>
              </a:ext>
            </a:extLst>
          </p:cNvPr>
          <p:cNvSpPr>
            <a:spLocks noGrp="1"/>
          </p:cNvSpPr>
          <p:nvPr>
            <p:ph type="ftr" sz="quarter" idx="3"/>
          </p:nvPr>
        </p:nvSpPr>
        <p:spPr>
          <a:xfrm>
            <a:off x="4305300" y="6405456"/>
            <a:ext cx="6438900" cy="107722"/>
          </a:xfrm>
          <a:prstGeom prst="rect">
            <a:avLst/>
          </a:prstGeom>
        </p:spPr>
        <p:txBody>
          <a:bodyPr vert="horz" lIns="0" tIns="0" rIns="0" bIns="0" rtlCol="0" anchor="b"/>
          <a:lstStyle>
            <a:lvl1pPr algn="l">
              <a:defRPr sz="700">
                <a:solidFill>
                  <a:schemeClr val="tx2"/>
                </a:solidFill>
              </a:defRPr>
            </a:lvl1pPr>
          </a:lstStyle>
          <a:p>
            <a:endParaRPr lang="en-US"/>
          </a:p>
        </p:txBody>
      </p:sp>
      <p:sp>
        <p:nvSpPr>
          <p:cNvPr id="8" name="Title 1">
            <a:extLst>
              <a:ext uri="{FF2B5EF4-FFF2-40B4-BE49-F238E27FC236}">
                <a16:creationId xmlns:a16="http://schemas.microsoft.com/office/drawing/2014/main" id="{BBFBCBD4-DA05-4F0F-6763-A747F0C03298}"/>
              </a:ext>
            </a:extLst>
          </p:cNvPr>
          <p:cNvSpPr>
            <a:spLocks noGrp="1"/>
          </p:cNvSpPr>
          <p:nvPr>
            <p:ph type="title"/>
          </p:nvPr>
        </p:nvSpPr>
        <p:spPr>
          <a:xfrm>
            <a:off x="495301" y="1719263"/>
            <a:ext cx="2859087" cy="2134979"/>
          </a:xfrm>
        </p:spPr>
        <p:txBody>
          <a:bodyPr anchor="ctr">
            <a:noAutofit/>
          </a:bodyPr>
          <a:lstStyle>
            <a:lvl1pPr>
              <a:defRPr sz="4400">
                <a:solidFill>
                  <a:schemeClr val="bg1"/>
                </a:solidFill>
              </a:defRPr>
            </a:lvl1pPr>
          </a:lstStyle>
          <a:p>
            <a:r>
              <a:rPr lang="en-US"/>
              <a:t>Click to edit Master title style</a:t>
            </a:r>
          </a:p>
        </p:txBody>
      </p:sp>
      <p:sp>
        <p:nvSpPr>
          <p:cNvPr id="9" name="Subtitle 2">
            <a:extLst>
              <a:ext uri="{FF2B5EF4-FFF2-40B4-BE49-F238E27FC236}">
                <a16:creationId xmlns:a16="http://schemas.microsoft.com/office/drawing/2014/main" id="{D57F8780-D8D3-B2FE-FCC9-87A2007A9395}"/>
              </a:ext>
            </a:extLst>
          </p:cNvPr>
          <p:cNvSpPr>
            <a:spLocks noGrp="1"/>
          </p:cNvSpPr>
          <p:nvPr>
            <p:ph type="subTitle" idx="1"/>
          </p:nvPr>
        </p:nvSpPr>
        <p:spPr>
          <a:xfrm>
            <a:off x="495302" y="3997587"/>
            <a:ext cx="2859086" cy="628841"/>
          </a:xfrm>
        </p:spPr>
        <p:txBody>
          <a:bodyPr/>
          <a:lstStyle>
            <a:lvl1pPr marL="0" indent="0" algn="l">
              <a:buNone/>
              <a:defRPr sz="2100">
                <a:solidFill>
                  <a:schemeClr val="bg1"/>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Content Placeholder 18">
            <a:extLst>
              <a:ext uri="{FF2B5EF4-FFF2-40B4-BE49-F238E27FC236}">
                <a16:creationId xmlns:a16="http://schemas.microsoft.com/office/drawing/2014/main" id="{9F0DE43A-B43F-04DF-5809-BD4DF20EF55C}"/>
              </a:ext>
            </a:extLst>
          </p:cNvPr>
          <p:cNvSpPr>
            <a:spLocks noGrp="1"/>
          </p:cNvSpPr>
          <p:nvPr>
            <p:ph sz="quarter" idx="10"/>
          </p:nvPr>
        </p:nvSpPr>
        <p:spPr>
          <a:xfrm>
            <a:off x="4305300" y="682626"/>
            <a:ext cx="7391400" cy="3771900"/>
          </a:xfrm>
        </p:spPr>
        <p:txBody>
          <a:bodyPr/>
          <a:lstStyle>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8">
            <a:extLst>
              <a:ext uri="{FF2B5EF4-FFF2-40B4-BE49-F238E27FC236}">
                <a16:creationId xmlns:a16="http://schemas.microsoft.com/office/drawing/2014/main" id="{EF926072-FA82-9BDD-9A63-4F6798DC9F61}"/>
              </a:ext>
            </a:extLst>
          </p:cNvPr>
          <p:cNvSpPr>
            <a:spLocks noGrp="1"/>
          </p:cNvSpPr>
          <p:nvPr>
            <p:ph sz="quarter" idx="11"/>
          </p:nvPr>
        </p:nvSpPr>
        <p:spPr>
          <a:xfrm>
            <a:off x="4315631" y="4797425"/>
            <a:ext cx="7391400" cy="1377949"/>
          </a:xfrm>
        </p:spPr>
        <p:txBody>
          <a:bodyPr/>
          <a:lstStyle>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Graphic 11">
            <a:extLst>
              <a:ext uri="{FF2B5EF4-FFF2-40B4-BE49-F238E27FC236}">
                <a16:creationId xmlns:a16="http://schemas.microsoft.com/office/drawing/2014/main" id="{88A2565B-B998-5BF9-DC86-72456ED8ED8E}"/>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180146" y="6513177"/>
            <a:ext cx="516553" cy="157025"/>
          </a:xfrm>
          <a:prstGeom prst="rect">
            <a:avLst/>
          </a:prstGeom>
        </p:spPr>
      </p:pic>
      <p:sp>
        <p:nvSpPr>
          <p:cNvPr id="2" name="TextBox 1">
            <a:extLst>
              <a:ext uri="{FF2B5EF4-FFF2-40B4-BE49-F238E27FC236}">
                <a16:creationId xmlns:a16="http://schemas.microsoft.com/office/drawing/2014/main" id="{E9AF60B4-CC56-BD9A-1302-702EEC8C61AB}"/>
              </a:ext>
            </a:extLst>
          </p:cNvPr>
          <p:cNvSpPr txBox="1"/>
          <p:nvPr userDrawn="1"/>
        </p:nvSpPr>
        <p:spPr>
          <a:xfrm>
            <a:off x="4301339" y="6562481"/>
            <a:ext cx="5029200" cy="107722"/>
          </a:xfrm>
          <a:prstGeom prst="rect">
            <a:avLst/>
          </a:prstGeom>
          <a:noFill/>
        </p:spPr>
        <p:txBody>
          <a:bodyPr wrap="square" lIns="0" tIns="0" rIns="0" bIns="0">
            <a:spAutoFit/>
          </a:bodyPr>
          <a:lstStyle/>
          <a:p>
            <a:r>
              <a:rPr lang="en-US" sz="700">
                <a:solidFill>
                  <a:schemeClr val="tx2"/>
                </a:solidFill>
              </a:rPr>
              <a:t>© 2024 Veeam Software. Confidential information. All rights reserved. All trademarks are the property of their respective owners. </a:t>
            </a:r>
          </a:p>
        </p:txBody>
      </p:sp>
    </p:spTree>
    <p:extLst>
      <p:ext uri="{BB962C8B-B14F-4D97-AF65-F5344CB8AC3E}">
        <p14:creationId xmlns:p14="http://schemas.microsoft.com/office/powerpoint/2010/main" val="19741372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3 Left Column Content">
    <p:spTree>
      <p:nvGrpSpPr>
        <p:cNvPr id="1" name=""/>
        <p:cNvGrpSpPr/>
        <p:nvPr/>
      </p:nvGrpSpPr>
      <p:grpSpPr>
        <a:xfrm>
          <a:off x="0" y="0"/>
          <a:ext cx="0" cy="0"/>
          <a:chOff x="0" y="0"/>
          <a:chExt cx="0" cy="0"/>
        </a:xfrm>
      </p:grpSpPr>
      <p:sp>
        <p:nvSpPr>
          <p:cNvPr id="13" name="Content Placeholder 18">
            <a:extLst>
              <a:ext uri="{FF2B5EF4-FFF2-40B4-BE49-F238E27FC236}">
                <a16:creationId xmlns:a16="http://schemas.microsoft.com/office/drawing/2014/main" id="{56B29AAB-9836-4222-2373-744FDA40340B}"/>
              </a:ext>
            </a:extLst>
          </p:cNvPr>
          <p:cNvSpPr>
            <a:spLocks noGrp="1"/>
          </p:cNvSpPr>
          <p:nvPr>
            <p:ph sz="quarter" idx="10"/>
          </p:nvPr>
        </p:nvSpPr>
        <p:spPr>
          <a:xfrm>
            <a:off x="4305300" y="682625"/>
            <a:ext cx="2263775" cy="5486399"/>
          </a:xfrm>
        </p:spPr>
        <p:txBody>
          <a:bodyPr/>
          <a:lstStyle>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8">
            <a:extLst>
              <a:ext uri="{FF2B5EF4-FFF2-40B4-BE49-F238E27FC236}">
                <a16:creationId xmlns:a16="http://schemas.microsoft.com/office/drawing/2014/main" id="{A4DE8E80-1063-4890-3D52-F10E95DE8406}"/>
              </a:ext>
            </a:extLst>
          </p:cNvPr>
          <p:cNvSpPr>
            <a:spLocks noGrp="1"/>
          </p:cNvSpPr>
          <p:nvPr>
            <p:ph sz="quarter" idx="11"/>
          </p:nvPr>
        </p:nvSpPr>
        <p:spPr>
          <a:xfrm>
            <a:off x="6752895" y="690564"/>
            <a:ext cx="4954135" cy="5486398"/>
          </a:xfrm>
        </p:spPr>
        <p:txBody>
          <a:bodyPr/>
          <a:lstStyle>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892301F5-B69E-0D3C-D5CC-BB2804BD19A5}"/>
              </a:ext>
            </a:extLst>
          </p:cNvPr>
          <p:cNvSpPr/>
          <p:nvPr/>
        </p:nvSpPr>
        <p:spPr>
          <a:xfrm>
            <a:off x="0" y="0"/>
            <a:ext cx="367937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a:solidFill>
                <a:schemeClr val="bg1"/>
              </a:solidFill>
              <a:latin typeface="ES Build" pitchFamily="50" charset="0"/>
              <a:cs typeface="Microsoft Sans Serif" panose="020B0604020202020204" pitchFamily="34" charset="0"/>
            </a:endParaRPr>
          </a:p>
        </p:txBody>
      </p:sp>
      <p:sp>
        <p:nvSpPr>
          <p:cNvPr id="24" name="Title 1">
            <a:extLst>
              <a:ext uri="{FF2B5EF4-FFF2-40B4-BE49-F238E27FC236}">
                <a16:creationId xmlns:a16="http://schemas.microsoft.com/office/drawing/2014/main" id="{36D7EDEC-72BB-0FBE-E163-12DA39051EA0}"/>
              </a:ext>
            </a:extLst>
          </p:cNvPr>
          <p:cNvSpPr>
            <a:spLocks noGrp="1"/>
          </p:cNvSpPr>
          <p:nvPr>
            <p:ph type="title"/>
          </p:nvPr>
        </p:nvSpPr>
        <p:spPr>
          <a:xfrm>
            <a:off x="495301" y="1719263"/>
            <a:ext cx="2859087" cy="2134979"/>
          </a:xfrm>
        </p:spPr>
        <p:txBody>
          <a:bodyPr anchor="ctr">
            <a:noAutofit/>
          </a:bodyPr>
          <a:lstStyle>
            <a:lvl1pPr>
              <a:defRPr sz="4400">
                <a:solidFill>
                  <a:schemeClr val="bg1"/>
                </a:solidFill>
              </a:defRPr>
            </a:lvl1pPr>
          </a:lstStyle>
          <a:p>
            <a:r>
              <a:rPr lang="en-US"/>
              <a:t>Click to edit Master title style</a:t>
            </a:r>
          </a:p>
        </p:txBody>
      </p:sp>
      <p:sp>
        <p:nvSpPr>
          <p:cNvPr id="2" name="Subtitle 2">
            <a:extLst>
              <a:ext uri="{FF2B5EF4-FFF2-40B4-BE49-F238E27FC236}">
                <a16:creationId xmlns:a16="http://schemas.microsoft.com/office/drawing/2014/main" id="{A2F6A416-87B9-D95B-4D6C-EC86BD6B64F5}"/>
              </a:ext>
            </a:extLst>
          </p:cNvPr>
          <p:cNvSpPr>
            <a:spLocks noGrp="1"/>
          </p:cNvSpPr>
          <p:nvPr>
            <p:ph type="subTitle" idx="1"/>
          </p:nvPr>
        </p:nvSpPr>
        <p:spPr>
          <a:xfrm>
            <a:off x="495302" y="3997587"/>
            <a:ext cx="2859086" cy="628841"/>
          </a:xfrm>
        </p:spPr>
        <p:txBody>
          <a:bodyPr/>
          <a:lstStyle>
            <a:lvl1pPr marL="0" indent="0" algn="l">
              <a:buNone/>
              <a:defRPr sz="2100">
                <a:solidFill>
                  <a:schemeClr val="bg1"/>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Footer Placeholder 66">
            <a:extLst>
              <a:ext uri="{FF2B5EF4-FFF2-40B4-BE49-F238E27FC236}">
                <a16:creationId xmlns:a16="http://schemas.microsoft.com/office/drawing/2014/main" id="{0D705D89-7F64-DEBF-AD72-C0380014CD33}"/>
              </a:ext>
            </a:extLst>
          </p:cNvPr>
          <p:cNvSpPr>
            <a:spLocks noGrp="1"/>
          </p:cNvSpPr>
          <p:nvPr>
            <p:ph type="ftr" sz="quarter" idx="3"/>
          </p:nvPr>
        </p:nvSpPr>
        <p:spPr>
          <a:xfrm>
            <a:off x="4305300" y="6405456"/>
            <a:ext cx="6438900" cy="107722"/>
          </a:xfrm>
          <a:prstGeom prst="rect">
            <a:avLst/>
          </a:prstGeom>
        </p:spPr>
        <p:txBody>
          <a:bodyPr vert="horz" lIns="0" tIns="0" rIns="0" bIns="0" rtlCol="0" anchor="b"/>
          <a:lstStyle>
            <a:lvl1pPr algn="l">
              <a:defRPr sz="700">
                <a:solidFill>
                  <a:schemeClr val="tx2"/>
                </a:solidFill>
              </a:defRPr>
            </a:lvl1pPr>
          </a:lstStyle>
          <a:p>
            <a:endParaRPr lang="en-US"/>
          </a:p>
        </p:txBody>
      </p:sp>
      <p:pic>
        <p:nvPicPr>
          <p:cNvPr id="15" name="Graphic 14">
            <a:extLst>
              <a:ext uri="{FF2B5EF4-FFF2-40B4-BE49-F238E27FC236}">
                <a16:creationId xmlns:a16="http://schemas.microsoft.com/office/drawing/2014/main" id="{DDD8AC79-0A9C-4390-C9DE-85891A71D533}"/>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180146" y="6513177"/>
            <a:ext cx="516553" cy="157025"/>
          </a:xfrm>
          <a:prstGeom prst="rect">
            <a:avLst/>
          </a:prstGeom>
        </p:spPr>
      </p:pic>
      <p:sp>
        <p:nvSpPr>
          <p:cNvPr id="3" name="TextBox 2">
            <a:extLst>
              <a:ext uri="{FF2B5EF4-FFF2-40B4-BE49-F238E27FC236}">
                <a16:creationId xmlns:a16="http://schemas.microsoft.com/office/drawing/2014/main" id="{A2F24600-DD81-1C90-6E3F-FD1DE119855D}"/>
              </a:ext>
            </a:extLst>
          </p:cNvPr>
          <p:cNvSpPr txBox="1"/>
          <p:nvPr userDrawn="1"/>
        </p:nvSpPr>
        <p:spPr>
          <a:xfrm>
            <a:off x="4301339" y="6562481"/>
            <a:ext cx="5029200" cy="107722"/>
          </a:xfrm>
          <a:prstGeom prst="rect">
            <a:avLst/>
          </a:prstGeom>
          <a:noFill/>
        </p:spPr>
        <p:txBody>
          <a:bodyPr wrap="square" lIns="0" tIns="0" rIns="0" bIns="0">
            <a:spAutoFit/>
          </a:bodyPr>
          <a:lstStyle/>
          <a:p>
            <a:r>
              <a:rPr lang="en-US" sz="700">
                <a:solidFill>
                  <a:schemeClr val="tx2"/>
                </a:solidFill>
              </a:rPr>
              <a:t>© 2024 Veeam Software. Confidential information. All rights reserved. All trademarks are the property of their respective owners. </a:t>
            </a:r>
          </a:p>
        </p:txBody>
      </p:sp>
    </p:spTree>
    <p:extLst>
      <p:ext uri="{BB962C8B-B14F-4D97-AF65-F5344CB8AC3E}">
        <p14:creationId xmlns:p14="http://schemas.microsoft.com/office/powerpoint/2010/main" val="159916077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1/3 Left Standar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92301F5-B69E-0D3C-D5CC-BB2804BD19A5}"/>
              </a:ext>
            </a:extLst>
          </p:cNvPr>
          <p:cNvSpPr/>
          <p:nvPr/>
        </p:nvSpPr>
        <p:spPr>
          <a:xfrm>
            <a:off x="0" y="0"/>
            <a:ext cx="332377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a:solidFill>
                <a:schemeClr val="bg1"/>
              </a:solidFill>
              <a:latin typeface="ES Build" pitchFamily="50" charset="0"/>
              <a:cs typeface="Microsoft Sans Serif" panose="020B0604020202020204" pitchFamily="34" charset="0"/>
            </a:endParaRPr>
          </a:p>
        </p:txBody>
      </p:sp>
      <p:sp>
        <p:nvSpPr>
          <p:cNvPr id="4" name="Footer Placeholder 66">
            <a:extLst>
              <a:ext uri="{FF2B5EF4-FFF2-40B4-BE49-F238E27FC236}">
                <a16:creationId xmlns:a16="http://schemas.microsoft.com/office/drawing/2014/main" id="{8D4A966B-B53C-F2FC-D0C5-9BA62824DD64}"/>
              </a:ext>
            </a:extLst>
          </p:cNvPr>
          <p:cNvSpPr>
            <a:spLocks noGrp="1"/>
          </p:cNvSpPr>
          <p:nvPr>
            <p:ph type="ftr" sz="quarter" idx="3"/>
          </p:nvPr>
        </p:nvSpPr>
        <p:spPr>
          <a:xfrm>
            <a:off x="4305300" y="6405456"/>
            <a:ext cx="6438900" cy="107722"/>
          </a:xfrm>
          <a:prstGeom prst="rect">
            <a:avLst/>
          </a:prstGeom>
        </p:spPr>
        <p:txBody>
          <a:bodyPr vert="horz" lIns="0" tIns="0" rIns="0" bIns="0" rtlCol="0" anchor="b"/>
          <a:lstStyle>
            <a:lvl1pPr algn="l">
              <a:defRPr sz="700">
                <a:solidFill>
                  <a:schemeClr val="tx2"/>
                </a:solidFill>
              </a:defRPr>
            </a:lvl1pPr>
          </a:lstStyle>
          <a:p>
            <a:endParaRPr lang="en-US"/>
          </a:p>
        </p:txBody>
      </p:sp>
      <p:sp>
        <p:nvSpPr>
          <p:cNvPr id="7" name="Title 1">
            <a:extLst>
              <a:ext uri="{FF2B5EF4-FFF2-40B4-BE49-F238E27FC236}">
                <a16:creationId xmlns:a16="http://schemas.microsoft.com/office/drawing/2014/main" id="{101E4FAE-DFE1-398C-FA0F-A0388EBC430E}"/>
              </a:ext>
            </a:extLst>
          </p:cNvPr>
          <p:cNvSpPr>
            <a:spLocks noGrp="1"/>
          </p:cNvSpPr>
          <p:nvPr>
            <p:ph type="title"/>
          </p:nvPr>
        </p:nvSpPr>
        <p:spPr>
          <a:xfrm>
            <a:off x="495301" y="1719263"/>
            <a:ext cx="2859087" cy="2134979"/>
          </a:xfrm>
        </p:spPr>
        <p:txBody>
          <a:bodyPr anchor="ctr">
            <a:noAutofit/>
          </a:bodyPr>
          <a:lstStyle>
            <a:lvl1pPr>
              <a:defRPr sz="4400">
                <a:solidFill>
                  <a:schemeClr val="bg1"/>
                </a:solidFill>
              </a:defRPr>
            </a:lvl1pPr>
          </a:lstStyle>
          <a:p>
            <a:r>
              <a:rPr lang="en-US"/>
              <a:t>Click to edit Master title style</a:t>
            </a:r>
          </a:p>
        </p:txBody>
      </p:sp>
      <p:sp>
        <p:nvSpPr>
          <p:cNvPr id="8" name="Subtitle 2">
            <a:extLst>
              <a:ext uri="{FF2B5EF4-FFF2-40B4-BE49-F238E27FC236}">
                <a16:creationId xmlns:a16="http://schemas.microsoft.com/office/drawing/2014/main" id="{B668BEB9-9234-7E67-DA77-389713DE99B5}"/>
              </a:ext>
            </a:extLst>
          </p:cNvPr>
          <p:cNvSpPr>
            <a:spLocks noGrp="1"/>
          </p:cNvSpPr>
          <p:nvPr>
            <p:ph type="subTitle" idx="1"/>
          </p:nvPr>
        </p:nvSpPr>
        <p:spPr>
          <a:xfrm>
            <a:off x="495302" y="3997587"/>
            <a:ext cx="2859086" cy="628841"/>
          </a:xfrm>
        </p:spPr>
        <p:txBody>
          <a:bodyPr/>
          <a:lstStyle>
            <a:lvl1pPr marL="0" indent="0" algn="l">
              <a:buNone/>
              <a:defRPr sz="2100">
                <a:solidFill>
                  <a:schemeClr val="accent2"/>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Content Placeholder 18">
            <a:extLst>
              <a:ext uri="{FF2B5EF4-FFF2-40B4-BE49-F238E27FC236}">
                <a16:creationId xmlns:a16="http://schemas.microsoft.com/office/drawing/2014/main" id="{8789FD9D-6C75-950D-5E12-9EAC4570C8DB}"/>
              </a:ext>
            </a:extLst>
          </p:cNvPr>
          <p:cNvSpPr>
            <a:spLocks noGrp="1"/>
          </p:cNvSpPr>
          <p:nvPr>
            <p:ph sz="quarter" idx="10"/>
          </p:nvPr>
        </p:nvSpPr>
        <p:spPr>
          <a:xfrm>
            <a:off x="4305300" y="682625"/>
            <a:ext cx="7391400" cy="5489607"/>
          </a:xfrm>
        </p:spPr>
        <p:txBody>
          <a:bodyPr/>
          <a:lstStyle>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Graphic 10">
            <a:extLst>
              <a:ext uri="{FF2B5EF4-FFF2-40B4-BE49-F238E27FC236}">
                <a16:creationId xmlns:a16="http://schemas.microsoft.com/office/drawing/2014/main" id="{0FF3B821-C1A6-2271-E3E1-099796B307EF}"/>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180146" y="6513177"/>
            <a:ext cx="516553" cy="157025"/>
          </a:xfrm>
          <a:prstGeom prst="rect">
            <a:avLst/>
          </a:prstGeom>
        </p:spPr>
      </p:pic>
      <p:sp>
        <p:nvSpPr>
          <p:cNvPr id="2" name="TextBox 1">
            <a:extLst>
              <a:ext uri="{FF2B5EF4-FFF2-40B4-BE49-F238E27FC236}">
                <a16:creationId xmlns:a16="http://schemas.microsoft.com/office/drawing/2014/main" id="{3C66DF71-054C-5BA0-B7F5-C1AF6620EFC7}"/>
              </a:ext>
            </a:extLst>
          </p:cNvPr>
          <p:cNvSpPr txBox="1"/>
          <p:nvPr userDrawn="1"/>
        </p:nvSpPr>
        <p:spPr>
          <a:xfrm>
            <a:off x="4301339" y="6562481"/>
            <a:ext cx="5029200" cy="107722"/>
          </a:xfrm>
          <a:prstGeom prst="rect">
            <a:avLst/>
          </a:prstGeom>
          <a:noFill/>
        </p:spPr>
        <p:txBody>
          <a:bodyPr wrap="square" lIns="0" tIns="0" rIns="0" bIns="0">
            <a:spAutoFit/>
          </a:bodyPr>
          <a:lstStyle/>
          <a:p>
            <a:r>
              <a:rPr lang="en-US" sz="700">
                <a:solidFill>
                  <a:schemeClr val="tx2"/>
                </a:solidFill>
              </a:rPr>
              <a:t>© 2024 Veeam Software. Confidential information. All rights reserved. All trademarks are the property of their respective owners. </a:t>
            </a:r>
          </a:p>
        </p:txBody>
      </p:sp>
    </p:spTree>
    <p:extLst>
      <p:ext uri="{BB962C8B-B14F-4D97-AF65-F5344CB8AC3E}">
        <p14:creationId xmlns:p14="http://schemas.microsoft.com/office/powerpoint/2010/main" val="28022755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Casi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Freeform: Shape 18">
            <a:extLst>
              <a:ext uri="{FF2B5EF4-FFF2-40B4-BE49-F238E27FC236}">
                <a16:creationId xmlns:a16="http://schemas.microsoft.com/office/drawing/2014/main" id="{CC4EA630-F31C-B26E-C41D-1AE51E2F93D3}"/>
              </a:ext>
            </a:extLst>
          </p:cNvPr>
          <p:cNvSpPr/>
          <p:nvPr userDrawn="1"/>
        </p:nvSpPr>
        <p:spPr>
          <a:xfrm>
            <a:off x="0" y="-18997"/>
            <a:ext cx="12192000" cy="5865318"/>
          </a:xfrm>
          <a:custGeom>
            <a:avLst/>
            <a:gdLst>
              <a:gd name="connsiteX0" fmla="*/ 0 w 12192000"/>
              <a:gd name="connsiteY0" fmla="*/ 0 h 5865318"/>
              <a:gd name="connsiteX1" fmla="*/ 797535 w 12192000"/>
              <a:gd name="connsiteY1" fmla="*/ 0 h 5865318"/>
              <a:gd name="connsiteX2" fmla="*/ 5613390 w 12192000"/>
              <a:gd name="connsiteY2" fmla="*/ 4815480 h 5865318"/>
              <a:gd name="connsiteX3" fmla="*/ 6578610 w 12192000"/>
              <a:gd name="connsiteY3" fmla="*/ 4815480 h 5865318"/>
              <a:gd name="connsiteX4" fmla="*/ 11261178 w 12192000"/>
              <a:gd name="connsiteY4" fmla="*/ 133278 h 5865318"/>
              <a:gd name="connsiteX5" fmla="*/ 11394466 w 12192000"/>
              <a:gd name="connsiteY5" fmla="*/ 0 h 5865318"/>
              <a:gd name="connsiteX6" fmla="*/ 12192000 w 12192000"/>
              <a:gd name="connsiteY6" fmla="*/ 0 h 5865318"/>
              <a:gd name="connsiteX7" fmla="*/ 12192000 w 12192000"/>
              <a:gd name="connsiteY7" fmla="*/ 4291292 h 5865318"/>
              <a:gd name="connsiteX8" fmla="*/ 12130037 w 12192000"/>
              <a:gd name="connsiteY8" fmla="*/ 4353124 h 5865318"/>
              <a:gd name="connsiteX9" fmla="*/ 11617391 w 12192000"/>
              <a:gd name="connsiteY9" fmla="*/ 4864691 h 5865318"/>
              <a:gd name="connsiteX10" fmla="*/ 9228878 w 12192000"/>
              <a:gd name="connsiteY10" fmla="*/ 5865318 h 5865318"/>
              <a:gd name="connsiteX11" fmla="*/ 2979482 w 12192000"/>
              <a:gd name="connsiteY11" fmla="*/ 5865318 h 5865318"/>
              <a:gd name="connsiteX12" fmla="*/ 574609 w 12192000"/>
              <a:gd name="connsiteY12" fmla="*/ 4864691 h 5865318"/>
              <a:gd name="connsiteX13" fmla="*/ 263974 w 12192000"/>
              <a:gd name="connsiteY13" fmla="*/ 4554710 h 5865318"/>
              <a:gd name="connsiteX14" fmla="*/ 0 w 12192000"/>
              <a:gd name="connsiteY14" fmla="*/ 4291292 h 5865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5865318">
                <a:moveTo>
                  <a:pt x="0" y="0"/>
                </a:moveTo>
                <a:lnTo>
                  <a:pt x="797535" y="0"/>
                </a:lnTo>
                <a:lnTo>
                  <a:pt x="5613390" y="4815480"/>
                </a:lnTo>
                <a:cubicBezTo>
                  <a:pt x="5875144" y="5094344"/>
                  <a:pt x="6316856" y="5094344"/>
                  <a:pt x="6578610" y="4815480"/>
                </a:cubicBezTo>
                <a:cubicBezTo>
                  <a:pt x="8984505" y="2409773"/>
                  <a:pt x="10413006" y="981384"/>
                  <a:pt x="11261178" y="133278"/>
                </a:cubicBezTo>
                <a:lnTo>
                  <a:pt x="11394466" y="0"/>
                </a:lnTo>
                <a:lnTo>
                  <a:pt x="12192000" y="0"/>
                </a:lnTo>
                <a:lnTo>
                  <a:pt x="12192000" y="4291292"/>
                </a:lnTo>
                <a:lnTo>
                  <a:pt x="12130037" y="4353124"/>
                </a:lnTo>
                <a:cubicBezTo>
                  <a:pt x="11617391" y="4864691"/>
                  <a:pt x="11617391" y="4864691"/>
                  <a:pt x="11617391" y="4864691"/>
                </a:cubicBezTo>
                <a:cubicBezTo>
                  <a:pt x="10979364" y="5504436"/>
                  <a:pt x="10112301" y="5865318"/>
                  <a:pt x="9228878" y="5865318"/>
                </a:cubicBezTo>
                <a:cubicBezTo>
                  <a:pt x="2979482" y="5865318"/>
                  <a:pt x="2979482" y="5865318"/>
                  <a:pt x="2979482" y="5865318"/>
                </a:cubicBezTo>
                <a:cubicBezTo>
                  <a:pt x="2079699" y="5865318"/>
                  <a:pt x="1212636" y="5504436"/>
                  <a:pt x="574609" y="4864691"/>
                </a:cubicBezTo>
                <a:cubicBezTo>
                  <a:pt x="467760" y="4758067"/>
                  <a:pt x="364250" y="4654775"/>
                  <a:pt x="263974" y="4554710"/>
                </a:cubicBezTo>
                <a:lnTo>
                  <a:pt x="0" y="4291292"/>
                </a:lnTo>
                <a:close/>
              </a:path>
            </a:pathLst>
          </a:custGeom>
          <a:gradFill flip="none" rotWithShape="1">
            <a:gsLst>
              <a:gs pos="56000">
                <a:srgbClr val="00D05D">
                  <a:lumMod val="60000"/>
                  <a:lumOff val="40000"/>
                  <a:alpha val="9000"/>
                </a:srgbClr>
              </a:gs>
              <a:gs pos="100000">
                <a:srgbClr val="00D05D">
                  <a:lumMod val="60000"/>
                  <a:lumOff val="40000"/>
                </a:srgbClr>
              </a:gs>
            </a:gsLst>
            <a:lin ang="2400000" scaled="0"/>
            <a:tileRect/>
          </a:gradFill>
          <a:ln>
            <a:noFill/>
          </a:ln>
        </p:spPr>
        <p:txBody>
          <a:bodyPr vert="horz" wrap="square" lIns="91440" tIns="45720" rIns="91440" bIns="45720" numCol="1" anchor="t" anchorCtr="0" compatLnSpc="1">
            <a:prstTxWarp prst="textNoShape">
              <a:avLst/>
            </a:prstTxWarp>
            <a:noAutofit/>
          </a:bodyPr>
          <a:lstStyle/>
          <a:p>
            <a:pPr marR="0" lvl="0" indent="0" fontAlgn="auto">
              <a:lnSpc>
                <a:spcPct val="100000"/>
              </a:lnSpc>
              <a:spcBef>
                <a:spcPts val="0"/>
              </a:spcBef>
              <a:spcAft>
                <a:spcPts val="0"/>
              </a:spcAft>
              <a:buClrTx/>
              <a:buSzTx/>
              <a:buFontTx/>
              <a:buNone/>
              <a:tabLst/>
            </a:pPr>
            <a:endParaRPr kumimoji="0" lang="en-US" b="0" i="0" u="none" strike="noStrike" kern="0" cap="none" spc="0" normalizeH="0" baseline="0">
              <a:ln>
                <a:noFill/>
              </a:ln>
              <a:solidFill>
                <a:srgbClr val="4F5860"/>
              </a:solidFill>
              <a:effectLst/>
              <a:uLnTx/>
              <a:uFillTx/>
            </a:endParaRPr>
          </a:p>
        </p:txBody>
      </p:sp>
      <p:sp>
        <p:nvSpPr>
          <p:cNvPr id="45" name="TextBox 44">
            <a:extLst>
              <a:ext uri="{FF2B5EF4-FFF2-40B4-BE49-F238E27FC236}">
                <a16:creationId xmlns:a16="http://schemas.microsoft.com/office/drawing/2014/main" id="{C23D7488-852F-762F-A2E7-25F02D52C105}"/>
              </a:ext>
            </a:extLst>
          </p:cNvPr>
          <p:cNvSpPr txBox="1"/>
          <p:nvPr userDrawn="1"/>
        </p:nvSpPr>
        <p:spPr>
          <a:xfrm>
            <a:off x="849313" y="6562481"/>
            <a:ext cx="5029200" cy="107722"/>
          </a:xfrm>
          <a:prstGeom prst="rect">
            <a:avLst/>
          </a:prstGeom>
          <a:noFill/>
        </p:spPr>
        <p:txBody>
          <a:bodyPr wrap="square" lIns="0" tIns="0" rIns="0" bIns="0">
            <a:spAutoFit/>
          </a:bodyPr>
          <a:lstStyle/>
          <a:p>
            <a:r>
              <a:rPr lang="en-US" sz="700">
                <a:solidFill>
                  <a:schemeClr val="bg1"/>
                </a:solidFill>
              </a:rPr>
              <a:t>© 2024 Veeam Software. Confidential information. All rights reserved. All trademarks are the property of their respective owners. </a:t>
            </a:r>
          </a:p>
        </p:txBody>
      </p:sp>
      <p:sp>
        <p:nvSpPr>
          <p:cNvPr id="2" name="Title 1">
            <a:extLst>
              <a:ext uri="{FF2B5EF4-FFF2-40B4-BE49-F238E27FC236}">
                <a16:creationId xmlns:a16="http://schemas.microsoft.com/office/drawing/2014/main" id="{704C813F-B096-DE4B-F7F5-CE100A5968A2}"/>
              </a:ext>
            </a:extLst>
          </p:cNvPr>
          <p:cNvSpPr>
            <a:spLocks noGrp="1"/>
          </p:cNvSpPr>
          <p:nvPr>
            <p:ph type="ctrTitle"/>
          </p:nvPr>
        </p:nvSpPr>
        <p:spPr>
          <a:xfrm>
            <a:off x="793751" y="1731962"/>
            <a:ext cx="10536764" cy="2581299"/>
          </a:xfrm>
        </p:spPr>
        <p:txBody>
          <a:bodyPr anchor="ctr">
            <a:normAutofit/>
          </a:bodyPr>
          <a:lstStyle>
            <a:lvl1pPr algn="l">
              <a:lnSpc>
                <a:spcPct val="85000"/>
              </a:lnSpc>
              <a:defRPr lang="en-US" sz="8900" b="0" i="0" kern="1200" spc="-150" baseline="0" dirty="0">
                <a:solidFill>
                  <a:schemeClr val="bg1"/>
                </a:solidFill>
                <a:latin typeface="+mj-lt"/>
                <a:ea typeface="ES Build Full Bauhaus Medium" pitchFamily="2" charset="77"/>
                <a:cs typeface="+mj-cs"/>
              </a:defRPr>
            </a:lvl1pPr>
          </a:lstStyle>
          <a:p>
            <a:r>
              <a:rPr lang="en-US"/>
              <a:t>Click to edit Master title style</a:t>
            </a:r>
          </a:p>
        </p:txBody>
      </p:sp>
      <p:sp>
        <p:nvSpPr>
          <p:cNvPr id="3" name="Subtitle 2">
            <a:extLst>
              <a:ext uri="{FF2B5EF4-FFF2-40B4-BE49-F238E27FC236}">
                <a16:creationId xmlns:a16="http://schemas.microsoft.com/office/drawing/2014/main" id="{9479AD75-0283-2549-8AF7-47F3A5E764DE}"/>
              </a:ext>
            </a:extLst>
          </p:cNvPr>
          <p:cNvSpPr>
            <a:spLocks noGrp="1"/>
          </p:cNvSpPr>
          <p:nvPr>
            <p:ph type="subTitle" idx="1"/>
          </p:nvPr>
        </p:nvSpPr>
        <p:spPr>
          <a:xfrm>
            <a:off x="793751" y="4316414"/>
            <a:ext cx="10536764" cy="487705"/>
          </a:xfrm>
        </p:spPr>
        <p:txBody>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5" name="Straight Connector 4">
            <a:extLst>
              <a:ext uri="{FF2B5EF4-FFF2-40B4-BE49-F238E27FC236}">
                <a16:creationId xmlns:a16="http://schemas.microsoft.com/office/drawing/2014/main" id="{C0B1613D-DEBB-D92C-6186-0B896BF9C8FB}"/>
              </a:ext>
            </a:extLst>
          </p:cNvPr>
          <p:cNvCxnSpPr>
            <a:cxnSpLocks/>
          </p:cNvCxnSpPr>
          <p:nvPr userDrawn="1"/>
        </p:nvCxnSpPr>
        <p:spPr>
          <a:xfrm>
            <a:off x="782564" y="6167438"/>
            <a:ext cx="10547951" cy="0"/>
          </a:xfrm>
          <a:prstGeom prst="line">
            <a:avLst/>
          </a:prstGeom>
          <a:ln w="19050" cap="sq">
            <a:solidFill>
              <a:schemeClr val="bg1"/>
            </a:solidFill>
            <a:miter lim="800000"/>
            <a:headEnd type="none" w="med" len="sm"/>
            <a:tailEnd type="none" w="sm" len="sm"/>
          </a:ln>
        </p:spPr>
        <p:style>
          <a:lnRef idx="1">
            <a:schemeClr val="accent1"/>
          </a:lnRef>
          <a:fillRef idx="0">
            <a:schemeClr val="accent1"/>
          </a:fillRef>
          <a:effectRef idx="0">
            <a:schemeClr val="accent1"/>
          </a:effectRef>
          <a:fontRef idx="minor">
            <a:schemeClr val="tx1"/>
          </a:fontRef>
        </p:style>
      </p:cxnSp>
      <p:sp>
        <p:nvSpPr>
          <p:cNvPr id="7" name="Text Placeholder 12">
            <a:extLst>
              <a:ext uri="{FF2B5EF4-FFF2-40B4-BE49-F238E27FC236}">
                <a16:creationId xmlns:a16="http://schemas.microsoft.com/office/drawing/2014/main" id="{8F9DFEB2-1CC7-7CE1-82B7-DF521B8D1558}"/>
              </a:ext>
            </a:extLst>
          </p:cNvPr>
          <p:cNvSpPr>
            <a:spLocks noGrp="1"/>
          </p:cNvSpPr>
          <p:nvPr>
            <p:ph type="body" sz="quarter" idx="13" hasCustomPrompt="1"/>
          </p:nvPr>
        </p:nvSpPr>
        <p:spPr>
          <a:xfrm>
            <a:off x="793751" y="1528837"/>
            <a:ext cx="3276599" cy="274955"/>
          </a:xfrm>
        </p:spPr>
        <p:txBody>
          <a:bodyPr>
            <a:noAutofit/>
          </a:bodyPr>
          <a:lstStyle>
            <a:lvl1pPr marL="0" indent="0">
              <a:buNone/>
              <a:defRPr sz="1600" b="0" spc="0" baseline="0">
                <a:solidFill>
                  <a:schemeClr val="bg1"/>
                </a:solidFill>
                <a:latin typeface="ES Build Medium" pitchFamily="2" charset="0"/>
                <a:ea typeface="ES Build Medium" pitchFamily="2" charset="0"/>
              </a:defRPr>
            </a:lvl1pPr>
            <a:lvl2pPr>
              <a:defRPr b="0">
                <a:solidFill>
                  <a:schemeClr val="accent1"/>
                </a:solidFill>
              </a:defRPr>
            </a:lvl2pPr>
          </a:lstStyle>
          <a:p>
            <a:pPr lvl="0"/>
            <a:r>
              <a:rPr lang="en-US"/>
              <a:t>Date</a:t>
            </a:r>
          </a:p>
        </p:txBody>
      </p:sp>
      <p:sp>
        <p:nvSpPr>
          <p:cNvPr id="8" name="Text Placeholder 16">
            <a:extLst>
              <a:ext uri="{FF2B5EF4-FFF2-40B4-BE49-F238E27FC236}">
                <a16:creationId xmlns:a16="http://schemas.microsoft.com/office/drawing/2014/main" id="{EAEE6B6C-FAEE-6DEB-A14B-07FC28E579BE}"/>
              </a:ext>
            </a:extLst>
          </p:cNvPr>
          <p:cNvSpPr>
            <a:spLocks noGrp="1"/>
          </p:cNvSpPr>
          <p:nvPr>
            <p:ph type="body" sz="quarter" idx="14" hasCustomPrompt="1"/>
          </p:nvPr>
        </p:nvSpPr>
        <p:spPr>
          <a:xfrm>
            <a:off x="1766493" y="5140383"/>
            <a:ext cx="2893401" cy="682510"/>
          </a:xfrm>
        </p:spPr>
        <p:txBody>
          <a:bodyPr>
            <a:noAutofit/>
          </a:bodyPr>
          <a:lstStyle>
            <a:lvl1pPr marL="0" indent="0">
              <a:lnSpc>
                <a:spcPct val="80000"/>
              </a:lnSpc>
              <a:buNone/>
              <a:defRPr sz="2400">
                <a:solidFill>
                  <a:schemeClr val="bg1"/>
                </a:solidFill>
                <a:latin typeface="+mj-lt"/>
              </a:defRPr>
            </a:lvl1pPr>
            <a:lvl2pPr marL="0" indent="0">
              <a:lnSpc>
                <a:spcPct val="80000"/>
              </a:lnSpc>
              <a:buNone/>
              <a:defRPr sz="1600" b="0">
                <a:solidFill>
                  <a:schemeClr val="bg1"/>
                </a:solidFill>
              </a:defRPr>
            </a:lvl2pPr>
          </a:lstStyle>
          <a:p>
            <a:pPr lvl="0"/>
            <a:r>
              <a:rPr lang="en-US"/>
              <a:t>Speaker name</a:t>
            </a:r>
          </a:p>
          <a:p>
            <a:pPr lvl="1"/>
            <a:r>
              <a:rPr lang="en-US"/>
              <a:t>Title</a:t>
            </a:r>
          </a:p>
        </p:txBody>
      </p:sp>
      <p:sp>
        <p:nvSpPr>
          <p:cNvPr id="9" name="Picture Placeholder 22">
            <a:extLst>
              <a:ext uri="{FF2B5EF4-FFF2-40B4-BE49-F238E27FC236}">
                <a16:creationId xmlns:a16="http://schemas.microsoft.com/office/drawing/2014/main" id="{10B99C88-8821-3ECE-59C4-8A768F5F5CD0}"/>
              </a:ext>
            </a:extLst>
          </p:cNvPr>
          <p:cNvSpPr>
            <a:spLocks noGrp="1"/>
          </p:cNvSpPr>
          <p:nvPr>
            <p:ph type="pic" sz="quarter" idx="15"/>
          </p:nvPr>
        </p:nvSpPr>
        <p:spPr>
          <a:xfrm>
            <a:off x="782097" y="5081588"/>
            <a:ext cx="800100" cy="800100"/>
          </a:xfrm>
          <a:prstGeom prst="ellipse">
            <a:avLst/>
          </a:prstGeom>
          <a:solidFill>
            <a:schemeClr val="bg1"/>
          </a:solidFill>
        </p:spPr>
        <p:txBody>
          <a:bodyPr anchor="ctr"/>
          <a:lstStyle>
            <a:lvl1pPr marL="0" indent="0" algn="ctr">
              <a:buNone/>
              <a:defRPr sz="800"/>
            </a:lvl1pPr>
          </a:lstStyle>
          <a:p>
            <a:r>
              <a:rPr lang="en-US"/>
              <a:t>Click icon to add picture</a:t>
            </a:r>
          </a:p>
        </p:txBody>
      </p:sp>
      <p:sp>
        <p:nvSpPr>
          <p:cNvPr id="10" name="Text Placeholder 24">
            <a:extLst>
              <a:ext uri="{FF2B5EF4-FFF2-40B4-BE49-F238E27FC236}">
                <a16:creationId xmlns:a16="http://schemas.microsoft.com/office/drawing/2014/main" id="{741D5ABD-8D62-4CDF-78A3-9E4500076C4F}"/>
              </a:ext>
            </a:extLst>
          </p:cNvPr>
          <p:cNvSpPr>
            <a:spLocks noGrp="1"/>
          </p:cNvSpPr>
          <p:nvPr>
            <p:ph type="body" sz="quarter" idx="16" hasCustomPrompt="1"/>
          </p:nvPr>
        </p:nvSpPr>
        <p:spPr>
          <a:xfrm>
            <a:off x="6096594" y="5130801"/>
            <a:ext cx="2871027" cy="701675"/>
          </a:xfrm>
        </p:spPr>
        <p:txBody>
          <a:bodyPr>
            <a:noAutofit/>
          </a:bodyPr>
          <a:lstStyle>
            <a:lvl1pPr marL="0" indent="0">
              <a:lnSpc>
                <a:spcPct val="80000"/>
              </a:lnSpc>
              <a:buNone/>
              <a:defRPr sz="2400">
                <a:solidFill>
                  <a:schemeClr val="bg1"/>
                </a:solidFill>
                <a:latin typeface="+mj-lt"/>
              </a:defRPr>
            </a:lvl1pPr>
            <a:lvl2pPr marL="0" indent="0">
              <a:lnSpc>
                <a:spcPct val="80000"/>
              </a:lnSpc>
              <a:buNone/>
              <a:defRPr sz="1600" b="0">
                <a:solidFill>
                  <a:schemeClr val="bg1"/>
                </a:solidFill>
              </a:defRPr>
            </a:lvl2pPr>
          </a:lstStyle>
          <a:p>
            <a:pPr lvl="0"/>
            <a:r>
              <a:rPr lang="en-US"/>
              <a:t>Speaker name</a:t>
            </a:r>
          </a:p>
          <a:p>
            <a:pPr lvl="1"/>
            <a:r>
              <a:rPr lang="en-US"/>
              <a:t>Title</a:t>
            </a:r>
          </a:p>
        </p:txBody>
      </p:sp>
      <p:sp>
        <p:nvSpPr>
          <p:cNvPr id="11" name="Picture Placeholder 26">
            <a:extLst>
              <a:ext uri="{FF2B5EF4-FFF2-40B4-BE49-F238E27FC236}">
                <a16:creationId xmlns:a16="http://schemas.microsoft.com/office/drawing/2014/main" id="{B3AB9D6A-4AF9-E9BF-0B25-42675BF29C88}"/>
              </a:ext>
            </a:extLst>
          </p:cNvPr>
          <p:cNvSpPr>
            <a:spLocks noGrp="1"/>
          </p:cNvSpPr>
          <p:nvPr>
            <p:ph type="pic" sz="quarter" idx="17"/>
          </p:nvPr>
        </p:nvSpPr>
        <p:spPr>
          <a:xfrm>
            <a:off x="5067364" y="5081588"/>
            <a:ext cx="800100" cy="800100"/>
          </a:xfrm>
          <a:prstGeom prst="ellipse">
            <a:avLst/>
          </a:prstGeom>
          <a:solidFill>
            <a:schemeClr val="bg1"/>
          </a:solidFill>
        </p:spPr>
        <p:txBody>
          <a:bodyPr anchor="ctr"/>
          <a:lstStyle>
            <a:lvl1pPr marL="0" indent="0" algn="ctr">
              <a:buNone/>
              <a:defRPr sz="800"/>
            </a:lvl1pPr>
          </a:lstStyle>
          <a:p>
            <a:r>
              <a:rPr lang="en-US"/>
              <a:t>Click icon to add picture</a:t>
            </a:r>
          </a:p>
        </p:txBody>
      </p:sp>
      <p:grpSp>
        <p:nvGrpSpPr>
          <p:cNvPr id="4" name="Group 3">
            <a:extLst>
              <a:ext uri="{FF2B5EF4-FFF2-40B4-BE49-F238E27FC236}">
                <a16:creationId xmlns:a16="http://schemas.microsoft.com/office/drawing/2014/main" id="{2BEE55CA-AF59-6E66-F0D9-CF7C6BDA1605}"/>
              </a:ext>
            </a:extLst>
          </p:cNvPr>
          <p:cNvGrpSpPr/>
          <p:nvPr userDrawn="1"/>
        </p:nvGrpSpPr>
        <p:grpSpPr>
          <a:xfrm>
            <a:off x="782097" y="694483"/>
            <a:ext cx="1346160" cy="412987"/>
            <a:chOff x="2406776" y="-1036657"/>
            <a:chExt cx="1346160" cy="412987"/>
          </a:xfrm>
        </p:grpSpPr>
        <p:sp>
          <p:nvSpPr>
            <p:cNvPr id="12" name="Freeform 11">
              <a:extLst>
                <a:ext uri="{FF2B5EF4-FFF2-40B4-BE49-F238E27FC236}">
                  <a16:creationId xmlns:a16="http://schemas.microsoft.com/office/drawing/2014/main" id="{7FDABD91-B66D-01BA-AC79-497B79E590CC}"/>
                </a:ext>
              </a:extLst>
            </p:cNvPr>
            <p:cNvSpPr/>
            <p:nvPr/>
          </p:nvSpPr>
          <p:spPr>
            <a:xfrm>
              <a:off x="2406776" y="-1036657"/>
              <a:ext cx="1346160" cy="412672"/>
            </a:xfrm>
            <a:custGeom>
              <a:avLst/>
              <a:gdLst>
                <a:gd name="connsiteX0" fmla="*/ 113980 w 1346160"/>
                <a:gd name="connsiteY0" fmla="*/ 0 h 412672"/>
                <a:gd name="connsiteX1" fmla="*/ 81943 w 1346160"/>
                <a:gd name="connsiteY1" fmla="*/ 13537 h 412672"/>
                <a:gd name="connsiteX2" fmla="*/ 13268 w 1346160"/>
                <a:gd name="connsiteY2" fmla="*/ 83602 h 412672"/>
                <a:gd name="connsiteX3" fmla="*/ 0 w 1346160"/>
                <a:gd name="connsiteY3" fmla="*/ 116287 h 412672"/>
                <a:gd name="connsiteX4" fmla="*/ 0 w 1346160"/>
                <a:gd name="connsiteY4" fmla="*/ 412672 h 412672"/>
                <a:gd name="connsiteX5" fmla="*/ 1232900 w 1346160"/>
                <a:gd name="connsiteY5" fmla="*/ 411939 h 412672"/>
                <a:gd name="connsiteX6" fmla="*/ 1264936 w 1346160"/>
                <a:gd name="connsiteY6" fmla="*/ 398402 h 412672"/>
                <a:gd name="connsiteX7" fmla="*/ 1332848 w 1346160"/>
                <a:gd name="connsiteY7" fmla="*/ 329116 h 412672"/>
                <a:gd name="connsiteX8" fmla="*/ 1346116 w 1346160"/>
                <a:gd name="connsiteY8" fmla="*/ 296431 h 412672"/>
                <a:gd name="connsiteX9" fmla="*/ 1346161 w 1346160"/>
                <a:gd name="connsiteY9" fmla="*/ 0 h 412672"/>
                <a:gd name="connsiteX10" fmla="*/ 113980 w 1346160"/>
                <a:gd name="connsiteY10" fmla="*/ 0 h 412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160" h="412672">
                  <a:moveTo>
                    <a:pt x="113980" y="0"/>
                  </a:moveTo>
                  <a:cubicBezTo>
                    <a:pt x="101969" y="0"/>
                    <a:pt x="90430" y="4879"/>
                    <a:pt x="81943" y="13537"/>
                  </a:cubicBezTo>
                  <a:lnTo>
                    <a:pt x="13268" y="83602"/>
                  </a:lnTo>
                  <a:cubicBezTo>
                    <a:pt x="4782" y="92260"/>
                    <a:pt x="0" y="104033"/>
                    <a:pt x="0" y="116287"/>
                  </a:cubicBezTo>
                  <a:lnTo>
                    <a:pt x="0" y="412672"/>
                  </a:lnTo>
                  <a:lnTo>
                    <a:pt x="1232900" y="411939"/>
                  </a:lnTo>
                  <a:cubicBezTo>
                    <a:pt x="1244910" y="411939"/>
                    <a:pt x="1256450" y="407060"/>
                    <a:pt x="1264936" y="398402"/>
                  </a:cubicBezTo>
                  <a:lnTo>
                    <a:pt x="1332848" y="329116"/>
                  </a:lnTo>
                  <a:cubicBezTo>
                    <a:pt x="1341334" y="320458"/>
                    <a:pt x="1346116" y="308685"/>
                    <a:pt x="1346116" y="296431"/>
                  </a:cubicBezTo>
                  <a:lnTo>
                    <a:pt x="1346161" y="0"/>
                  </a:lnTo>
                  <a:lnTo>
                    <a:pt x="113980" y="0"/>
                  </a:lnTo>
                  <a:close/>
                </a:path>
              </a:pathLst>
            </a:custGeom>
            <a:solidFill>
              <a:srgbClr val="00D15F"/>
            </a:solidFill>
            <a:ln w="2231" cap="flat">
              <a:noFill/>
              <a:prstDash val="solid"/>
              <a:miter/>
            </a:ln>
          </p:spPr>
          <p:txBody>
            <a:bodyPr rtlCol="0" anchor="ctr"/>
            <a:lstStyle/>
            <a:p>
              <a:endParaRPr lang="en-RU"/>
            </a:p>
          </p:txBody>
        </p:sp>
        <p:sp>
          <p:nvSpPr>
            <p:cNvPr id="13" name="Freeform 12">
              <a:extLst>
                <a:ext uri="{FF2B5EF4-FFF2-40B4-BE49-F238E27FC236}">
                  <a16:creationId xmlns:a16="http://schemas.microsoft.com/office/drawing/2014/main" id="{EF205B16-B006-81F3-8581-D5F8E8E209DD}"/>
                </a:ext>
              </a:extLst>
            </p:cNvPr>
            <p:cNvSpPr/>
            <p:nvPr/>
          </p:nvSpPr>
          <p:spPr>
            <a:xfrm>
              <a:off x="2407135" y="-1036657"/>
              <a:ext cx="1009744" cy="412987"/>
            </a:xfrm>
            <a:custGeom>
              <a:avLst/>
              <a:gdLst>
                <a:gd name="connsiteX0" fmla="*/ 0 w 1009744"/>
                <a:gd name="connsiteY0" fmla="*/ 156393 h 412987"/>
                <a:gd name="connsiteX1" fmla="*/ 0 w 1009744"/>
                <a:gd name="connsiteY1" fmla="*/ 412695 h 412987"/>
                <a:gd name="connsiteX2" fmla="*/ 450756 w 1009744"/>
                <a:gd name="connsiteY2" fmla="*/ 412695 h 412987"/>
                <a:gd name="connsiteX3" fmla="*/ 541634 w 1009744"/>
                <a:gd name="connsiteY3" fmla="*/ 406121 h 412987"/>
                <a:gd name="connsiteX4" fmla="*/ 712570 w 1009744"/>
                <a:gd name="connsiteY4" fmla="*/ 302593 h 412987"/>
                <a:gd name="connsiteX5" fmla="*/ 1009744 w 1009744"/>
                <a:gd name="connsiteY5" fmla="*/ 0 h 412987"/>
                <a:gd name="connsiteX6" fmla="*/ 559931 w 1009744"/>
                <a:gd name="connsiteY6" fmla="*/ 46 h 412987"/>
                <a:gd name="connsiteX7" fmla="*/ 250073 w 1009744"/>
                <a:gd name="connsiteY7" fmla="*/ 314892 h 412987"/>
                <a:gd name="connsiteX8" fmla="*/ 205846 w 1009744"/>
                <a:gd name="connsiteY8" fmla="*/ 337545 h 412987"/>
                <a:gd name="connsiteX9" fmla="*/ 165997 w 1009744"/>
                <a:gd name="connsiteY9" fmla="*/ 323963 h 412987"/>
                <a:gd name="connsiteX10" fmla="*/ 0 w 1009744"/>
                <a:gd name="connsiteY10" fmla="*/ 156393 h 412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9744" h="412987">
                  <a:moveTo>
                    <a:pt x="0" y="156393"/>
                  </a:moveTo>
                  <a:lnTo>
                    <a:pt x="0" y="412695"/>
                  </a:lnTo>
                  <a:lnTo>
                    <a:pt x="450756" y="412695"/>
                  </a:lnTo>
                  <a:cubicBezTo>
                    <a:pt x="450756" y="412695"/>
                    <a:pt x="501875" y="415100"/>
                    <a:pt x="541634" y="406121"/>
                  </a:cubicBezTo>
                  <a:cubicBezTo>
                    <a:pt x="614687" y="389630"/>
                    <a:pt x="658196" y="358067"/>
                    <a:pt x="712570" y="302593"/>
                  </a:cubicBezTo>
                  <a:cubicBezTo>
                    <a:pt x="804302" y="208959"/>
                    <a:pt x="1009744" y="0"/>
                    <a:pt x="1009744" y="0"/>
                  </a:cubicBezTo>
                  <a:lnTo>
                    <a:pt x="559931" y="46"/>
                  </a:lnTo>
                  <a:lnTo>
                    <a:pt x="250073" y="314892"/>
                  </a:lnTo>
                  <a:cubicBezTo>
                    <a:pt x="250073" y="314892"/>
                    <a:pt x="231439" y="337820"/>
                    <a:pt x="205846" y="337545"/>
                  </a:cubicBezTo>
                  <a:cubicBezTo>
                    <a:pt x="178053" y="337224"/>
                    <a:pt x="165997" y="323963"/>
                    <a:pt x="165997" y="323963"/>
                  </a:cubicBezTo>
                  <a:lnTo>
                    <a:pt x="0" y="156393"/>
                  </a:lnTo>
                  <a:close/>
                </a:path>
              </a:pathLst>
            </a:custGeom>
            <a:solidFill>
              <a:srgbClr val="FFFFFF">
                <a:alpha val="25000"/>
              </a:srgbClr>
            </a:solidFill>
            <a:ln w="2231" cap="flat">
              <a:noFill/>
              <a:prstDash val="solid"/>
              <a:miter/>
            </a:ln>
          </p:spPr>
          <p:txBody>
            <a:bodyPr rtlCol="0" anchor="ctr"/>
            <a:lstStyle/>
            <a:p>
              <a:endParaRPr lang="en-RU"/>
            </a:p>
          </p:txBody>
        </p:sp>
        <p:grpSp>
          <p:nvGrpSpPr>
            <p:cNvPr id="14" name="Graphic 1">
              <a:extLst>
                <a:ext uri="{FF2B5EF4-FFF2-40B4-BE49-F238E27FC236}">
                  <a16:creationId xmlns:a16="http://schemas.microsoft.com/office/drawing/2014/main" id="{ED90A2B0-F1E6-BADD-C3BB-3865C5BAC77C}"/>
                </a:ext>
              </a:extLst>
            </p:cNvPr>
            <p:cNvGrpSpPr/>
            <p:nvPr/>
          </p:nvGrpSpPr>
          <p:grpSpPr>
            <a:xfrm>
              <a:off x="2502616" y="-933884"/>
              <a:ext cx="1130526" cy="206622"/>
              <a:chOff x="2502616" y="-933884"/>
              <a:chExt cx="1130526" cy="206622"/>
            </a:xfrm>
            <a:solidFill>
              <a:srgbClr val="FFFFFF"/>
            </a:solidFill>
          </p:grpSpPr>
          <p:sp>
            <p:nvSpPr>
              <p:cNvPr id="15" name="Freeform 14">
                <a:extLst>
                  <a:ext uri="{FF2B5EF4-FFF2-40B4-BE49-F238E27FC236}">
                    <a16:creationId xmlns:a16="http://schemas.microsoft.com/office/drawing/2014/main" id="{F889CE56-DD16-C13F-93D8-643D13859136}"/>
                  </a:ext>
                </a:extLst>
              </p:cNvPr>
              <p:cNvSpPr/>
              <p:nvPr/>
            </p:nvSpPr>
            <p:spPr>
              <a:xfrm>
                <a:off x="2502616" y="-929578"/>
                <a:ext cx="221224" cy="198147"/>
              </a:xfrm>
              <a:custGeom>
                <a:avLst/>
                <a:gdLst>
                  <a:gd name="connsiteX0" fmla="*/ 93011 w 221224"/>
                  <a:gd name="connsiteY0" fmla="*/ 198148 h 198147"/>
                  <a:gd name="connsiteX1" fmla="*/ 0 w 221224"/>
                  <a:gd name="connsiteY1" fmla="*/ 0 h 198147"/>
                  <a:gd name="connsiteX2" fmla="*/ 41915 w 221224"/>
                  <a:gd name="connsiteY2" fmla="*/ 0 h 198147"/>
                  <a:gd name="connsiteX3" fmla="*/ 110006 w 221224"/>
                  <a:gd name="connsiteY3" fmla="*/ 149017 h 198147"/>
                  <a:gd name="connsiteX4" fmla="*/ 110814 w 221224"/>
                  <a:gd name="connsiteY4" fmla="*/ 149017 h 198147"/>
                  <a:gd name="connsiteX5" fmla="*/ 178906 w 221224"/>
                  <a:gd name="connsiteY5" fmla="*/ 0 h 198147"/>
                  <a:gd name="connsiteX6" fmla="*/ 221225 w 221224"/>
                  <a:gd name="connsiteY6" fmla="*/ 0 h 198147"/>
                  <a:gd name="connsiteX7" fmla="*/ 128213 w 221224"/>
                  <a:gd name="connsiteY7" fmla="*/ 198148 h 198147"/>
                  <a:gd name="connsiteX8" fmla="*/ 92966 w 221224"/>
                  <a:gd name="connsiteY8" fmla="*/ 198148 h 198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1224" h="198147">
                    <a:moveTo>
                      <a:pt x="93011" y="198148"/>
                    </a:moveTo>
                    <a:lnTo>
                      <a:pt x="0" y="0"/>
                    </a:lnTo>
                    <a:lnTo>
                      <a:pt x="41915" y="0"/>
                    </a:lnTo>
                    <a:cubicBezTo>
                      <a:pt x="41915" y="0"/>
                      <a:pt x="108390" y="141848"/>
                      <a:pt x="110006" y="149017"/>
                    </a:cubicBezTo>
                    <a:lnTo>
                      <a:pt x="110814" y="149017"/>
                    </a:lnTo>
                    <a:cubicBezTo>
                      <a:pt x="112476" y="141825"/>
                      <a:pt x="178906" y="0"/>
                      <a:pt x="178906" y="0"/>
                    </a:cubicBezTo>
                    <a:lnTo>
                      <a:pt x="221225" y="0"/>
                    </a:lnTo>
                    <a:lnTo>
                      <a:pt x="128213" y="198148"/>
                    </a:lnTo>
                    <a:lnTo>
                      <a:pt x="92966" y="198148"/>
                    </a:lnTo>
                    <a:close/>
                  </a:path>
                </a:pathLst>
              </a:custGeom>
              <a:solidFill>
                <a:srgbClr val="FFFFFF"/>
              </a:solidFill>
              <a:ln w="2231" cap="flat">
                <a:noFill/>
                <a:prstDash val="solid"/>
                <a:miter/>
              </a:ln>
            </p:spPr>
            <p:txBody>
              <a:bodyPr rtlCol="0" anchor="ctr"/>
              <a:lstStyle/>
              <a:p>
                <a:endParaRPr lang="en-RU"/>
              </a:p>
            </p:txBody>
          </p:sp>
          <p:sp>
            <p:nvSpPr>
              <p:cNvPr id="16" name="Freeform 15">
                <a:extLst>
                  <a:ext uri="{FF2B5EF4-FFF2-40B4-BE49-F238E27FC236}">
                    <a16:creationId xmlns:a16="http://schemas.microsoft.com/office/drawing/2014/main" id="{426BADAA-5F44-5950-8D75-9475A9AC849E}"/>
                  </a:ext>
                </a:extLst>
              </p:cNvPr>
              <p:cNvSpPr/>
              <p:nvPr/>
            </p:nvSpPr>
            <p:spPr>
              <a:xfrm>
                <a:off x="2713962" y="-933884"/>
                <a:ext cx="190894" cy="206599"/>
              </a:xfrm>
              <a:custGeom>
                <a:avLst/>
                <a:gdLst>
                  <a:gd name="connsiteX0" fmla="*/ 190041 w 190894"/>
                  <a:gd name="connsiteY0" fmla="*/ 118577 h 206599"/>
                  <a:gd name="connsiteX1" fmla="*/ 39423 w 190894"/>
                  <a:gd name="connsiteY1" fmla="*/ 118577 h 206599"/>
                  <a:gd name="connsiteX2" fmla="*/ 97950 w 190894"/>
                  <a:gd name="connsiteY2" fmla="*/ 171051 h 206599"/>
                  <a:gd name="connsiteX3" fmla="*/ 146914 w 190894"/>
                  <a:gd name="connsiteY3" fmla="*/ 143108 h 206599"/>
                  <a:gd name="connsiteX4" fmla="*/ 185910 w 190894"/>
                  <a:gd name="connsiteY4" fmla="*/ 143108 h 206599"/>
                  <a:gd name="connsiteX5" fmla="*/ 97928 w 190894"/>
                  <a:gd name="connsiteY5" fmla="*/ 206599 h 206599"/>
                  <a:gd name="connsiteX6" fmla="*/ 0 w 190894"/>
                  <a:gd name="connsiteY6" fmla="*/ 103300 h 206599"/>
                  <a:gd name="connsiteX7" fmla="*/ 97928 w 190894"/>
                  <a:gd name="connsiteY7" fmla="*/ 0 h 206599"/>
                  <a:gd name="connsiteX8" fmla="*/ 190894 w 190894"/>
                  <a:gd name="connsiteY8" fmla="*/ 103300 h 206599"/>
                  <a:gd name="connsiteX9" fmla="*/ 190086 w 190894"/>
                  <a:gd name="connsiteY9" fmla="*/ 118577 h 206599"/>
                  <a:gd name="connsiteX10" fmla="*/ 39827 w 190894"/>
                  <a:gd name="connsiteY10" fmla="*/ 86396 h 206599"/>
                  <a:gd name="connsiteX11" fmla="*/ 151472 w 190894"/>
                  <a:gd name="connsiteY11" fmla="*/ 86396 h 206599"/>
                  <a:gd name="connsiteX12" fmla="*/ 97950 w 190894"/>
                  <a:gd name="connsiteY12" fmla="*/ 35617 h 206599"/>
                  <a:gd name="connsiteX13" fmla="*/ 39827 w 190894"/>
                  <a:gd name="connsiteY13" fmla="*/ 86396 h 206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0894" h="206599">
                    <a:moveTo>
                      <a:pt x="190041" y="118577"/>
                    </a:moveTo>
                    <a:lnTo>
                      <a:pt x="39423" y="118577"/>
                    </a:lnTo>
                    <a:cubicBezTo>
                      <a:pt x="44833" y="150758"/>
                      <a:pt x="68024" y="171051"/>
                      <a:pt x="97950" y="171051"/>
                    </a:cubicBezTo>
                    <a:cubicBezTo>
                      <a:pt x="122444" y="171051"/>
                      <a:pt x="138608" y="161294"/>
                      <a:pt x="146914" y="143108"/>
                    </a:cubicBezTo>
                    <a:lnTo>
                      <a:pt x="185910" y="143108"/>
                    </a:lnTo>
                    <a:cubicBezTo>
                      <a:pt x="174259" y="180763"/>
                      <a:pt x="140696" y="206599"/>
                      <a:pt x="97928" y="206599"/>
                    </a:cubicBezTo>
                    <a:cubicBezTo>
                      <a:pt x="41488" y="206599"/>
                      <a:pt x="0" y="164707"/>
                      <a:pt x="0" y="103300"/>
                    </a:cubicBezTo>
                    <a:cubicBezTo>
                      <a:pt x="0" y="41892"/>
                      <a:pt x="40657" y="0"/>
                      <a:pt x="97928" y="0"/>
                    </a:cubicBezTo>
                    <a:cubicBezTo>
                      <a:pt x="148957" y="0"/>
                      <a:pt x="190894" y="44481"/>
                      <a:pt x="190894" y="103300"/>
                    </a:cubicBezTo>
                    <a:cubicBezTo>
                      <a:pt x="190894" y="109232"/>
                      <a:pt x="190894" y="112645"/>
                      <a:pt x="190086" y="118577"/>
                    </a:cubicBezTo>
                    <a:close/>
                    <a:moveTo>
                      <a:pt x="39827" y="86396"/>
                    </a:moveTo>
                    <a:lnTo>
                      <a:pt x="151472" y="86396"/>
                    </a:lnTo>
                    <a:cubicBezTo>
                      <a:pt x="148980" y="59277"/>
                      <a:pt x="127428" y="35617"/>
                      <a:pt x="97950" y="35617"/>
                    </a:cubicBezTo>
                    <a:cubicBezTo>
                      <a:pt x="68024" y="35571"/>
                      <a:pt x="45596" y="55498"/>
                      <a:pt x="39827" y="86396"/>
                    </a:cubicBezTo>
                    <a:close/>
                  </a:path>
                </a:pathLst>
              </a:custGeom>
              <a:solidFill>
                <a:srgbClr val="FFFFFF"/>
              </a:solidFill>
              <a:ln w="2231" cap="flat">
                <a:noFill/>
                <a:prstDash val="solid"/>
                <a:miter/>
              </a:ln>
            </p:spPr>
            <p:txBody>
              <a:bodyPr rtlCol="0" anchor="ctr"/>
              <a:lstStyle/>
              <a:p>
                <a:endParaRPr lang="en-RU"/>
              </a:p>
            </p:txBody>
          </p:sp>
          <p:sp>
            <p:nvSpPr>
              <p:cNvPr id="17" name="Freeform 16">
                <a:extLst>
                  <a:ext uri="{FF2B5EF4-FFF2-40B4-BE49-F238E27FC236}">
                    <a16:creationId xmlns:a16="http://schemas.microsoft.com/office/drawing/2014/main" id="{919F8AD2-48A8-35A5-A3D4-A95BED068140}"/>
                  </a:ext>
                </a:extLst>
              </p:cNvPr>
              <p:cNvSpPr/>
              <p:nvPr/>
            </p:nvSpPr>
            <p:spPr>
              <a:xfrm>
                <a:off x="2920572" y="-933884"/>
                <a:ext cx="190894" cy="206599"/>
              </a:xfrm>
              <a:custGeom>
                <a:avLst/>
                <a:gdLst>
                  <a:gd name="connsiteX0" fmla="*/ 190041 w 190894"/>
                  <a:gd name="connsiteY0" fmla="*/ 118577 h 206599"/>
                  <a:gd name="connsiteX1" fmla="*/ 39423 w 190894"/>
                  <a:gd name="connsiteY1" fmla="*/ 118577 h 206599"/>
                  <a:gd name="connsiteX2" fmla="*/ 97950 w 190894"/>
                  <a:gd name="connsiteY2" fmla="*/ 171051 h 206599"/>
                  <a:gd name="connsiteX3" fmla="*/ 146914 w 190894"/>
                  <a:gd name="connsiteY3" fmla="*/ 143108 h 206599"/>
                  <a:gd name="connsiteX4" fmla="*/ 185910 w 190894"/>
                  <a:gd name="connsiteY4" fmla="*/ 143108 h 206599"/>
                  <a:gd name="connsiteX5" fmla="*/ 97928 w 190894"/>
                  <a:gd name="connsiteY5" fmla="*/ 206599 h 206599"/>
                  <a:gd name="connsiteX6" fmla="*/ 0 w 190894"/>
                  <a:gd name="connsiteY6" fmla="*/ 103300 h 206599"/>
                  <a:gd name="connsiteX7" fmla="*/ 97928 w 190894"/>
                  <a:gd name="connsiteY7" fmla="*/ 0 h 206599"/>
                  <a:gd name="connsiteX8" fmla="*/ 190894 w 190894"/>
                  <a:gd name="connsiteY8" fmla="*/ 103300 h 206599"/>
                  <a:gd name="connsiteX9" fmla="*/ 190086 w 190894"/>
                  <a:gd name="connsiteY9" fmla="*/ 118577 h 206599"/>
                  <a:gd name="connsiteX10" fmla="*/ 39827 w 190894"/>
                  <a:gd name="connsiteY10" fmla="*/ 86396 h 206599"/>
                  <a:gd name="connsiteX11" fmla="*/ 151472 w 190894"/>
                  <a:gd name="connsiteY11" fmla="*/ 86396 h 206599"/>
                  <a:gd name="connsiteX12" fmla="*/ 97950 w 190894"/>
                  <a:gd name="connsiteY12" fmla="*/ 35617 h 206599"/>
                  <a:gd name="connsiteX13" fmla="*/ 39827 w 190894"/>
                  <a:gd name="connsiteY13" fmla="*/ 86396 h 206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0894" h="206599">
                    <a:moveTo>
                      <a:pt x="190041" y="118577"/>
                    </a:moveTo>
                    <a:lnTo>
                      <a:pt x="39423" y="118577"/>
                    </a:lnTo>
                    <a:cubicBezTo>
                      <a:pt x="44833" y="150758"/>
                      <a:pt x="68024" y="171051"/>
                      <a:pt x="97950" y="171051"/>
                    </a:cubicBezTo>
                    <a:cubicBezTo>
                      <a:pt x="122444" y="171051"/>
                      <a:pt x="138608" y="161294"/>
                      <a:pt x="146914" y="143108"/>
                    </a:cubicBezTo>
                    <a:lnTo>
                      <a:pt x="185910" y="143108"/>
                    </a:lnTo>
                    <a:cubicBezTo>
                      <a:pt x="174259" y="180763"/>
                      <a:pt x="140696" y="206599"/>
                      <a:pt x="97928" y="206599"/>
                    </a:cubicBezTo>
                    <a:cubicBezTo>
                      <a:pt x="41488" y="206599"/>
                      <a:pt x="0" y="164707"/>
                      <a:pt x="0" y="103300"/>
                    </a:cubicBezTo>
                    <a:cubicBezTo>
                      <a:pt x="0" y="41892"/>
                      <a:pt x="40657" y="0"/>
                      <a:pt x="97928" y="0"/>
                    </a:cubicBezTo>
                    <a:cubicBezTo>
                      <a:pt x="148957" y="0"/>
                      <a:pt x="190894" y="44481"/>
                      <a:pt x="190894" y="103300"/>
                    </a:cubicBezTo>
                    <a:cubicBezTo>
                      <a:pt x="190894" y="109232"/>
                      <a:pt x="190894" y="112645"/>
                      <a:pt x="190086" y="118577"/>
                    </a:cubicBezTo>
                    <a:close/>
                    <a:moveTo>
                      <a:pt x="39827" y="86396"/>
                    </a:moveTo>
                    <a:lnTo>
                      <a:pt x="151472" y="86396"/>
                    </a:lnTo>
                    <a:cubicBezTo>
                      <a:pt x="148980" y="59277"/>
                      <a:pt x="127428" y="35617"/>
                      <a:pt x="97950" y="35617"/>
                    </a:cubicBezTo>
                    <a:cubicBezTo>
                      <a:pt x="68024" y="35571"/>
                      <a:pt x="45641" y="55498"/>
                      <a:pt x="39827" y="86396"/>
                    </a:cubicBezTo>
                    <a:close/>
                  </a:path>
                </a:pathLst>
              </a:custGeom>
              <a:solidFill>
                <a:srgbClr val="FFFFFF"/>
              </a:solidFill>
              <a:ln w="2231" cap="flat">
                <a:noFill/>
                <a:prstDash val="solid"/>
                <a:miter/>
              </a:ln>
            </p:spPr>
            <p:txBody>
              <a:bodyPr rtlCol="0" anchor="ctr"/>
              <a:lstStyle/>
              <a:p>
                <a:endParaRPr lang="en-RU"/>
              </a:p>
            </p:txBody>
          </p:sp>
          <p:sp>
            <p:nvSpPr>
              <p:cNvPr id="18" name="Freeform 17">
                <a:extLst>
                  <a:ext uri="{FF2B5EF4-FFF2-40B4-BE49-F238E27FC236}">
                    <a16:creationId xmlns:a16="http://schemas.microsoft.com/office/drawing/2014/main" id="{77C841EC-2A26-7AA4-D08A-4EBEA9B64ED6}"/>
                  </a:ext>
                </a:extLst>
              </p:cNvPr>
              <p:cNvSpPr/>
              <p:nvPr/>
            </p:nvSpPr>
            <p:spPr>
              <a:xfrm>
                <a:off x="3126777" y="-933861"/>
                <a:ext cx="195070" cy="206599"/>
              </a:xfrm>
              <a:custGeom>
                <a:avLst/>
                <a:gdLst>
                  <a:gd name="connsiteX0" fmla="*/ 195070 w 195070"/>
                  <a:gd name="connsiteY0" fmla="*/ 103300 h 206599"/>
                  <a:gd name="connsiteX1" fmla="*/ 195070 w 195070"/>
                  <a:gd name="connsiteY1" fmla="*/ 202362 h 206599"/>
                  <a:gd name="connsiteX2" fmla="*/ 161462 w 195070"/>
                  <a:gd name="connsiteY2" fmla="*/ 202362 h 206599"/>
                  <a:gd name="connsiteX3" fmla="*/ 158117 w 195070"/>
                  <a:gd name="connsiteY3" fmla="*/ 171464 h 206599"/>
                  <a:gd name="connsiteX4" fmla="*/ 93371 w 195070"/>
                  <a:gd name="connsiteY4" fmla="*/ 206599 h 206599"/>
                  <a:gd name="connsiteX5" fmla="*/ 0 w 195070"/>
                  <a:gd name="connsiteY5" fmla="*/ 103300 h 206599"/>
                  <a:gd name="connsiteX6" fmla="*/ 98332 w 195070"/>
                  <a:gd name="connsiteY6" fmla="*/ 0 h 206599"/>
                  <a:gd name="connsiteX7" fmla="*/ 195070 w 195070"/>
                  <a:gd name="connsiteY7" fmla="*/ 103300 h 206599"/>
                  <a:gd name="connsiteX8" fmla="*/ 156860 w 195070"/>
                  <a:gd name="connsiteY8" fmla="*/ 103300 h 206599"/>
                  <a:gd name="connsiteX9" fmla="*/ 98332 w 195070"/>
                  <a:gd name="connsiteY9" fmla="*/ 35571 h 206599"/>
                  <a:gd name="connsiteX10" fmla="*/ 38188 w 195070"/>
                  <a:gd name="connsiteY10" fmla="*/ 103300 h 206599"/>
                  <a:gd name="connsiteX11" fmla="*/ 98332 w 195070"/>
                  <a:gd name="connsiteY11" fmla="*/ 171029 h 206599"/>
                  <a:gd name="connsiteX12" fmla="*/ 156860 w 195070"/>
                  <a:gd name="connsiteY12" fmla="*/ 103300 h 206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5070" h="206599">
                    <a:moveTo>
                      <a:pt x="195070" y="103300"/>
                    </a:moveTo>
                    <a:lnTo>
                      <a:pt x="195070" y="202362"/>
                    </a:lnTo>
                    <a:lnTo>
                      <a:pt x="161462" y="202362"/>
                    </a:lnTo>
                    <a:lnTo>
                      <a:pt x="158117" y="171464"/>
                    </a:lnTo>
                    <a:cubicBezTo>
                      <a:pt x="143188" y="194345"/>
                      <a:pt x="117056" y="206599"/>
                      <a:pt x="93371" y="206599"/>
                    </a:cubicBezTo>
                    <a:cubicBezTo>
                      <a:pt x="40253" y="206599"/>
                      <a:pt x="0" y="163424"/>
                      <a:pt x="0" y="103300"/>
                    </a:cubicBezTo>
                    <a:cubicBezTo>
                      <a:pt x="0" y="43175"/>
                      <a:pt x="43149" y="0"/>
                      <a:pt x="98332" y="0"/>
                    </a:cubicBezTo>
                    <a:cubicBezTo>
                      <a:pt x="149002" y="0"/>
                      <a:pt x="195070" y="37243"/>
                      <a:pt x="195070" y="103300"/>
                    </a:cubicBezTo>
                    <a:close/>
                    <a:moveTo>
                      <a:pt x="156860" y="103300"/>
                    </a:moveTo>
                    <a:cubicBezTo>
                      <a:pt x="156860" y="59712"/>
                      <a:pt x="128662" y="35571"/>
                      <a:pt x="98332" y="35571"/>
                    </a:cubicBezTo>
                    <a:cubicBezTo>
                      <a:pt x="65128" y="35571"/>
                      <a:pt x="38188" y="62690"/>
                      <a:pt x="38188" y="103300"/>
                    </a:cubicBezTo>
                    <a:cubicBezTo>
                      <a:pt x="38188" y="143910"/>
                      <a:pt x="63108" y="171029"/>
                      <a:pt x="98332" y="171029"/>
                    </a:cubicBezTo>
                    <a:cubicBezTo>
                      <a:pt x="128258" y="171029"/>
                      <a:pt x="156860" y="145604"/>
                      <a:pt x="156860" y="103300"/>
                    </a:cubicBezTo>
                    <a:close/>
                  </a:path>
                </a:pathLst>
              </a:custGeom>
              <a:solidFill>
                <a:srgbClr val="FFFFFF"/>
              </a:solidFill>
              <a:ln w="2231" cap="flat">
                <a:noFill/>
                <a:prstDash val="solid"/>
                <a:miter/>
              </a:ln>
            </p:spPr>
            <p:txBody>
              <a:bodyPr rtlCol="0" anchor="ctr"/>
              <a:lstStyle/>
              <a:p>
                <a:endParaRPr lang="en-RU"/>
              </a:p>
            </p:txBody>
          </p:sp>
          <p:sp>
            <p:nvSpPr>
              <p:cNvPr id="20" name="Freeform 19">
                <a:extLst>
                  <a:ext uri="{FF2B5EF4-FFF2-40B4-BE49-F238E27FC236}">
                    <a16:creationId xmlns:a16="http://schemas.microsoft.com/office/drawing/2014/main" id="{133028CB-4008-420B-75A0-D19927415E4F}"/>
                  </a:ext>
                </a:extLst>
              </p:cNvPr>
              <p:cNvSpPr/>
              <p:nvPr/>
            </p:nvSpPr>
            <p:spPr>
              <a:xfrm>
                <a:off x="3347575" y="-933792"/>
                <a:ext cx="285566" cy="202728"/>
              </a:xfrm>
              <a:custGeom>
                <a:avLst/>
                <a:gdLst>
                  <a:gd name="connsiteX0" fmla="*/ 0 w 285566"/>
                  <a:gd name="connsiteY0" fmla="*/ 202316 h 202728"/>
                  <a:gd name="connsiteX1" fmla="*/ 0 w 285566"/>
                  <a:gd name="connsiteY1" fmla="*/ 85068 h 202728"/>
                  <a:gd name="connsiteX2" fmla="*/ 79698 w 285566"/>
                  <a:gd name="connsiteY2" fmla="*/ 0 h 202728"/>
                  <a:gd name="connsiteX3" fmla="*/ 142379 w 285566"/>
                  <a:gd name="connsiteY3" fmla="*/ 36006 h 202728"/>
                  <a:gd name="connsiteX4" fmla="*/ 143188 w 285566"/>
                  <a:gd name="connsiteY4" fmla="*/ 36006 h 202728"/>
                  <a:gd name="connsiteX5" fmla="*/ 205869 w 285566"/>
                  <a:gd name="connsiteY5" fmla="*/ 0 h 202728"/>
                  <a:gd name="connsiteX6" fmla="*/ 285567 w 285566"/>
                  <a:gd name="connsiteY6" fmla="*/ 85068 h 202728"/>
                  <a:gd name="connsiteX7" fmla="*/ 285567 w 285566"/>
                  <a:gd name="connsiteY7" fmla="*/ 202316 h 202728"/>
                  <a:gd name="connsiteX8" fmla="*/ 247402 w 285566"/>
                  <a:gd name="connsiteY8" fmla="*/ 202316 h 202728"/>
                  <a:gd name="connsiteX9" fmla="*/ 247402 w 285566"/>
                  <a:gd name="connsiteY9" fmla="*/ 87999 h 202728"/>
                  <a:gd name="connsiteX10" fmla="*/ 204679 w 285566"/>
                  <a:gd name="connsiteY10" fmla="*/ 36350 h 202728"/>
                  <a:gd name="connsiteX11" fmla="*/ 161956 w 285566"/>
                  <a:gd name="connsiteY11" fmla="*/ 88824 h 202728"/>
                  <a:gd name="connsiteX12" fmla="*/ 161956 w 285566"/>
                  <a:gd name="connsiteY12" fmla="*/ 202729 h 202728"/>
                  <a:gd name="connsiteX13" fmla="*/ 123791 w 285566"/>
                  <a:gd name="connsiteY13" fmla="*/ 202729 h 202728"/>
                  <a:gd name="connsiteX14" fmla="*/ 123791 w 285566"/>
                  <a:gd name="connsiteY14" fmla="*/ 88824 h 202728"/>
                  <a:gd name="connsiteX15" fmla="*/ 81068 w 285566"/>
                  <a:gd name="connsiteY15" fmla="*/ 36350 h 202728"/>
                  <a:gd name="connsiteX16" fmla="*/ 38345 w 285566"/>
                  <a:gd name="connsiteY16" fmla="*/ 87999 h 202728"/>
                  <a:gd name="connsiteX17" fmla="*/ 38345 w 285566"/>
                  <a:gd name="connsiteY17" fmla="*/ 202316 h 202728"/>
                  <a:gd name="connsiteX18" fmla="*/ 90 w 285566"/>
                  <a:gd name="connsiteY18" fmla="*/ 202316 h 20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5566" h="202728">
                    <a:moveTo>
                      <a:pt x="0" y="202316"/>
                    </a:moveTo>
                    <a:lnTo>
                      <a:pt x="0" y="85068"/>
                    </a:lnTo>
                    <a:cubicBezTo>
                      <a:pt x="0" y="35525"/>
                      <a:pt x="31138" y="0"/>
                      <a:pt x="79698" y="0"/>
                    </a:cubicBezTo>
                    <a:cubicBezTo>
                      <a:pt x="118694" y="0"/>
                      <a:pt x="139438" y="26661"/>
                      <a:pt x="142379" y="36006"/>
                    </a:cubicBezTo>
                    <a:lnTo>
                      <a:pt x="143188" y="36006"/>
                    </a:lnTo>
                    <a:cubicBezTo>
                      <a:pt x="146084" y="26707"/>
                      <a:pt x="166828" y="0"/>
                      <a:pt x="205869" y="0"/>
                    </a:cubicBezTo>
                    <a:cubicBezTo>
                      <a:pt x="254428" y="0"/>
                      <a:pt x="285567" y="35548"/>
                      <a:pt x="285567" y="85068"/>
                    </a:cubicBezTo>
                    <a:lnTo>
                      <a:pt x="285567" y="202316"/>
                    </a:lnTo>
                    <a:lnTo>
                      <a:pt x="247402" y="202316"/>
                    </a:lnTo>
                    <a:lnTo>
                      <a:pt x="247402" y="87999"/>
                    </a:lnTo>
                    <a:cubicBezTo>
                      <a:pt x="247402" y="55818"/>
                      <a:pt x="233280" y="36350"/>
                      <a:pt x="204679" y="36350"/>
                    </a:cubicBezTo>
                    <a:cubicBezTo>
                      <a:pt x="176077" y="36350"/>
                      <a:pt x="161956" y="55818"/>
                      <a:pt x="161956" y="88824"/>
                    </a:cubicBezTo>
                    <a:lnTo>
                      <a:pt x="161956" y="202729"/>
                    </a:lnTo>
                    <a:lnTo>
                      <a:pt x="123791" y="202729"/>
                    </a:lnTo>
                    <a:lnTo>
                      <a:pt x="123791" y="88824"/>
                    </a:lnTo>
                    <a:cubicBezTo>
                      <a:pt x="123791" y="55818"/>
                      <a:pt x="109669" y="36350"/>
                      <a:pt x="81068" y="36350"/>
                    </a:cubicBezTo>
                    <a:cubicBezTo>
                      <a:pt x="52466" y="36350"/>
                      <a:pt x="38345" y="55818"/>
                      <a:pt x="38345" y="87999"/>
                    </a:cubicBezTo>
                    <a:lnTo>
                      <a:pt x="38345" y="202316"/>
                    </a:lnTo>
                    <a:lnTo>
                      <a:pt x="90" y="202316"/>
                    </a:lnTo>
                    <a:close/>
                  </a:path>
                </a:pathLst>
              </a:custGeom>
              <a:solidFill>
                <a:srgbClr val="FFFFFF"/>
              </a:solidFill>
              <a:ln w="2231" cap="flat">
                <a:noFill/>
                <a:prstDash val="solid"/>
                <a:miter/>
              </a:ln>
            </p:spPr>
            <p:txBody>
              <a:bodyPr rtlCol="0" anchor="ctr"/>
              <a:lstStyle/>
              <a:p>
                <a:endParaRPr lang="en-RU"/>
              </a:p>
            </p:txBody>
          </p:sp>
        </p:grpSp>
      </p:grpSp>
    </p:spTree>
    <p:extLst>
      <p:ext uri="{BB962C8B-B14F-4D97-AF65-F5344CB8AC3E}">
        <p14:creationId xmlns:p14="http://schemas.microsoft.com/office/powerpoint/2010/main" val="525642873"/>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1/3 Left Stacked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92301F5-B69E-0D3C-D5CC-BB2804BD19A5}"/>
              </a:ext>
            </a:extLst>
          </p:cNvPr>
          <p:cNvSpPr/>
          <p:nvPr/>
        </p:nvSpPr>
        <p:spPr>
          <a:xfrm>
            <a:off x="0" y="0"/>
            <a:ext cx="3679371"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a:solidFill>
                <a:schemeClr val="bg1"/>
              </a:solidFill>
              <a:latin typeface="ES Build" pitchFamily="50" charset="0"/>
              <a:cs typeface="Microsoft Sans Serif" panose="020B0604020202020204" pitchFamily="34" charset="0"/>
            </a:endParaRPr>
          </a:p>
        </p:txBody>
      </p:sp>
      <p:sp>
        <p:nvSpPr>
          <p:cNvPr id="4" name="Footer Placeholder 66">
            <a:extLst>
              <a:ext uri="{FF2B5EF4-FFF2-40B4-BE49-F238E27FC236}">
                <a16:creationId xmlns:a16="http://schemas.microsoft.com/office/drawing/2014/main" id="{5A937196-A9E2-700D-0EF2-E8B6E1F366B1}"/>
              </a:ext>
            </a:extLst>
          </p:cNvPr>
          <p:cNvSpPr>
            <a:spLocks noGrp="1"/>
          </p:cNvSpPr>
          <p:nvPr>
            <p:ph type="ftr" sz="quarter" idx="3"/>
          </p:nvPr>
        </p:nvSpPr>
        <p:spPr>
          <a:xfrm>
            <a:off x="4305300" y="6405456"/>
            <a:ext cx="6438900" cy="107722"/>
          </a:xfrm>
          <a:prstGeom prst="rect">
            <a:avLst/>
          </a:prstGeom>
        </p:spPr>
        <p:txBody>
          <a:bodyPr vert="horz" lIns="0" tIns="0" rIns="0" bIns="0" rtlCol="0" anchor="b"/>
          <a:lstStyle>
            <a:lvl1pPr algn="l">
              <a:defRPr sz="700">
                <a:solidFill>
                  <a:schemeClr val="tx2"/>
                </a:solidFill>
              </a:defRPr>
            </a:lvl1pPr>
          </a:lstStyle>
          <a:p>
            <a:endParaRPr lang="en-US"/>
          </a:p>
        </p:txBody>
      </p:sp>
      <p:sp>
        <p:nvSpPr>
          <p:cNvPr id="8" name="Title 1">
            <a:extLst>
              <a:ext uri="{FF2B5EF4-FFF2-40B4-BE49-F238E27FC236}">
                <a16:creationId xmlns:a16="http://schemas.microsoft.com/office/drawing/2014/main" id="{BBFBCBD4-DA05-4F0F-6763-A747F0C03298}"/>
              </a:ext>
            </a:extLst>
          </p:cNvPr>
          <p:cNvSpPr>
            <a:spLocks noGrp="1"/>
          </p:cNvSpPr>
          <p:nvPr>
            <p:ph type="title"/>
          </p:nvPr>
        </p:nvSpPr>
        <p:spPr>
          <a:xfrm>
            <a:off x="495301" y="1719263"/>
            <a:ext cx="2859087" cy="2134979"/>
          </a:xfrm>
        </p:spPr>
        <p:txBody>
          <a:bodyPr anchor="ctr">
            <a:noAutofit/>
          </a:bodyPr>
          <a:lstStyle>
            <a:lvl1pPr>
              <a:defRPr sz="4400">
                <a:solidFill>
                  <a:schemeClr val="bg1"/>
                </a:solidFill>
              </a:defRPr>
            </a:lvl1pPr>
          </a:lstStyle>
          <a:p>
            <a:r>
              <a:rPr lang="en-US"/>
              <a:t>Click to edit Master title style</a:t>
            </a:r>
          </a:p>
        </p:txBody>
      </p:sp>
      <p:sp>
        <p:nvSpPr>
          <p:cNvPr id="9" name="Subtitle 2">
            <a:extLst>
              <a:ext uri="{FF2B5EF4-FFF2-40B4-BE49-F238E27FC236}">
                <a16:creationId xmlns:a16="http://schemas.microsoft.com/office/drawing/2014/main" id="{D57F8780-D8D3-B2FE-FCC9-87A2007A9395}"/>
              </a:ext>
            </a:extLst>
          </p:cNvPr>
          <p:cNvSpPr>
            <a:spLocks noGrp="1"/>
          </p:cNvSpPr>
          <p:nvPr>
            <p:ph type="subTitle" idx="1"/>
          </p:nvPr>
        </p:nvSpPr>
        <p:spPr>
          <a:xfrm>
            <a:off x="495302" y="3997587"/>
            <a:ext cx="2859086" cy="628841"/>
          </a:xfrm>
        </p:spPr>
        <p:txBody>
          <a:bodyPr/>
          <a:lstStyle>
            <a:lvl1pPr marL="0" indent="0" algn="l">
              <a:buNone/>
              <a:defRPr sz="2100">
                <a:solidFill>
                  <a:schemeClr val="accent2"/>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Content Placeholder 18">
            <a:extLst>
              <a:ext uri="{FF2B5EF4-FFF2-40B4-BE49-F238E27FC236}">
                <a16:creationId xmlns:a16="http://schemas.microsoft.com/office/drawing/2014/main" id="{9F0DE43A-B43F-04DF-5809-BD4DF20EF55C}"/>
              </a:ext>
            </a:extLst>
          </p:cNvPr>
          <p:cNvSpPr>
            <a:spLocks noGrp="1"/>
          </p:cNvSpPr>
          <p:nvPr>
            <p:ph sz="quarter" idx="10"/>
          </p:nvPr>
        </p:nvSpPr>
        <p:spPr>
          <a:xfrm>
            <a:off x="4305300" y="682626"/>
            <a:ext cx="7391400" cy="3771900"/>
          </a:xfrm>
        </p:spPr>
        <p:txBody>
          <a:bodyPr/>
          <a:lstStyle>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8">
            <a:extLst>
              <a:ext uri="{FF2B5EF4-FFF2-40B4-BE49-F238E27FC236}">
                <a16:creationId xmlns:a16="http://schemas.microsoft.com/office/drawing/2014/main" id="{EF926072-FA82-9BDD-9A63-4F6798DC9F61}"/>
              </a:ext>
            </a:extLst>
          </p:cNvPr>
          <p:cNvSpPr>
            <a:spLocks noGrp="1"/>
          </p:cNvSpPr>
          <p:nvPr>
            <p:ph sz="quarter" idx="11"/>
          </p:nvPr>
        </p:nvSpPr>
        <p:spPr>
          <a:xfrm>
            <a:off x="4315631" y="4797425"/>
            <a:ext cx="7391400" cy="1377949"/>
          </a:xfrm>
        </p:spPr>
        <p:txBody>
          <a:bodyPr/>
          <a:lstStyle>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Graphic 11">
            <a:extLst>
              <a:ext uri="{FF2B5EF4-FFF2-40B4-BE49-F238E27FC236}">
                <a16:creationId xmlns:a16="http://schemas.microsoft.com/office/drawing/2014/main" id="{88A2565B-B998-5BF9-DC86-72456ED8ED8E}"/>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180146" y="6513177"/>
            <a:ext cx="516553" cy="157025"/>
          </a:xfrm>
          <a:prstGeom prst="rect">
            <a:avLst/>
          </a:prstGeom>
        </p:spPr>
      </p:pic>
      <p:sp>
        <p:nvSpPr>
          <p:cNvPr id="2" name="TextBox 1">
            <a:extLst>
              <a:ext uri="{FF2B5EF4-FFF2-40B4-BE49-F238E27FC236}">
                <a16:creationId xmlns:a16="http://schemas.microsoft.com/office/drawing/2014/main" id="{E9AF60B4-CC56-BD9A-1302-702EEC8C61AB}"/>
              </a:ext>
            </a:extLst>
          </p:cNvPr>
          <p:cNvSpPr txBox="1"/>
          <p:nvPr userDrawn="1"/>
        </p:nvSpPr>
        <p:spPr>
          <a:xfrm>
            <a:off x="4301339" y="6562481"/>
            <a:ext cx="5029200" cy="107722"/>
          </a:xfrm>
          <a:prstGeom prst="rect">
            <a:avLst/>
          </a:prstGeom>
          <a:noFill/>
        </p:spPr>
        <p:txBody>
          <a:bodyPr wrap="square" lIns="0" tIns="0" rIns="0" bIns="0">
            <a:spAutoFit/>
          </a:bodyPr>
          <a:lstStyle/>
          <a:p>
            <a:r>
              <a:rPr lang="en-US" sz="700">
                <a:solidFill>
                  <a:schemeClr val="tx2"/>
                </a:solidFill>
              </a:rPr>
              <a:t>© 2024 Veeam Software. Confidential information. All rights reserved. All trademarks are the property of their respective owners. </a:t>
            </a:r>
          </a:p>
        </p:txBody>
      </p:sp>
    </p:spTree>
    <p:extLst>
      <p:ext uri="{BB962C8B-B14F-4D97-AF65-F5344CB8AC3E}">
        <p14:creationId xmlns:p14="http://schemas.microsoft.com/office/powerpoint/2010/main" val="296185222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1/3 Left Column Content">
    <p:spTree>
      <p:nvGrpSpPr>
        <p:cNvPr id="1" name=""/>
        <p:cNvGrpSpPr/>
        <p:nvPr/>
      </p:nvGrpSpPr>
      <p:grpSpPr>
        <a:xfrm>
          <a:off x="0" y="0"/>
          <a:ext cx="0" cy="0"/>
          <a:chOff x="0" y="0"/>
          <a:chExt cx="0" cy="0"/>
        </a:xfrm>
      </p:grpSpPr>
      <p:sp>
        <p:nvSpPr>
          <p:cNvPr id="13" name="Content Placeholder 18">
            <a:extLst>
              <a:ext uri="{FF2B5EF4-FFF2-40B4-BE49-F238E27FC236}">
                <a16:creationId xmlns:a16="http://schemas.microsoft.com/office/drawing/2014/main" id="{56B29AAB-9836-4222-2373-744FDA40340B}"/>
              </a:ext>
            </a:extLst>
          </p:cNvPr>
          <p:cNvSpPr>
            <a:spLocks noGrp="1"/>
          </p:cNvSpPr>
          <p:nvPr>
            <p:ph sz="quarter" idx="10"/>
          </p:nvPr>
        </p:nvSpPr>
        <p:spPr>
          <a:xfrm>
            <a:off x="4305300" y="682625"/>
            <a:ext cx="2263775" cy="5486399"/>
          </a:xfrm>
        </p:spPr>
        <p:txBody>
          <a:bodyPr/>
          <a:lstStyle>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8">
            <a:extLst>
              <a:ext uri="{FF2B5EF4-FFF2-40B4-BE49-F238E27FC236}">
                <a16:creationId xmlns:a16="http://schemas.microsoft.com/office/drawing/2014/main" id="{A4DE8E80-1063-4890-3D52-F10E95DE8406}"/>
              </a:ext>
            </a:extLst>
          </p:cNvPr>
          <p:cNvSpPr>
            <a:spLocks noGrp="1"/>
          </p:cNvSpPr>
          <p:nvPr>
            <p:ph sz="quarter" idx="11"/>
          </p:nvPr>
        </p:nvSpPr>
        <p:spPr>
          <a:xfrm>
            <a:off x="6752895" y="690564"/>
            <a:ext cx="4954135" cy="5486398"/>
          </a:xfrm>
        </p:spPr>
        <p:txBody>
          <a:bodyPr/>
          <a:lstStyle>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892301F5-B69E-0D3C-D5CC-BB2804BD19A5}"/>
              </a:ext>
            </a:extLst>
          </p:cNvPr>
          <p:cNvSpPr/>
          <p:nvPr/>
        </p:nvSpPr>
        <p:spPr>
          <a:xfrm>
            <a:off x="0" y="0"/>
            <a:ext cx="3679371"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a:solidFill>
                <a:schemeClr val="bg1"/>
              </a:solidFill>
              <a:latin typeface="ES Build" pitchFamily="50" charset="0"/>
              <a:cs typeface="Microsoft Sans Serif" panose="020B0604020202020204" pitchFamily="34" charset="0"/>
            </a:endParaRPr>
          </a:p>
        </p:txBody>
      </p:sp>
      <p:sp>
        <p:nvSpPr>
          <p:cNvPr id="24" name="Title 1">
            <a:extLst>
              <a:ext uri="{FF2B5EF4-FFF2-40B4-BE49-F238E27FC236}">
                <a16:creationId xmlns:a16="http://schemas.microsoft.com/office/drawing/2014/main" id="{36D7EDEC-72BB-0FBE-E163-12DA39051EA0}"/>
              </a:ext>
            </a:extLst>
          </p:cNvPr>
          <p:cNvSpPr>
            <a:spLocks noGrp="1"/>
          </p:cNvSpPr>
          <p:nvPr>
            <p:ph type="title"/>
          </p:nvPr>
        </p:nvSpPr>
        <p:spPr>
          <a:xfrm>
            <a:off x="495301" y="1719263"/>
            <a:ext cx="2859087" cy="2134979"/>
          </a:xfrm>
        </p:spPr>
        <p:txBody>
          <a:bodyPr anchor="ctr">
            <a:noAutofit/>
          </a:bodyPr>
          <a:lstStyle>
            <a:lvl1pPr>
              <a:defRPr sz="4400">
                <a:solidFill>
                  <a:schemeClr val="bg1"/>
                </a:solidFill>
              </a:defRPr>
            </a:lvl1pPr>
          </a:lstStyle>
          <a:p>
            <a:r>
              <a:rPr lang="en-US"/>
              <a:t>Click to edit Master title style</a:t>
            </a:r>
          </a:p>
        </p:txBody>
      </p:sp>
      <p:sp>
        <p:nvSpPr>
          <p:cNvPr id="2" name="Subtitle 2">
            <a:extLst>
              <a:ext uri="{FF2B5EF4-FFF2-40B4-BE49-F238E27FC236}">
                <a16:creationId xmlns:a16="http://schemas.microsoft.com/office/drawing/2014/main" id="{A2F6A416-87B9-D95B-4D6C-EC86BD6B64F5}"/>
              </a:ext>
            </a:extLst>
          </p:cNvPr>
          <p:cNvSpPr>
            <a:spLocks noGrp="1"/>
          </p:cNvSpPr>
          <p:nvPr>
            <p:ph type="subTitle" idx="1"/>
          </p:nvPr>
        </p:nvSpPr>
        <p:spPr>
          <a:xfrm>
            <a:off x="495302" y="3997587"/>
            <a:ext cx="2859086" cy="628841"/>
          </a:xfrm>
        </p:spPr>
        <p:txBody>
          <a:bodyPr/>
          <a:lstStyle>
            <a:lvl1pPr marL="0" indent="0" algn="l">
              <a:buNone/>
              <a:defRPr sz="2100">
                <a:solidFill>
                  <a:schemeClr val="accent2"/>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Footer Placeholder 66">
            <a:extLst>
              <a:ext uri="{FF2B5EF4-FFF2-40B4-BE49-F238E27FC236}">
                <a16:creationId xmlns:a16="http://schemas.microsoft.com/office/drawing/2014/main" id="{0D705D89-7F64-DEBF-AD72-C0380014CD33}"/>
              </a:ext>
            </a:extLst>
          </p:cNvPr>
          <p:cNvSpPr>
            <a:spLocks noGrp="1"/>
          </p:cNvSpPr>
          <p:nvPr>
            <p:ph type="ftr" sz="quarter" idx="3"/>
          </p:nvPr>
        </p:nvSpPr>
        <p:spPr>
          <a:xfrm>
            <a:off x="4305300" y="6405456"/>
            <a:ext cx="6438900" cy="107722"/>
          </a:xfrm>
          <a:prstGeom prst="rect">
            <a:avLst/>
          </a:prstGeom>
        </p:spPr>
        <p:txBody>
          <a:bodyPr vert="horz" lIns="0" tIns="0" rIns="0" bIns="0" rtlCol="0" anchor="b"/>
          <a:lstStyle>
            <a:lvl1pPr algn="l">
              <a:defRPr sz="700">
                <a:solidFill>
                  <a:schemeClr val="tx2"/>
                </a:solidFill>
              </a:defRPr>
            </a:lvl1pPr>
          </a:lstStyle>
          <a:p>
            <a:endParaRPr lang="en-US"/>
          </a:p>
        </p:txBody>
      </p:sp>
      <p:pic>
        <p:nvPicPr>
          <p:cNvPr id="15" name="Graphic 14">
            <a:extLst>
              <a:ext uri="{FF2B5EF4-FFF2-40B4-BE49-F238E27FC236}">
                <a16:creationId xmlns:a16="http://schemas.microsoft.com/office/drawing/2014/main" id="{DDD8AC79-0A9C-4390-C9DE-85891A71D533}"/>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180146" y="6513177"/>
            <a:ext cx="516553" cy="157025"/>
          </a:xfrm>
          <a:prstGeom prst="rect">
            <a:avLst/>
          </a:prstGeom>
        </p:spPr>
      </p:pic>
      <p:sp>
        <p:nvSpPr>
          <p:cNvPr id="3" name="TextBox 2">
            <a:extLst>
              <a:ext uri="{FF2B5EF4-FFF2-40B4-BE49-F238E27FC236}">
                <a16:creationId xmlns:a16="http://schemas.microsoft.com/office/drawing/2014/main" id="{A2F24600-DD81-1C90-6E3F-FD1DE119855D}"/>
              </a:ext>
            </a:extLst>
          </p:cNvPr>
          <p:cNvSpPr txBox="1"/>
          <p:nvPr userDrawn="1"/>
        </p:nvSpPr>
        <p:spPr>
          <a:xfrm>
            <a:off x="4301339" y="6562481"/>
            <a:ext cx="5029200" cy="107722"/>
          </a:xfrm>
          <a:prstGeom prst="rect">
            <a:avLst/>
          </a:prstGeom>
          <a:noFill/>
        </p:spPr>
        <p:txBody>
          <a:bodyPr wrap="square" lIns="0" tIns="0" rIns="0" bIns="0">
            <a:spAutoFit/>
          </a:bodyPr>
          <a:lstStyle/>
          <a:p>
            <a:r>
              <a:rPr lang="en-US" sz="700">
                <a:solidFill>
                  <a:schemeClr val="tx2"/>
                </a:solidFill>
              </a:rPr>
              <a:t>© 2024 Veeam Software. Confidential information. All rights reserved. All trademarks are the property of their respective owners. </a:t>
            </a:r>
          </a:p>
        </p:txBody>
      </p:sp>
    </p:spTree>
    <p:extLst>
      <p:ext uri="{BB962C8B-B14F-4D97-AF65-F5344CB8AC3E}">
        <p14:creationId xmlns:p14="http://schemas.microsoft.com/office/powerpoint/2010/main" val="6055665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2" name="Subtitle 2">
            <a:extLst>
              <a:ext uri="{FF2B5EF4-FFF2-40B4-BE49-F238E27FC236}">
                <a16:creationId xmlns:a16="http://schemas.microsoft.com/office/drawing/2014/main" id="{005AEFFA-08BB-E35F-660C-22FD398AD757}"/>
              </a:ext>
            </a:extLst>
          </p:cNvPr>
          <p:cNvSpPr>
            <a:spLocks noGrp="1"/>
          </p:cNvSpPr>
          <p:nvPr>
            <p:ph type="subTitle" idx="1"/>
          </p:nvPr>
        </p:nvSpPr>
        <p:spPr>
          <a:xfrm>
            <a:off x="502179" y="1032607"/>
            <a:ext cx="11194511" cy="338993"/>
          </a:xfrm>
        </p:spPr>
        <p:txBody>
          <a:bodyPr/>
          <a:lstStyle>
            <a:lvl1pPr marL="0" indent="0" algn="l">
              <a:buNone/>
              <a:defRPr sz="21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Title 5">
            <a:extLst>
              <a:ext uri="{FF2B5EF4-FFF2-40B4-BE49-F238E27FC236}">
                <a16:creationId xmlns:a16="http://schemas.microsoft.com/office/drawing/2014/main" id="{C86E2E2E-C03C-BAE4-D818-84982363EE55}"/>
              </a:ext>
            </a:extLst>
          </p:cNvPr>
          <p:cNvSpPr>
            <a:spLocks noGrp="1"/>
          </p:cNvSpPr>
          <p:nvPr>
            <p:ph type="title"/>
          </p:nvPr>
        </p:nvSpPr>
        <p:spPr/>
        <p:txBody>
          <a:bodyPr/>
          <a:lstStyle/>
          <a:p>
            <a:r>
              <a:rPr lang="en-US"/>
              <a:t>Click to edit Master title style</a:t>
            </a:r>
          </a:p>
        </p:txBody>
      </p:sp>
      <p:sp>
        <p:nvSpPr>
          <p:cNvPr id="10" name="Footer Placeholder 66">
            <a:extLst>
              <a:ext uri="{FF2B5EF4-FFF2-40B4-BE49-F238E27FC236}">
                <a16:creationId xmlns:a16="http://schemas.microsoft.com/office/drawing/2014/main" id="{897E5D5F-07B8-45D8-5BF7-ABED590AC892}"/>
              </a:ext>
            </a:extLst>
          </p:cNvPr>
          <p:cNvSpPr>
            <a:spLocks noGrp="1"/>
          </p:cNvSpPr>
          <p:nvPr>
            <p:ph type="ftr" sz="quarter" idx="3"/>
          </p:nvPr>
        </p:nvSpPr>
        <p:spPr>
          <a:xfrm>
            <a:off x="493288" y="6405456"/>
            <a:ext cx="9893725" cy="107722"/>
          </a:xfrm>
          <a:prstGeom prst="rect">
            <a:avLst/>
          </a:prstGeom>
        </p:spPr>
        <p:txBody>
          <a:bodyPr vert="horz" lIns="0" tIns="0" rIns="0" bIns="0" rtlCol="0" anchor="b"/>
          <a:lstStyle>
            <a:lvl1pPr algn="l">
              <a:defRPr sz="700">
                <a:solidFill>
                  <a:schemeClr val="tx2"/>
                </a:solidFill>
              </a:defRPr>
            </a:lvl1pPr>
          </a:lstStyle>
          <a:p>
            <a:endParaRPr lang="en-US"/>
          </a:p>
        </p:txBody>
      </p:sp>
    </p:spTree>
    <p:extLst>
      <p:ext uri="{BB962C8B-B14F-4D97-AF65-F5344CB8AC3E}">
        <p14:creationId xmlns:p14="http://schemas.microsoft.com/office/powerpoint/2010/main" val="1487017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randed Light BG option 3">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3934089E-3F37-432B-5F96-E3C7EE3558D0}"/>
              </a:ext>
            </a:extLst>
          </p:cNvPr>
          <p:cNvSpPr/>
          <p:nvPr userDrawn="1"/>
        </p:nvSpPr>
        <p:spPr>
          <a:xfrm>
            <a:off x="0" y="73038"/>
            <a:ext cx="12180888" cy="6780200"/>
          </a:xfrm>
          <a:custGeom>
            <a:avLst/>
            <a:gdLst>
              <a:gd name="connsiteX0" fmla="*/ 12180888 w 12180888"/>
              <a:gd name="connsiteY0" fmla="*/ 0 h 6780200"/>
              <a:gd name="connsiteX1" fmla="*/ 12180888 w 12180888"/>
              <a:gd name="connsiteY1" fmla="*/ 6780200 h 6780200"/>
              <a:gd name="connsiteX2" fmla="*/ 0 w 12180888"/>
              <a:gd name="connsiteY2" fmla="*/ 6780200 h 6780200"/>
              <a:gd name="connsiteX3" fmla="*/ 0 w 12180888"/>
              <a:gd name="connsiteY3" fmla="*/ 913172 h 6780200"/>
              <a:gd name="connsiteX4" fmla="*/ 4896612 w 12180888"/>
              <a:gd name="connsiteY4" fmla="*/ 5800623 h 6780200"/>
              <a:gd name="connsiteX5" fmla="*/ 6368038 w 12180888"/>
              <a:gd name="connsiteY5" fmla="*/ 5801957 h 678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80888" h="6780200">
                <a:moveTo>
                  <a:pt x="12180888" y="0"/>
                </a:moveTo>
                <a:lnTo>
                  <a:pt x="12180888" y="6780200"/>
                </a:lnTo>
                <a:lnTo>
                  <a:pt x="0" y="6780200"/>
                </a:lnTo>
                <a:lnTo>
                  <a:pt x="0" y="913172"/>
                </a:lnTo>
                <a:lnTo>
                  <a:pt x="4896612" y="5800623"/>
                </a:lnTo>
                <a:cubicBezTo>
                  <a:pt x="5301953" y="6205964"/>
                  <a:pt x="5961172" y="6208822"/>
                  <a:pt x="6368038" y="5801957"/>
                </a:cubicBezTo>
                <a:close/>
              </a:path>
            </a:pathLst>
          </a:custGeom>
          <a:solidFill>
            <a:schemeClr val="bg2">
              <a:alpha val="3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Title 2">
            <a:extLst>
              <a:ext uri="{FF2B5EF4-FFF2-40B4-BE49-F238E27FC236}">
                <a16:creationId xmlns:a16="http://schemas.microsoft.com/office/drawing/2014/main" id="{E38188C5-E269-6440-3BAF-60AEC0EAC5A6}"/>
              </a:ext>
            </a:extLst>
          </p:cNvPr>
          <p:cNvSpPr>
            <a:spLocks noGrp="1"/>
          </p:cNvSpPr>
          <p:nvPr>
            <p:ph type="title"/>
          </p:nvPr>
        </p:nvSpPr>
        <p:spPr/>
        <p:txBody>
          <a:bodyPr anchor="t"/>
          <a:lstStyle/>
          <a:p>
            <a:r>
              <a:rPr lang="en-US"/>
              <a:t>Click to edit Master title style</a:t>
            </a:r>
          </a:p>
        </p:txBody>
      </p:sp>
      <p:sp>
        <p:nvSpPr>
          <p:cNvPr id="6" name="Subtitle 2">
            <a:extLst>
              <a:ext uri="{FF2B5EF4-FFF2-40B4-BE49-F238E27FC236}">
                <a16:creationId xmlns:a16="http://schemas.microsoft.com/office/drawing/2014/main" id="{2480EAA3-4A10-6A44-58FD-5AD16C4E8EBC}"/>
              </a:ext>
            </a:extLst>
          </p:cNvPr>
          <p:cNvSpPr>
            <a:spLocks noGrp="1"/>
          </p:cNvSpPr>
          <p:nvPr>
            <p:ph type="subTitle" idx="1"/>
          </p:nvPr>
        </p:nvSpPr>
        <p:spPr>
          <a:xfrm>
            <a:off x="502179" y="1032607"/>
            <a:ext cx="11194511" cy="338993"/>
          </a:xfrm>
        </p:spPr>
        <p:txBody>
          <a:bodyPr anchor="t"/>
          <a:lstStyle>
            <a:lvl1pPr marL="0" indent="0" algn="l">
              <a:buNone/>
              <a:defRPr sz="21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Footer Placeholder 66">
            <a:extLst>
              <a:ext uri="{FF2B5EF4-FFF2-40B4-BE49-F238E27FC236}">
                <a16:creationId xmlns:a16="http://schemas.microsoft.com/office/drawing/2014/main" id="{60104A99-EBAE-0AF7-F817-DFD9D9CD5ADA}"/>
              </a:ext>
            </a:extLst>
          </p:cNvPr>
          <p:cNvSpPr>
            <a:spLocks noGrp="1"/>
          </p:cNvSpPr>
          <p:nvPr>
            <p:ph type="ftr" sz="quarter" idx="3"/>
          </p:nvPr>
        </p:nvSpPr>
        <p:spPr>
          <a:xfrm>
            <a:off x="493288" y="6405456"/>
            <a:ext cx="9893725" cy="107722"/>
          </a:xfrm>
          <a:prstGeom prst="rect">
            <a:avLst/>
          </a:prstGeom>
        </p:spPr>
        <p:txBody>
          <a:bodyPr vert="horz" lIns="0" tIns="0" rIns="0" bIns="0" rtlCol="0" anchor="b"/>
          <a:lstStyle>
            <a:lvl1pPr algn="l">
              <a:defRPr sz="700">
                <a:solidFill>
                  <a:schemeClr val="tx2"/>
                </a:solidFill>
              </a:defRPr>
            </a:lvl1pPr>
          </a:lstStyle>
          <a:p>
            <a:endParaRPr lang="en-US"/>
          </a:p>
        </p:txBody>
      </p:sp>
      <p:pic>
        <p:nvPicPr>
          <p:cNvPr id="10" name="Graphic 9">
            <a:extLst>
              <a:ext uri="{FF2B5EF4-FFF2-40B4-BE49-F238E27FC236}">
                <a16:creationId xmlns:a16="http://schemas.microsoft.com/office/drawing/2014/main" id="{C7AA303B-0A0D-3603-3CA8-7CEEFD291423}"/>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180146" y="6513177"/>
            <a:ext cx="516553" cy="157025"/>
          </a:xfrm>
          <a:prstGeom prst="rect">
            <a:avLst/>
          </a:prstGeom>
        </p:spPr>
      </p:pic>
      <p:sp>
        <p:nvSpPr>
          <p:cNvPr id="2" name="Content Placeholder 18">
            <a:extLst>
              <a:ext uri="{FF2B5EF4-FFF2-40B4-BE49-F238E27FC236}">
                <a16:creationId xmlns:a16="http://schemas.microsoft.com/office/drawing/2014/main" id="{5F6748E9-1AFB-5E11-0462-5E4B1ADA7D35}"/>
              </a:ext>
            </a:extLst>
          </p:cNvPr>
          <p:cNvSpPr>
            <a:spLocks noGrp="1"/>
          </p:cNvSpPr>
          <p:nvPr>
            <p:ph sz="quarter" idx="10"/>
          </p:nvPr>
        </p:nvSpPr>
        <p:spPr>
          <a:xfrm>
            <a:off x="493287" y="1719645"/>
            <a:ext cx="11203413" cy="4449380"/>
          </a:xfrm>
        </p:spPr>
        <p:txBody>
          <a:bodyPr/>
          <a:lstStyle>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097587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eft-side Titl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5802B3E-289D-CCB0-BB8B-D925127F9E60}"/>
              </a:ext>
            </a:extLst>
          </p:cNvPr>
          <p:cNvSpPr>
            <a:spLocks noGrp="1"/>
          </p:cNvSpPr>
          <p:nvPr>
            <p:ph type="title"/>
          </p:nvPr>
        </p:nvSpPr>
        <p:spPr>
          <a:xfrm>
            <a:off x="493288" y="2208282"/>
            <a:ext cx="2861099" cy="1471461"/>
          </a:xfrm>
        </p:spPr>
        <p:txBody>
          <a:bodyPr anchor="ctr">
            <a:noAutofit/>
          </a:bodyPr>
          <a:lstStyle>
            <a:lvl1pPr>
              <a:defRPr>
                <a:solidFill>
                  <a:schemeClr val="tx1"/>
                </a:solidFill>
              </a:defRPr>
            </a:lvl1pPr>
          </a:lstStyle>
          <a:p>
            <a:r>
              <a:rPr lang="en-US"/>
              <a:t>Click to edit Master title style</a:t>
            </a:r>
          </a:p>
        </p:txBody>
      </p:sp>
      <p:sp>
        <p:nvSpPr>
          <p:cNvPr id="7" name="Subtitle 2">
            <a:extLst>
              <a:ext uri="{FF2B5EF4-FFF2-40B4-BE49-F238E27FC236}">
                <a16:creationId xmlns:a16="http://schemas.microsoft.com/office/drawing/2014/main" id="{9C3108B2-8239-05B8-EDEE-89015A2070AB}"/>
              </a:ext>
            </a:extLst>
          </p:cNvPr>
          <p:cNvSpPr>
            <a:spLocks noGrp="1"/>
          </p:cNvSpPr>
          <p:nvPr>
            <p:ph type="subTitle" idx="1"/>
          </p:nvPr>
        </p:nvSpPr>
        <p:spPr>
          <a:xfrm>
            <a:off x="493713" y="3808744"/>
            <a:ext cx="2860675" cy="628841"/>
          </a:xfrm>
        </p:spPr>
        <p:txBody>
          <a:bodyPr>
            <a:noAutofit/>
          </a:bodyPr>
          <a:lstStyle>
            <a:lvl1pPr marL="0" indent="0" algn="l">
              <a:buNone/>
              <a:defRPr sz="2100">
                <a:solidFill>
                  <a:schemeClr val="tx1"/>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Footer Placeholder 66">
            <a:extLst>
              <a:ext uri="{FF2B5EF4-FFF2-40B4-BE49-F238E27FC236}">
                <a16:creationId xmlns:a16="http://schemas.microsoft.com/office/drawing/2014/main" id="{C37F5F0E-9CD6-659E-AF61-24CDC2660EA2}"/>
              </a:ext>
            </a:extLst>
          </p:cNvPr>
          <p:cNvSpPr>
            <a:spLocks noGrp="1"/>
          </p:cNvSpPr>
          <p:nvPr>
            <p:ph type="ftr" sz="quarter" idx="3"/>
          </p:nvPr>
        </p:nvSpPr>
        <p:spPr>
          <a:xfrm>
            <a:off x="493288" y="6405456"/>
            <a:ext cx="9893725" cy="107722"/>
          </a:xfrm>
          <a:prstGeom prst="rect">
            <a:avLst/>
          </a:prstGeom>
        </p:spPr>
        <p:txBody>
          <a:bodyPr vert="horz" lIns="0" tIns="0" rIns="0" bIns="0" rtlCol="0" anchor="b"/>
          <a:lstStyle>
            <a:lvl1pPr algn="l">
              <a:defRPr sz="700">
                <a:solidFill>
                  <a:schemeClr val="tx2"/>
                </a:solidFill>
              </a:defRPr>
            </a:lvl1pPr>
          </a:lstStyle>
          <a:p>
            <a:endParaRPr lang="en-US"/>
          </a:p>
        </p:txBody>
      </p:sp>
    </p:spTree>
    <p:extLst>
      <p:ext uri="{BB962C8B-B14F-4D97-AF65-F5344CB8AC3E}">
        <p14:creationId xmlns:p14="http://schemas.microsoft.com/office/powerpoint/2010/main" val="283615431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lank Light">
    <p:spTree>
      <p:nvGrpSpPr>
        <p:cNvPr id="1" name=""/>
        <p:cNvGrpSpPr/>
        <p:nvPr/>
      </p:nvGrpSpPr>
      <p:grpSpPr>
        <a:xfrm>
          <a:off x="0" y="0"/>
          <a:ext cx="0" cy="0"/>
          <a:chOff x="0" y="0"/>
          <a:chExt cx="0" cy="0"/>
        </a:xfrm>
      </p:grpSpPr>
      <p:sp>
        <p:nvSpPr>
          <p:cNvPr id="3" name="Footer Placeholder 66">
            <a:extLst>
              <a:ext uri="{FF2B5EF4-FFF2-40B4-BE49-F238E27FC236}">
                <a16:creationId xmlns:a16="http://schemas.microsoft.com/office/drawing/2014/main" id="{64591DC0-9950-9377-9402-A5524E298F00}"/>
              </a:ext>
            </a:extLst>
          </p:cNvPr>
          <p:cNvSpPr>
            <a:spLocks noGrp="1"/>
          </p:cNvSpPr>
          <p:nvPr>
            <p:ph type="ftr" sz="quarter" idx="3"/>
          </p:nvPr>
        </p:nvSpPr>
        <p:spPr>
          <a:xfrm>
            <a:off x="493288" y="6405456"/>
            <a:ext cx="9893725" cy="107722"/>
          </a:xfrm>
          <a:prstGeom prst="rect">
            <a:avLst/>
          </a:prstGeom>
        </p:spPr>
        <p:txBody>
          <a:bodyPr vert="horz" lIns="0" tIns="0" rIns="0" bIns="0" rtlCol="0" anchor="b"/>
          <a:lstStyle>
            <a:lvl1pPr algn="l">
              <a:defRPr sz="700">
                <a:solidFill>
                  <a:schemeClr val="tx2"/>
                </a:solidFill>
              </a:defRPr>
            </a:lvl1pPr>
          </a:lstStyle>
          <a:p>
            <a:endParaRPr lang="en-US"/>
          </a:p>
        </p:txBody>
      </p:sp>
    </p:spTree>
    <p:extLst>
      <p:ext uri="{BB962C8B-B14F-4D97-AF65-F5344CB8AC3E}">
        <p14:creationId xmlns:p14="http://schemas.microsoft.com/office/powerpoint/2010/main" val="34835498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ase Study Imag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5DB76-3583-76FE-C21C-C259AAE771D0}"/>
              </a:ext>
            </a:extLst>
          </p:cNvPr>
          <p:cNvSpPr>
            <a:spLocks noGrp="1"/>
          </p:cNvSpPr>
          <p:nvPr>
            <p:ph type="title"/>
          </p:nvPr>
        </p:nvSpPr>
        <p:spPr>
          <a:xfrm>
            <a:off x="493712" y="306131"/>
            <a:ext cx="11202987" cy="165100"/>
          </a:xfrm>
        </p:spPr>
        <p:txBody>
          <a:bodyPr anchor="t"/>
          <a:lstStyle>
            <a:lvl1pPr marL="0" indent="0" algn="l" defTabSz="914400" rtl="0" eaLnBrk="1" latinLnBrk="0" hangingPunct="1">
              <a:lnSpc>
                <a:spcPct val="100000"/>
              </a:lnSpc>
              <a:spcBef>
                <a:spcPts val="1200"/>
              </a:spcBef>
              <a:spcAft>
                <a:spcPts val="600"/>
              </a:spcAft>
              <a:buClrTx/>
              <a:buFont typeface="Calibri" panose="020F0502020204030204" pitchFamily="34" charset="0"/>
              <a:buChar char="​"/>
              <a:tabLst/>
              <a:defRPr lang="en-US" sz="1200" b="0" i="0" kern="1200" cap="all" baseline="0" dirty="0">
                <a:solidFill>
                  <a:schemeClr val="accent2"/>
                </a:solidFill>
                <a:latin typeface="+mn-lt"/>
                <a:ea typeface="ES Build" pitchFamily="2" charset="77"/>
                <a:cs typeface="+mn-cs"/>
              </a:defRPr>
            </a:lvl1pPr>
          </a:lstStyle>
          <a:p>
            <a:r>
              <a:rPr lang="en-US"/>
              <a:t>Click to edit Master title style</a:t>
            </a:r>
          </a:p>
        </p:txBody>
      </p:sp>
      <p:sp>
        <p:nvSpPr>
          <p:cNvPr id="3" name="Footer Placeholder 2">
            <a:extLst>
              <a:ext uri="{FF2B5EF4-FFF2-40B4-BE49-F238E27FC236}">
                <a16:creationId xmlns:a16="http://schemas.microsoft.com/office/drawing/2014/main" id="{3D483895-7F93-D609-F151-0BDE90B0F032}"/>
              </a:ext>
            </a:extLst>
          </p:cNvPr>
          <p:cNvSpPr>
            <a:spLocks noGrp="1"/>
          </p:cNvSpPr>
          <p:nvPr>
            <p:ph type="ftr" sz="quarter" idx="10"/>
          </p:nvPr>
        </p:nvSpPr>
        <p:spPr/>
        <p:txBody>
          <a:bodyPr/>
          <a:lstStyle/>
          <a:p>
            <a:endParaRPr lang="en-US"/>
          </a:p>
        </p:txBody>
      </p:sp>
      <p:sp>
        <p:nvSpPr>
          <p:cNvPr id="21" name="Picture Placeholder 20">
            <a:extLst>
              <a:ext uri="{FF2B5EF4-FFF2-40B4-BE49-F238E27FC236}">
                <a16:creationId xmlns:a16="http://schemas.microsoft.com/office/drawing/2014/main" id="{D97578E6-6029-1118-F8FB-B0AD6C1DEB98}"/>
              </a:ext>
            </a:extLst>
          </p:cNvPr>
          <p:cNvSpPr>
            <a:spLocks noGrp="1"/>
          </p:cNvSpPr>
          <p:nvPr>
            <p:ph type="pic" sz="quarter" idx="11" hasCustomPrompt="1"/>
          </p:nvPr>
        </p:nvSpPr>
        <p:spPr>
          <a:xfrm>
            <a:off x="489800" y="687509"/>
            <a:ext cx="1313600" cy="1023815"/>
          </a:xfrm>
        </p:spPr>
        <p:txBody>
          <a:bodyPr/>
          <a:lstStyle>
            <a:lvl1pPr algn="ctr">
              <a:defRPr sz="1400"/>
            </a:lvl1pPr>
          </a:lstStyle>
          <a:p>
            <a:r>
              <a:rPr lang="en-US"/>
              <a:t>Place logo here</a:t>
            </a:r>
          </a:p>
        </p:txBody>
      </p:sp>
      <p:cxnSp>
        <p:nvCxnSpPr>
          <p:cNvPr id="22" name="Straight Connector 21">
            <a:extLst>
              <a:ext uri="{FF2B5EF4-FFF2-40B4-BE49-F238E27FC236}">
                <a16:creationId xmlns:a16="http://schemas.microsoft.com/office/drawing/2014/main" id="{0920AA78-CB6C-6F4F-DA6D-4B8F340EF867}"/>
              </a:ext>
            </a:extLst>
          </p:cNvPr>
          <p:cNvCxnSpPr>
            <a:cxnSpLocks/>
          </p:cNvCxnSpPr>
          <p:nvPr userDrawn="1"/>
        </p:nvCxnSpPr>
        <p:spPr>
          <a:xfrm>
            <a:off x="2058805" y="687510"/>
            <a:ext cx="0" cy="1023815"/>
          </a:xfrm>
          <a:prstGeom prst="line">
            <a:avLst/>
          </a:prstGeom>
          <a:noFill/>
          <a:ln w="12700" cap="rnd" cmpd="sng" algn="ctr">
            <a:solidFill>
              <a:srgbClr val="E7E6E6"/>
            </a:solidFill>
            <a:prstDash val="solid"/>
            <a:round/>
            <a:headEnd type="none" w="med" len="sm"/>
            <a:tailEnd type="none" w="sm" len="sm"/>
          </a:ln>
          <a:effectLst/>
        </p:spPr>
      </p:cxnSp>
      <p:sp>
        <p:nvSpPr>
          <p:cNvPr id="29" name="Picture Placeholder 28">
            <a:extLst>
              <a:ext uri="{FF2B5EF4-FFF2-40B4-BE49-F238E27FC236}">
                <a16:creationId xmlns:a16="http://schemas.microsoft.com/office/drawing/2014/main" id="{08F1375A-46CF-A757-66AB-FDEDFE1337B9}"/>
              </a:ext>
            </a:extLst>
          </p:cNvPr>
          <p:cNvSpPr>
            <a:spLocks noGrp="1" noChangeAspect="1"/>
          </p:cNvSpPr>
          <p:nvPr>
            <p:ph type="pic" sz="quarter" idx="12" hasCustomPrompt="1"/>
          </p:nvPr>
        </p:nvSpPr>
        <p:spPr>
          <a:xfrm>
            <a:off x="8478841" y="682626"/>
            <a:ext cx="3217859" cy="3418543"/>
          </a:xfrm>
          <a:custGeom>
            <a:avLst/>
            <a:gdLst>
              <a:gd name="connsiteX0" fmla="*/ 0 w 3242129"/>
              <a:gd name="connsiteY0" fmla="*/ 0 h 3444327"/>
              <a:gd name="connsiteX1" fmla="*/ 89749 w 3242129"/>
              <a:gd name="connsiteY1" fmla="*/ 0 h 3444327"/>
              <a:gd name="connsiteX2" fmla="*/ 708910 w 3242129"/>
              <a:gd name="connsiteY2" fmla="*/ 0 h 3444327"/>
              <a:gd name="connsiteX3" fmla="*/ 2888023 w 3242129"/>
              <a:gd name="connsiteY3" fmla="*/ 0 h 3444327"/>
              <a:gd name="connsiteX4" fmla="*/ 3016536 w 3242129"/>
              <a:gd name="connsiteY4" fmla="*/ 53430 h 3444327"/>
              <a:gd name="connsiteX5" fmla="*/ 3188699 w 3242129"/>
              <a:gd name="connsiteY5" fmla="*/ 225594 h 3444327"/>
              <a:gd name="connsiteX6" fmla="*/ 3242129 w 3242129"/>
              <a:gd name="connsiteY6" fmla="*/ 354106 h 3444327"/>
              <a:gd name="connsiteX7" fmla="*/ 3242129 w 3242129"/>
              <a:gd name="connsiteY7" fmla="*/ 2885928 h 3444327"/>
              <a:gd name="connsiteX8" fmla="*/ 3242129 w 3242129"/>
              <a:gd name="connsiteY8" fmla="*/ 3354577 h 3444327"/>
              <a:gd name="connsiteX9" fmla="*/ 3242129 w 3242129"/>
              <a:gd name="connsiteY9" fmla="*/ 3444327 h 3444327"/>
              <a:gd name="connsiteX10" fmla="*/ 3152380 w 3242129"/>
              <a:gd name="connsiteY10" fmla="*/ 3444327 h 3444327"/>
              <a:gd name="connsiteX11" fmla="*/ 2533219 w 3242129"/>
              <a:gd name="connsiteY11" fmla="*/ 3444327 h 3444327"/>
              <a:gd name="connsiteX12" fmla="*/ 354106 w 3242129"/>
              <a:gd name="connsiteY12" fmla="*/ 3444327 h 3444327"/>
              <a:gd name="connsiteX13" fmla="*/ 225594 w 3242129"/>
              <a:gd name="connsiteY13" fmla="*/ 3390896 h 3444327"/>
              <a:gd name="connsiteX14" fmla="*/ 53430 w 3242129"/>
              <a:gd name="connsiteY14" fmla="*/ 3218732 h 3444327"/>
              <a:gd name="connsiteX15" fmla="*/ 0 w 3242129"/>
              <a:gd name="connsiteY15" fmla="*/ 3090220 h 3444327"/>
              <a:gd name="connsiteX16" fmla="*/ 0 w 3242129"/>
              <a:gd name="connsiteY16" fmla="*/ 558398 h 3444327"/>
              <a:gd name="connsiteX17" fmla="*/ 0 w 3242129"/>
              <a:gd name="connsiteY17" fmla="*/ 89749 h 3444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242129" h="3444327">
                <a:moveTo>
                  <a:pt x="0" y="0"/>
                </a:moveTo>
                <a:lnTo>
                  <a:pt x="89749" y="0"/>
                </a:lnTo>
                <a:lnTo>
                  <a:pt x="708910" y="0"/>
                </a:lnTo>
                <a:lnTo>
                  <a:pt x="2888023" y="0"/>
                </a:lnTo>
                <a:cubicBezTo>
                  <a:pt x="2936216" y="0"/>
                  <a:pt x="2982312" y="19207"/>
                  <a:pt x="3016536" y="53430"/>
                </a:cubicBezTo>
                <a:cubicBezTo>
                  <a:pt x="3078346" y="115242"/>
                  <a:pt x="3126888" y="163783"/>
                  <a:pt x="3188699" y="225594"/>
                </a:cubicBezTo>
                <a:cubicBezTo>
                  <a:pt x="3222922" y="259468"/>
                  <a:pt x="3242129" y="305914"/>
                  <a:pt x="3242129" y="354106"/>
                </a:cubicBezTo>
                <a:lnTo>
                  <a:pt x="3242129" y="2885928"/>
                </a:lnTo>
                <a:lnTo>
                  <a:pt x="3242129" y="3354577"/>
                </a:lnTo>
                <a:lnTo>
                  <a:pt x="3242129" y="3444327"/>
                </a:lnTo>
                <a:lnTo>
                  <a:pt x="3152380" y="3444327"/>
                </a:lnTo>
                <a:lnTo>
                  <a:pt x="2533219" y="3444327"/>
                </a:lnTo>
                <a:lnTo>
                  <a:pt x="354106" y="3444327"/>
                </a:lnTo>
                <a:cubicBezTo>
                  <a:pt x="305914" y="3444327"/>
                  <a:pt x="259817" y="3425120"/>
                  <a:pt x="225594" y="3390896"/>
                </a:cubicBezTo>
                <a:cubicBezTo>
                  <a:pt x="163783" y="3329085"/>
                  <a:pt x="115242" y="3280543"/>
                  <a:pt x="53430" y="3218732"/>
                </a:cubicBezTo>
                <a:cubicBezTo>
                  <a:pt x="19207" y="3184858"/>
                  <a:pt x="0" y="3138412"/>
                  <a:pt x="0" y="3090220"/>
                </a:cubicBezTo>
                <a:lnTo>
                  <a:pt x="0" y="558398"/>
                </a:lnTo>
                <a:lnTo>
                  <a:pt x="0" y="89749"/>
                </a:lnTo>
                <a:close/>
              </a:path>
            </a:pathLst>
          </a:custGeom>
          <a:solidFill>
            <a:schemeClr val="bg2"/>
          </a:solidFill>
        </p:spPr>
        <p:txBody>
          <a:bodyPr wrap="square">
            <a:noAutofit/>
          </a:bodyPr>
          <a:lstStyle>
            <a:lvl1pPr algn="ctr">
              <a:defRPr sz="1400"/>
            </a:lvl1pPr>
          </a:lstStyle>
          <a:p>
            <a:r>
              <a:rPr lang="en-US"/>
              <a:t>Please use Veeam approved images</a:t>
            </a:r>
          </a:p>
        </p:txBody>
      </p:sp>
      <p:sp>
        <p:nvSpPr>
          <p:cNvPr id="31" name="Subtitle 2">
            <a:extLst>
              <a:ext uri="{FF2B5EF4-FFF2-40B4-BE49-F238E27FC236}">
                <a16:creationId xmlns:a16="http://schemas.microsoft.com/office/drawing/2014/main" id="{6AE8CF52-B763-1B63-535D-583AAAF93819}"/>
              </a:ext>
            </a:extLst>
          </p:cNvPr>
          <p:cNvSpPr>
            <a:spLocks noGrp="1"/>
          </p:cNvSpPr>
          <p:nvPr>
            <p:ph type="subTitle" idx="1" hasCustomPrompt="1"/>
          </p:nvPr>
        </p:nvSpPr>
        <p:spPr>
          <a:xfrm>
            <a:off x="2314211" y="808248"/>
            <a:ext cx="5809027" cy="747931"/>
          </a:xfrm>
        </p:spPr>
        <p:txBody>
          <a:bodyPr anchor="ctr"/>
          <a:lstStyle>
            <a:lvl1pPr marL="0" indent="0" algn="l">
              <a:buNone/>
              <a:defRPr kumimoji="0" lang="en-US" sz="2100" b="0" i="0" u="none" strike="noStrike" kern="0" cap="none" spc="0" normalizeH="0" baseline="0" dirty="0">
                <a:ln>
                  <a:noFill/>
                </a:ln>
                <a:solidFill>
                  <a:srgbClr val="8D70F3"/>
                </a:solidFill>
                <a:effectLst/>
                <a:uLnTx/>
                <a:uFillTx/>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lick to edit case study title </a:t>
            </a:r>
          </a:p>
        </p:txBody>
      </p:sp>
      <p:sp>
        <p:nvSpPr>
          <p:cNvPr id="34" name="Text Placeholder 33">
            <a:extLst>
              <a:ext uri="{FF2B5EF4-FFF2-40B4-BE49-F238E27FC236}">
                <a16:creationId xmlns:a16="http://schemas.microsoft.com/office/drawing/2014/main" id="{7AA290A0-7732-7405-4696-069B12A00EC5}"/>
              </a:ext>
            </a:extLst>
          </p:cNvPr>
          <p:cNvSpPr>
            <a:spLocks noGrp="1"/>
          </p:cNvSpPr>
          <p:nvPr>
            <p:ph type="body" sz="quarter" idx="13"/>
          </p:nvPr>
        </p:nvSpPr>
        <p:spPr>
          <a:xfrm>
            <a:off x="351492" y="1862713"/>
            <a:ext cx="7771746" cy="2591812"/>
          </a:xfrm>
        </p:spPr>
        <p:txBody>
          <a:bodyPr/>
          <a:lstStyle>
            <a:lvl1pPr marL="146304" indent="-146304">
              <a:spcAft>
                <a:spcPts val="1200"/>
              </a:spcAft>
              <a:buFont typeface="ES Build Neutral" pitchFamily="50" charset="0"/>
              <a:buChar char="“"/>
              <a:defRPr sz="3400">
                <a:latin typeface="ES Build "/>
              </a:defRPr>
            </a:lvl1pPr>
            <a:lvl2pPr marL="344488" indent="-182880">
              <a:buFont typeface="Microsoft Sans Serif" panose="020B0604020202020204" pitchFamily="34" charset="0"/>
              <a:buChar char="—"/>
              <a:defRPr lang="en-US" sz="1600" b="0" i="0" kern="1200" dirty="0">
                <a:solidFill>
                  <a:schemeClr val="accent4"/>
                </a:solidFill>
                <a:latin typeface="+mn-lt"/>
                <a:ea typeface="ES Build" pitchFamily="2" charset="77"/>
                <a:cs typeface="+mn-cs"/>
              </a:defRPr>
            </a:lvl2pPr>
            <a:lvl3pPr marL="344488" indent="-182880">
              <a:defRPr/>
            </a:lvl3pPr>
            <a:lvl4pPr marL="344488" indent="-182880">
              <a:defRPr/>
            </a:lvl4pPr>
            <a:lvl5pPr marL="344488" indent="-18288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7" name="Straight Connector 36">
            <a:extLst>
              <a:ext uri="{FF2B5EF4-FFF2-40B4-BE49-F238E27FC236}">
                <a16:creationId xmlns:a16="http://schemas.microsoft.com/office/drawing/2014/main" id="{3AFC5A06-EA2E-CCCE-6E41-52D578F53290}"/>
              </a:ext>
            </a:extLst>
          </p:cNvPr>
          <p:cNvCxnSpPr>
            <a:cxnSpLocks/>
          </p:cNvCxnSpPr>
          <p:nvPr userDrawn="1"/>
        </p:nvCxnSpPr>
        <p:spPr>
          <a:xfrm>
            <a:off x="4305300" y="4637314"/>
            <a:ext cx="0" cy="1529443"/>
          </a:xfrm>
          <a:prstGeom prst="line">
            <a:avLst/>
          </a:prstGeom>
          <a:noFill/>
          <a:ln w="12700" cap="rnd" cmpd="sng" algn="ctr">
            <a:solidFill>
              <a:srgbClr val="E7E6E6"/>
            </a:solidFill>
            <a:prstDash val="solid"/>
            <a:round/>
            <a:headEnd type="none" w="med" len="sm"/>
            <a:tailEnd type="none" w="sm" len="sm"/>
          </a:ln>
          <a:effectLst/>
        </p:spPr>
      </p:cxnSp>
      <p:sp>
        <p:nvSpPr>
          <p:cNvPr id="42" name="Content Placeholder 40">
            <a:extLst>
              <a:ext uri="{FF2B5EF4-FFF2-40B4-BE49-F238E27FC236}">
                <a16:creationId xmlns:a16="http://schemas.microsoft.com/office/drawing/2014/main" id="{FF2532BF-4680-53D7-A2A5-5AE22750B87F}"/>
              </a:ext>
            </a:extLst>
          </p:cNvPr>
          <p:cNvSpPr>
            <a:spLocks noGrp="1"/>
          </p:cNvSpPr>
          <p:nvPr>
            <p:ph sz="quarter" idx="14"/>
          </p:nvPr>
        </p:nvSpPr>
        <p:spPr>
          <a:xfrm>
            <a:off x="496833" y="4553116"/>
            <a:ext cx="3570335" cy="1615909"/>
          </a:xfrm>
        </p:spPr>
        <p:txBody>
          <a:bodyPr/>
          <a:lstStyle>
            <a:lvl1pPr>
              <a:spcAft>
                <a:spcPts val="900"/>
              </a:spcAft>
              <a:defRPr>
                <a:solidFill>
                  <a:schemeClr val="accent2"/>
                </a:solidFill>
                <a:latin typeface="+mj-lt"/>
              </a:defRPr>
            </a:lvl1pPr>
            <a:lvl2pPr marL="0" indent="0">
              <a:lnSpc>
                <a:spcPct val="110000"/>
              </a:lnSpc>
              <a:buFont typeface="Calibri" panose="020F0502020204030204" pitchFamily="34" charset="0"/>
              <a:buChar char="​"/>
              <a:defRPr sz="1600"/>
            </a:lvl2pPr>
            <a:lvl3pPr marL="173736" indent="-173736">
              <a:lnSpc>
                <a:spcPct val="110000"/>
              </a:lnSpc>
              <a:defRPr sz="1200"/>
            </a:lvl3pPr>
            <a:lvl4pPr marL="173736" indent="-173736">
              <a:lnSpc>
                <a:spcPct val="110000"/>
              </a:lnSpc>
              <a:defRPr sz="1200"/>
            </a:lvl4pPr>
            <a:lvl5pPr marL="173736" indent="-173736">
              <a:lnSpc>
                <a:spcPct val="11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8" name="Content Placeholder 40">
            <a:extLst>
              <a:ext uri="{FF2B5EF4-FFF2-40B4-BE49-F238E27FC236}">
                <a16:creationId xmlns:a16="http://schemas.microsoft.com/office/drawing/2014/main" id="{2092FE40-83A8-3C3F-87F7-C1D5BE8568F7}"/>
              </a:ext>
            </a:extLst>
          </p:cNvPr>
          <p:cNvSpPr>
            <a:spLocks noGrp="1"/>
          </p:cNvSpPr>
          <p:nvPr>
            <p:ph sz="quarter" idx="15"/>
          </p:nvPr>
        </p:nvSpPr>
        <p:spPr>
          <a:xfrm>
            <a:off x="4531234" y="4553116"/>
            <a:ext cx="3464940" cy="1615909"/>
          </a:xfrm>
        </p:spPr>
        <p:txBody>
          <a:bodyPr/>
          <a:lstStyle>
            <a:lvl1pPr>
              <a:spcAft>
                <a:spcPts val="900"/>
              </a:spcAft>
              <a:defRPr>
                <a:solidFill>
                  <a:schemeClr val="accent2"/>
                </a:solidFill>
                <a:latin typeface="ES Build "/>
              </a:defRPr>
            </a:lvl1pPr>
            <a:lvl2pPr marL="0" indent="0">
              <a:lnSpc>
                <a:spcPct val="110000"/>
              </a:lnSpc>
              <a:buFont typeface="Calibri" panose="020F0502020204030204" pitchFamily="34" charset="0"/>
              <a:buChar char="​"/>
              <a:defRPr sz="1600"/>
            </a:lvl2pPr>
            <a:lvl3pPr marL="173736" indent="-173736">
              <a:lnSpc>
                <a:spcPct val="110000"/>
              </a:lnSpc>
              <a:defRPr sz="1200"/>
            </a:lvl3pPr>
            <a:lvl4pPr marL="173736" indent="-173736">
              <a:lnSpc>
                <a:spcPct val="110000"/>
              </a:lnSpc>
              <a:defRPr sz="1200"/>
            </a:lvl4pPr>
            <a:lvl5pPr marL="173736" indent="-173736">
              <a:lnSpc>
                <a:spcPct val="11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9" name="Content Placeholder 40">
            <a:extLst>
              <a:ext uri="{FF2B5EF4-FFF2-40B4-BE49-F238E27FC236}">
                <a16:creationId xmlns:a16="http://schemas.microsoft.com/office/drawing/2014/main" id="{CE2CB06E-DD2D-D95A-5268-F43E7277542C}"/>
              </a:ext>
            </a:extLst>
          </p:cNvPr>
          <p:cNvSpPr>
            <a:spLocks noGrp="1"/>
          </p:cNvSpPr>
          <p:nvPr>
            <p:ph sz="quarter" idx="16"/>
          </p:nvPr>
        </p:nvSpPr>
        <p:spPr>
          <a:xfrm>
            <a:off x="8222107" y="4550848"/>
            <a:ext cx="3464940" cy="1615909"/>
          </a:xfrm>
        </p:spPr>
        <p:txBody>
          <a:bodyPr/>
          <a:lstStyle>
            <a:lvl1pPr>
              <a:spcAft>
                <a:spcPts val="900"/>
              </a:spcAft>
              <a:defRPr>
                <a:solidFill>
                  <a:schemeClr val="accent2"/>
                </a:solidFill>
                <a:latin typeface="+mn-lt"/>
              </a:defRPr>
            </a:lvl1pPr>
            <a:lvl2pPr marL="0" indent="0">
              <a:lnSpc>
                <a:spcPct val="110000"/>
              </a:lnSpc>
              <a:buFont typeface="Calibri" panose="020F0502020204030204" pitchFamily="34" charset="0"/>
              <a:buChar char="​"/>
              <a:defRPr sz="1600"/>
            </a:lvl2pPr>
            <a:lvl3pPr marL="173736" indent="-173736">
              <a:lnSpc>
                <a:spcPct val="110000"/>
              </a:lnSpc>
              <a:defRPr sz="1200"/>
            </a:lvl3pPr>
            <a:lvl4pPr marL="173736" indent="-173736">
              <a:lnSpc>
                <a:spcPct val="110000"/>
              </a:lnSpc>
              <a:defRPr sz="1200"/>
            </a:lvl4pPr>
            <a:lvl5pPr marL="173736" indent="-173736">
              <a:lnSpc>
                <a:spcPct val="11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69750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ase Study Image Botto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5DB76-3583-76FE-C21C-C259AAE771D0}"/>
              </a:ext>
            </a:extLst>
          </p:cNvPr>
          <p:cNvSpPr>
            <a:spLocks noGrp="1"/>
          </p:cNvSpPr>
          <p:nvPr>
            <p:ph type="title"/>
          </p:nvPr>
        </p:nvSpPr>
        <p:spPr>
          <a:xfrm>
            <a:off x="493713" y="306131"/>
            <a:ext cx="7032626" cy="165100"/>
          </a:xfrm>
        </p:spPr>
        <p:txBody>
          <a:bodyPr anchor="t"/>
          <a:lstStyle>
            <a:lvl1pPr marL="0" indent="0" algn="l" defTabSz="914400" rtl="0" eaLnBrk="1" latinLnBrk="0" hangingPunct="1">
              <a:lnSpc>
                <a:spcPct val="100000"/>
              </a:lnSpc>
              <a:spcBef>
                <a:spcPts val="1200"/>
              </a:spcBef>
              <a:spcAft>
                <a:spcPts val="600"/>
              </a:spcAft>
              <a:buClrTx/>
              <a:buFont typeface="Calibri" panose="020F0502020204030204" pitchFamily="34" charset="0"/>
              <a:buChar char="​"/>
              <a:tabLst/>
              <a:defRPr lang="en-US" sz="1200" b="0" i="0" kern="1200" cap="all" baseline="0" dirty="0">
                <a:solidFill>
                  <a:schemeClr val="accent2"/>
                </a:solidFill>
                <a:latin typeface="+mn-lt"/>
                <a:ea typeface="ES Build" pitchFamily="2" charset="77"/>
                <a:cs typeface="+mn-cs"/>
              </a:defRPr>
            </a:lvl1pPr>
          </a:lstStyle>
          <a:p>
            <a:r>
              <a:rPr lang="en-US"/>
              <a:t>Click to edit Master title style</a:t>
            </a:r>
          </a:p>
        </p:txBody>
      </p:sp>
      <p:sp>
        <p:nvSpPr>
          <p:cNvPr id="3" name="Footer Placeholder 2">
            <a:extLst>
              <a:ext uri="{FF2B5EF4-FFF2-40B4-BE49-F238E27FC236}">
                <a16:creationId xmlns:a16="http://schemas.microsoft.com/office/drawing/2014/main" id="{3D483895-7F93-D609-F151-0BDE90B0F032}"/>
              </a:ext>
            </a:extLst>
          </p:cNvPr>
          <p:cNvSpPr>
            <a:spLocks noGrp="1"/>
          </p:cNvSpPr>
          <p:nvPr>
            <p:ph type="ftr" sz="quarter" idx="10"/>
          </p:nvPr>
        </p:nvSpPr>
        <p:spPr/>
        <p:txBody>
          <a:bodyPr/>
          <a:lstStyle/>
          <a:p>
            <a:endParaRPr lang="en-US"/>
          </a:p>
        </p:txBody>
      </p:sp>
      <p:sp>
        <p:nvSpPr>
          <p:cNvPr id="21" name="Picture Placeholder 20">
            <a:extLst>
              <a:ext uri="{FF2B5EF4-FFF2-40B4-BE49-F238E27FC236}">
                <a16:creationId xmlns:a16="http://schemas.microsoft.com/office/drawing/2014/main" id="{D97578E6-6029-1118-F8FB-B0AD6C1DEB98}"/>
              </a:ext>
            </a:extLst>
          </p:cNvPr>
          <p:cNvSpPr>
            <a:spLocks noGrp="1"/>
          </p:cNvSpPr>
          <p:nvPr>
            <p:ph type="pic" sz="quarter" idx="11" hasCustomPrompt="1"/>
          </p:nvPr>
        </p:nvSpPr>
        <p:spPr>
          <a:xfrm>
            <a:off x="489800" y="687509"/>
            <a:ext cx="1313600" cy="1023815"/>
          </a:xfrm>
        </p:spPr>
        <p:txBody>
          <a:bodyPr/>
          <a:lstStyle>
            <a:lvl1pPr algn="ctr">
              <a:defRPr sz="1400"/>
            </a:lvl1pPr>
          </a:lstStyle>
          <a:p>
            <a:r>
              <a:rPr lang="en-US"/>
              <a:t>Place logo here</a:t>
            </a:r>
          </a:p>
        </p:txBody>
      </p:sp>
      <p:sp>
        <p:nvSpPr>
          <p:cNvPr id="31" name="Subtitle 2">
            <a:extLst>
              <a:ext uri="{FF2B5EF4-FFF2-40B4-BE49-F238E27FC236}">
                <a16:creationId xmlns:a16="http://schemas.microsoft.com/office/drawing/2014/main" id="{6AE8CF52-B763-1B63-535D-583AAAF93819}"/>
              </a:ext>
            </a:extLst>
          </p:cNvPr>
          <p:cNvSpPr>
            <a:spLocks noGrp="1"/>
          </p:cNvSpPr>
          <p:nvPr>
            <p:ph type="subTitle" idx="1" hasCustomPrompt="1"/>
          </p:nvPr>
        </p:nvSpPr>
        <p:spPr>
          <a:xfrm>
            <a:off x="8123237" y="431800"/>
            <a:ext cx="3573461" cy="1279525"/>
          </a:xfrm>
        </p:spPr>
        <p:txBody>
          <a:bodyPr anchor="t"/>
          <a:lstStyle>
            <a:lvl1pPr marL="0" indent="0" algn="l">
              <a:buNone/>
              <a:defRPr kumimoji="0" lang="en-US" sz="2100" b="0" i="0" u="none" strike="noStrike" kern="0" cap="none" spc="0" normalizeH="0" baseline="0" dirty="0">
                <a:ln>
                  <a:noFill/>
                </a:ln>
                <a:solidFill>
                  <a:srgbClr val="8D70F3"/>
                </a:solidFill>
                <a:effectLst/>
                <a:uLnTx/>
                <a:uFillTx/>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lick to edit case study title </a:t>
            </a:r>
          </a:p>
        </p:txBody>
      </p:sp>
      <p:sp>
        <p:nvSpPr>
          <p:cNvPr id="34" name="Text Placeholder 33">
            <a:extLst>
              <a:ext uri="{FF2B5EF4-FFF2-40B4-BE49-F238E27FC236}">
                <a16:creationId xmlns:a16="http://schemas.microsoft.com/office/drawing/2014/main" id="{7AA290A0-7732-7405-4696-069B12A00EC5}"/>
              </a:ext>
            </a:extLst>
          </p:cNvPr>
          <p:cNvSpPr>
            <a:spLocks noGrp="1"/>
          </p:cNvSpPr>
          <p:nvPr>
            <p:ph type="body" sz="quarter" idx="13"/>
          </p:nvPr>
        </p:nvSpPr>
        <p:spPr>
          <a:xfrm>
            <a:off x="351493" y="1862713"/>
            <a:ext cx="6817658" cy="4306312"/>
          </a:xfrm>
        </p:spPr>
        <p:txBody>
          <a:bodyPr/>
          <a:lstStyle>
            <a:lvl1pPr marL="146304" indent="-146304">
              <a:spcAft>
                <a:spcPts val="1200"/>
              </a:spcAft>
              <a:buFont typeface="ES Build Neutral" pitchFamily="50" charset="0"/>
              <a:buChar char="“"/>
              <a:defRPr sz="3400">
                <a:latin typeface="ES Build "/>
              </a:defRPr>
            </a:lvl1pPr>
            <a:lvl2pPr marL="344488" indent="-182880">
              <a:buFont typeface="Microsoft Sans Serif" panose="020B0604020202020204" pitchFamily="34" charset="0"/>
              <a:buChar char="—"/>
              <a:defRPr lang="en-US" sz="1600" b="0" i="0" kern="1200" dirty="0">
                <a:solidFill>
                  <a:schemeClr val="accent4"/>
                </a:solidFill>
                <a:latin typeface="+mn-lt"/>
                <a:ea typeface="ES Build" pitchFamily="2" charset="77"/>
                <a:cs typeface="+mn-cs"/>
              </a:defRPr>
            </a:lvl2pPr>
            <a:lvl3pPr marL="344488" indent="-182880">
              <a:defRPr/>
            </a:lvl3pPr>
            <a:lvl4pPr marL="344488" indent="-182880">
              <a:defRPr/>
            </a:lvl4pPr>
            <a:lvl5pPr marL="344488" indent="-18288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2" name="Content Placeholder 40">
            <a:extLst>
              <a:ext uri="{FF2B5EF4-FFF2-40B4-BE49-F238E27FC236}">
                <a16:creationId xmlns:a16="http://schemas.microsoft.com/office/drawing/2014/main" id="{FF2532BF-4680-53D7-A2A5-5AE22750B87F}"/>
              </a:ext>
            </a:extLst>
          </p:cNvPr>
          <p:cNvSpPr>
            <a:spLocks noGrp="1"/>
          </p:cNvSpPr>
          <p:nvPr>
            <p:ph sz="quarter" idx="14"/>
          </p:nvPr>
        </p:nvSpPr>
        <p:spPr>
          <a:xfrm>
            <a:off x="8123239" y="1936959"/>
            <a:ext cx="3573461" cy="4237418"/>
          </a:xfrm>
        </p:spPr>
        <p:txBody>
          <a:bodyPr/>
          <a:lstStyle>
            <a:lvl1pPr>
              <a:spcAft>
                <a:spcPts val="900"/>
              </a:spcAft>
              <a:defRPr>
                <a:solidFill>
                  <a:schemeClr val="accent2"/>
                </a:solidFill>
              </a:defRPr>
            </a:lvl1pPr>
            <a:lvl2pPr marL="0" indent="0">
              <a:lnSpc>
                <a:spcPct val="110000"/>
              </a:lnSpc>
              <a:buFont typeface="Calibri" panose="020F0502020204030204" pitchFamily="34" charset="0"/>
              <a:buChar char="​"/>
              <a:defRPr sz="1600"/>
            </a:lvl2pPr>
            <a:lvl3pPr marL="173736" indent="-173736">
              <a:lnSpc>
                <a:spcPct val="110000"/>
              </a:lnSpc>
              <a:defRPr sz="1200"/>
            </a:lvl3pPr>
            <a:lvl4pPr marL="173736" indent="-173736">
              <a:lnSpc>
                <a:spcPct val="110000"/>
              </a:lnSpc>
              <a:defRPr sz="1200"/>
            </a:lvl4pPr>
            <a:lvl5pPr marL="173736" indent="-173736">
              <a:lnSpc>
                <a:spcPct val="110000"/>
              </a:lnSpc>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D1D0442B-7798-917E-7B5A-5746626D2C01}"/>
              </a:ext>
            </a:extLst>
          </p:cNvPr>
          <p:cNvCxnSpPr>
            <a:cxnSpLocks/>
          </p:cNvCxnSpPr>
          <p:nvPr userDrawn="1"/>
        </p:nvCxnSpPr>
        <p:spPr>
          <a:xfrm>
            <a:off x="7722165" y="335280"/>
            <a:ext cx="0" cy="5839097"/>
          </a:xfrm>
          <a:prstGeom prst="line">
            <a:avLst/>
          </a:prstGeom>
          <a:noFill/>
          <a:ln w="12700" cap="rnd" cmpd="sng" algn="ctr">
            <a:solidFill>
              <a:srgbClr val="E7E6E6"/>
            </a:solidFill>
            <a:prstDash val="solid"/>
            <a:round/>
            <a:headEnd type="none" w="med" len="sm"/>
            <a:tailEnd type="none" w="sm" len="sm"/>
          </a:ln>
          <a:effectLst/>
        </p:spPr>
      </p:cxnSp>
      <p:sp>
        <p:nvSpPr>
          <p:cNvPr id="11" name="Picture Placeholder 10">
            <a:extLst>
              <a:ext uri="{FF2B5EF4-FFF2-40B4-BE49-F238E27FC236}">
                <a16:creationId xmlns:a16="http://schemas.microsoft.com/office/drawing/2014/main" id="{5D2E1115-292E-049E-1996-E0C28123E335}"/>
              </a:ext>
            </a:extLst>
          </p:cNvPr>
          <p:cNvSpPr>
            <a:spLocks noGrp="1" noChangeAspect="1"/>
          </p:cNvSpPr>
          <p:nvPr>
            <p:ph type="pic" sz="quarter" idx="17" hasCustomPrompt="1"/>
          </p:nvPr>
        </p:nvSpPr>
        <p:spPr>
          <a:xfrm>
            <a:off x="3259681" y="3929988"/>
            <a:ext cx="3909469" cy="2239037"/>
          </a:xfrm>
          <a:custGeom>
            <a:avLst/>
            <a:gdLst>
              <a:gd name="connsiteX0" fmla="*/ 0 w 7823270"/>
              <a:gd name="connsiteY0" fmla="*/ 0 h 4480555"/>
              <a:gd name="connsiteX1" fmla="*/ 7435077 w 7823270"/>
              <a:gd name="connsiteY1" fmla="*/ 0 h 4480555"/>
              <a:gd name="connsiteX2" fmla="*/ 7566290 w 7823270"/>
              <a:gd name="connsiteY2" fmla="*/ 54466 h 4480555"/>
              <a:gd name="connsiteX3" fmla="*/ 7768804 w 7823270"/>
              <a:gd name="connsiteY3" fmla="*/ 256980 h 4480555"/>
              <a:gd name="connsiteX4" fmla="*/ 7823270 w 7823270"/>
              <a:gd name="connsiteY4" fmla="*/ 388193 h 4480555"/>
              <a:gd name="connsiteX5" fmla="*/ 7823270 w 7823270"/>
              <a:gd name="connsiteY5" fmla="*/ 4480555 h 4480555"/>
              <a:gd name="connsiteX6" fmla="*/ 388688 w 7823270"/>
              <a:gd name="connsiteY6" fmla="*/ 4480555 h 4480555"/>
              <a:gd name="connsiteX7" fmla="*/ 256980 w 7823270"/>
              <a:gd name="connsiteY7" fmla="*/ 4426089 h 4480555"/>
              <a:gd name="connsiteX8" fmla="*/ 54466 w 7823270"/>
              <a:gd name="connsiteY8" fmla="*/ 4223575 h 4480555"/>
              <a:gd name="connsiteX9" fmla="*/ 0 w 7823270"/>
              <a:gd name="connsiteY9" fmla="*/ 4092362 h 4480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23270" h="4480555">
                <a:moveTo>
                  <a:pt x="0" y="0"/>
                </a:moveTo>
                <a:lnTo>
                  <a:pt x="7435077" y="0"/>
                </a:lnTo>
                <a:cubicBezTo>
                  <a:pt x="7484097" y="0"/>
                  <a:pt x="7531630" y="19806"/>
                  <a:pt x="7566290" y="54466"/>
                </a:cubicBezTo>
                <a:cubicBezTo>
                  <a:pt x="7639572" y="127747"/>
                  <a:pt x="7695523" y="183698"/>
                  <a:pt x="7768804" y="256980"/>
                </a:cubicBezTo>
                <a:cubicBezTo>
                  <a:pt x="7803464" y="291640"/>
                  <a:pt x="7823270" y="338679"/>
                  <a:pt x="7823270" y="388193"/>
                </a:cubicBezTo>
                <a:lnTo>
                  <a:pt x="7823270" y="4480555"/>
                </a:lnTo>
                <a:lnTo>
                  <a:pt x="388688" y="4480555"/>
                </a:lnTo>
                <a:cubicBezTo>
                  <a:pt x="339173" y="4480555"/>
                  <a:pt x="291640" y="4460749"/>
                  <a:pt x="256980" y="4426089"/>
                </a:cubicBezTo>
                <a:cubicBezTo>
                  <a:pt x="183698" y="4352807"/>
                  <a:pt x="127747" y="4296857"/>
                  <a:pt x="54466" y="4223575"/>
                </a:cubicBezTo>
                <a:cubicBezTo>
                  <a:pt x="19806" y="4188915"/>
                  <a:pt x="0" y="4141876"/>
                  <a:pt x="0" y="4092362"/>
                </a:cubicBezTo>
                <a:close/>
              </a:path>
            </a:pathLst>
          </a:custGeom>
          <a:solidFill>
            <a:schemeClr val="bg2"/>
          </a:solidFill>
        </p:spPr>
        <p:txBody>
          <a:bodyPr vert="horz" wrap="square" lIns="0" tIns="0" rIns="0" bIns="0" rtlCol="0">
            <a:noAutofit/>
          </a:bodyPr>
          <a:lstStyle>
            <a:lvl1pPr algn="ctr">
              <a:defRPr lang="en-US" sz="1400"/>
            </a:lvl1pPr>
          </a:lstStyle>
          <a:p>
            <a:r>
              <a:rPr lang="en-US"/>
              <a:t>Please use Veeam approved images</a:t>
            </a:r>
          </a:p>
        </p:txBody>
      </p:sp>
    </p:spTree>
    <p:extLst>
      <p:ext uri="{BB962C8B-B14F-4D97-AF65-F5344CB8AC3E}">
        <p14:creationId xmlns:p14="http://schemas.microsoft.com/office/powerpoint/2010/main" val="225162684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Left-side Title Dark">
    <p:bg>
      <p:bgPr>
        <a:solidFill>
          <a:schemeClr val="accent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F0E8D4A-B91E-1851-1391-1D742053E08C}"/>
              </a:ext>
            </a:extLst>
          </p:cNvPr>
          <p:cNvSpPr>
            <a:spLocks noGrp="1"/>
          </p:cNvSpPr>
          <p:nvPr>
            <p:ph type="title"/>
          </p:nvPr>
        </p:nvSpPr>
        <p:spPr>
          <a:xfrm>
            <a:off x="493288" y="2397125"/>
            <a:ext cx="2861099" cy="1471461"/>
          </a:xfrm>
        </p:spPr>
        <p:txBody>
          <a:bodyPr>
            <a:noAutofit/>
          </a:bodyPr>
          <a:lstStyle>
            <a:lvl1pPr>
              <a:defRPr>
                <a:solidFill>
                  <a:schemeClr val="bg1"/>
                </a:solidFill>
              </a:defRPr>
            </a:lvl1pPr>
          </a:lstStyle>
          <a:p>
            <a:r>
              <a:rPr lang="en-US"/>
              <a:t>Click to edit Master title style</a:t>
            </a:r>
          </a:p>
        </p:txBody>
      </p:sp>
      <p:sp>
        <p:nvSpPr>
          <p:cNvPr id="2" name="Subtitle 2">
            <a:extLst>
              <a:ext uri="{FF2B5EF4-FFF2-40B4-BE49-F238E27FC236}">
                <a16:creationId xmlns:a16="http://schemas.microsoft.com/office/drawing/2014/main" id="{2AC6C291-DD7C-A3F1-3AE8-B348ECD39CAE}"/>
              </a:ext>
            </a:extLst>
          </p:cNvPr>
          <p:cNvSpPr>
            <a:spLocks noGrp="1"/>
          </p:cNvSpPr>
          <p:nvPr>
            <p:ph type="subTitle" idx="1"/>
          </p:nvPr>
        </p:nvSpPr>
        <p:spPr>
          <a:xfrm>
            <a:off x="493713" y="3997587"/>
            <a:ext cx="2860675" cy="628841"/>
          </a:xfrm>
        </p:spPr>
        <p:txBody>
          <a:bodyPr>
            <a:noAutofit/>
          </a:bodyPr>
          <a:lstStyle>
            <a:lvl1pPr marL="0" indent="0" algn="l">
              <a:buNone/>
              <a:defRPr sz="21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7" name="Graphic 6">
            <a:extLst>
              <a:ext uri="{FF2B5EF4-FFF2-40B4-BE49-F238E27FC236}">
                <a16:creationId xmlns:a16="http://schemas.microsoft.com/office/drawing/2014/main" id="{45F8E6F8-AFDE-B60E-EB55-C0EE63349CDF}"/>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029188" y="6363550"/>
            <a:ext cx="667512" cy="202915"/>
          </a:xfrm>
          <a:prstGeom prst="rect">
            <a:avLst/>
          </a:prstGeom>
        </p:spPr>
      </p:pic>
      <p:sp>
        <p:nvSpPr>
          <p:cNvPr id="8" name="Footer Placeholder 66">
            <a:extLst>
              <a:ext uri="{FF2B5EF4-FFF2-40B4-BE49-F238E27FC236}">
                <a16:creationId xmlns:a16="http://schemas.microsoft.com/office/drawing/2014/main" id="{8143B07C-D2B0-AF1A-2710-1E5BDDEBE1BD}"/>
              </a:ext>
            </a:extLst>
          </p:cNvPr>
          <p:cNvSpPr>
            <a:spLocks noGrp="1"/>
          </p:cNvSpPr>
          <p:nvPr>
            <p:ph type="ftr" sz="quarter" idx="3"/>
          </p:nvPr>
        </p:nvSpPr>
        <p:spPr>
          <a:xfrm>
            <a:off x="493288" y="6405456"/>
            <a:ext cx="9893725" cy="107722"/>
          </a:xfrm>
          <a:prstGeom prst="rect">
            <a:avLst/>
          </a:prstGeom>
        </p:spPr>
        <p:txBody>
          <a:bodyPr vert="horz" lIns="0" tIns="0" rIns="0" bIns="0" rtlCol="0" anchor="b"/>
          <a:lstStyle>
            <a:lvl1pPr algn="l">
              <a:defRPr sz="700">
                <a:solidFill>
                  <a:schemeClr val="bg1"/>
                </a:solidFill>
              </a:defRPr>
            </a:lvl1pPr>
          </a:lstStyle>
          <a:p>
            <a:endParaRPr lang="en-US"/>
          </a:p>
        </p:txBody>
      </p:sp>
      <p:sp>
        <p:nvSpPr>
          <p:cNvPr id="3" name="TextBox 2">
            <a:extLst>
              <a:ext uri="{FF2B5EF4-FFF2-40B4-BE49-F238E27FC236}">
                <a16:creationId xmlns:a16="http://schemas.microsoft.com/office/drawing/2014/main" id="{1A309DFA-B603-FC19-3BBE-137AD8327257}"/>
              </a:ext>
            </a:extLst>
          </p:cNvPr>
          <p:cNvSpPr txBox="1"/>
          <p:nvPr userDrawn="1"/>
        </p:nvSpPr>
        <p:spPr>
          <a:xfrm>
            <a:off x="493288" y="6562481"/>
            <a:ext cx="5293842" cy="107722"/>
          </a:xfrm>
          <a:prstGeom prst="rect">
            <a:avLst/>
          </a:prstGeom>
          <a:noFill/>
        </p:spPr>
        <p:txBody>
          <a:bodyPr wrap="square" lIns="0" tIns="0" rIns="0" bIns="0">
            <a:spAutoFit/>
          </a:bodyPr>
          <a:lstStyle/>
          <a:p>
            <a:r>
              <a:rPr lang="en-US" sz="700">
                <a:solidFill>
                  <a:schemeClr val="bg1"/>
                </a:solidFill>
              </a:rPr>
              <a:t>© 2024 Veeam Software. Confidential information. All rights reserved. All trademarks are the property of their respective owners. </a:t>
            </a:r>
          </a:p>
        </p:txBody>
      </p:sp>
    </p:spTree>
    <p:extLst>
      <p:ext uri="{BB962C8B-B14F-4D97-AF65-F5344CB8AC3E}">
        <p14:creationId xmlns:p14="http://schemas.microsoft.com/office/powerpoint/2010/main" val="36352210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e Dark">
    <p:bg>
      <p:bgPr>
        <a:solidFill>
          <a:schemeClr val="accent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E1EFF03-2B6D-DE21-5340-445DA0736492}"/>
              </a:ext>
            </a:extLst>
          </p:cNvPr>
          <p:cNvSpPr>
            <a:spLocks noGrp="1"/>
          </p:cNvSpPr>
          <p:nvPr>
            <p:ph type="title"/>
          </p:nvPr>
        </p:nvSpPr>
        <p:spPr>
          <a:xfrm>
            <a:off x="1206500" y="1484463"/>
            <a:ext cx="9775825" cy="3655862"/>
          </a:xfrm>
        </p:spPr>
        <p:txBody>
          <a:bodyPr anchor="t">
            <a:noAutofit/>
          </a:bodyPr>
          <a:lstStyle>
            <a:lvl1pPr>
              <a:lnSpc>
                <a:spcPct val="87000"/>
              </a:lnSpc>
              <a:defRPr lang="en-US" sz="5500" b="0" i="0" kern="1200" dirty="0">
                <a:solidFill>
                  <a:schemeClr val="accent2"/>
                </a:solidFill>
                <a:effectLst/>
                <a:latin typeface="+mn-lt"/>
                <a:ea typeface="ES Build" pitchFamily="2" charset="77"/>
                <a:cs typeface="+mn-cs"/>
              </a:defRPr>
            </a:lvl1pPr>
          </a:lstStyle>
          <a:p>
            <a:r>
              <a:rPr lang="en-US"/>
              <a:t>Click to edit Master title style</a:t>
            </a:r>
          </a:p>
        </p:txBody>
      </p:sp>
      <p:cxnSp>
        <p:nvCxnSpPr>
          <p:cNvPr id="5" name="Straight Connector 4">
            <a:extLst>
              <a:ext uri="{FF2B5EF4-FFF2-40B4-BE49-F238E27FC236}">
                <a16:creationId xmlns:a16="http://schemas.microsoft.com/office/drawing/2014/main" id="{C6F084B1-AF97-1A4C-F7E6-96B3B93F93A8}"/>
              </a:ext>
            </a:extLst>
          </p:cNvPr>
          <p:cNvCxnSpPr>
            <a:cxnSpLocks/>
          </p:cNvCxnSpPr>
          <p:nvPr userDrawn="1"/>
        </p:nvCxnSpPr>
        <p:spPr>
          <a:xfrm>
            <a:off x="1206500" y="5308772"/>
            <a:ext cx="9775825" cy="0"/>
          </a:xfrm>
          <a:prstGeom prst="line">
            <a:avLst/>
          </a:prstGeom>
          <a:ln w="19050" cap="sq">
            <a:solidFill>
              <a:srgbClr val="8E71F4"/>
            </a:solidFill>
            <a:miter lim="800000"/>
            <a:headEnd type="none" w="med" len="sm"/>
            <a:tailEnd type="none" w="sm" len="sm"/>
          </a:ln>
        </p:spPr>
        <p:style>
          <a:lnRef idx="1">
            <a:schemeClr val="accent1"/>
          </a:lnRef>
          <a:fillRef idx="0">
            <a:schemeClr val="accent1"/>
          </a:fillRef>
          <a:effectRef idx="0">
            <a:schemeClr val="accent1"/>
          </a:effectRef>
          <a:fontRef idx="minor">
            <a:schemeClr val="tx1"/>
          </a:fontRef>
        </p:style>
      </p:cxnSp>
      <p:sp>
        <p:nvSpPr>
          <p:cNvPr id="26" name="object 2">
            <a:extLst>
              <a:ext uri="{FF2B5EF4-FFF2-40B4-BE49-F238E27FC236}">
                <a16:creationId xmlns:a16="http://schemas.microsoft.com/office/drawing/2014/main" id="{37F595A5-0DF7-C3DE-1313-FCCFBFD328CF}"/>
              </a:ext>
            </a:extLst>
          </p:cNvPr>
          <p:cNvSpPr/>
          <p:nvPr userDrawn="1"/>
        </p:nvSpPr>
        <p:spPr>
          <a:xfrm>
            <a:off x="513513" y="843504"/>
            <a:ext cx="686638" cy="686636"/>
          </a:xfrm>
          <a:custGeom>
            <a:avLst/>
            <a:gdLst/>
            <a:ahLst/>
            <a:cxnLst/>
            <a:rect l="l" t="t" r="r" b="b"/>
            <a:pathLst>
              <a:path w="828675" h="828675">
                <a:moveTo>
                  <a:pt x="828121" y="0"/>
                </a:moveTo>
                <a:lnTo>
                  <a:pt x="511712" y="565"/>
                </a:lnTo>
                <a:lnTo>
                  <a:pt x="468206" y="4936"/>
                </a:lnTo>
                <a:lnTo>
                  <a:pt x="426776" y="17574"/>
                </a:lnTo>
                <a:lnTo>
                  <a:pt x="388579" y="37999"/>
                </a:lnTo>
                <a:lnTo>
                  <a:pt x="354774" y="65736"/>
                </a:lnTo>
                <a:lnTo>
                  <a:pt x="65736" y="354774"/>
                </a:lnTo>
                <a:lnTo>
                  <a:pt x="38004" y="388579"/>
                </a:lnTo>
                <a:lnTo>
                  <a:pt x="17577" y="426774"/>
                </a:lnTo>
                <a:lnTo>
                  <a:pt x="4938" y="468201"/>
                </a:lnTo>
                <a:lnTo>
                  <a:pt x="565" y="511701"/>
                </a:lnTo>
                <a:lnTo>
                  <a:pt x="0" y="828110"/>
                </a:lnTo>
                <a:lnTo>
                  <a:pt x="235553" y="828110"/>
                </a:lnTo>
                <a:lnTo>
                  <a:pt x="236087" y="280776"/>
                </a:lnTo>
                <a:lnTo>
                  <a:pt x="239616" y="263356"/>
                </a:lnTo>
                <a:lnTo>
                  <a:pt x="249213" y="249132"/>
                </a:lnTo>
                <a:lnTo>
                  <a:pt x="263438" y="239540"/>
                </a:lnTo>
                <a:lnTo>
                  <a:pt x="280850" y="236013"/>
                </a:lnTo>
                <a:lnTo>
                  <a:pt x="828121" y="235553"/>
                </a:lnTo>
                <a:lnTo>
                  <a:pt x="828121" y="0"/>
                </a:lnTo>
                <a:close/>
              </a:path>
            </a:pathLst>
          </a:custGeom>
          <a:gradFill flip="none" rotWithShape="1">
            <a:gsLst>
              <a:gs pos="0">
                <a:srgbClr val="00824A"/>
              </a:gs>
              <a:gs pos="95413">
                <a:srgbClr val="96FFA1"/>
              </a:gs>
              <a:gs pos="32000">
                <a:srgbClr val="00D05D"/>
              </a:gs>
            </a:gsLst>
            <a:lin ang="8400000" scaled="0"/>
            <a:tileRect/>
          </a:gra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4F5860"/>
              </a:solidFill>
              <a:effectLst/>
              <a:uLnTx/>
              <a:uFillTx/>
            </a:endParaRPr>
          </a:p>
        </p:txBody>
      </p:sp>
      <p:sp>
        <p:nvSpPr>
          <p:cNvPr id="4" name="Subtitle 2">
            <a:extLst>
              <a:ext uri="{FF2B5EF4-FFF2-40B4-BE49-F238E27FC236}">
                <a16:creationId xmlns:a16="http://schemas.microsoft.com/office/drawing/2014/main" id="{402CC669-176C-2550-80B0-29B9C7809CB6}"/>
              </a:ext>
            </a:extLst>
          </p:cNvPr>
          <p:cNvSpPr>
            <a:spLocks noGrp="1"/>
          </p:cNvSpPr>
          <p:nvPr>
            <p:ph type="subTitle" idx="1" hasCustomPrompt="1"/>
          </p:nvPr>
        </p:nvSpPr>
        <p:spPr>
          <a:xfrm>
            <a:off x="1206499" y="5409780"/>
            <a:ext cx="9777413" cy="747931"/>
          </a:xfrm>
        </p:spPr>
        <p:txBody>
          <a:bodyPr>
            <a:noAutofit/>
          </a:bodyPr>
          <a:lstStyle>
            <a:lvl1pPr marL="0" indent="0" algn="l">
              <a:buNone/>
              <a:defRPr lang="en-US" sz="2400" b="0" i="0" kern="1200" dirty="0">
                <a:solidFill>
                  <a:srgbClr val="8E71F4"/>
                </a:solidFill>
                <a:latin typeface="+mn-lt"/>
                <a:ea typeface="ES Build" pitchFamily="2" charset="77"/>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96000"/>
              </a:lnSpc>
              <a:spcBef>
                <a:spcPts val="900"/>
              </a:spcBef>
              <a:spcAft>
                <a:spcPts val="300"/>
              </a:spcAft>
              <a:buClrTx/>
              <a:buFont typeface="Arial" panose="020B0604020202020204" pitchFamily="34" charset="0"/>
              <a:buNone/>
              <a:tabLst/>
            </a:pPr>
            <a:r>
              <a:rPr lang="en-US"/>
              <a:t>Attribution</a:t>
            </a:r>
          </a:p>
        </p:txBody>
      </p:sp>
    </p:spTree>
    <p:extLst>
      <p:ext uri="{BB962C8B-B14F-4D97-AF65-F5344CB8AC3E}">
        <p14:creationId xmlns:p14="http://schemas.microsoft.com/office/powerpoint/2010/main" val="1376756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Alterna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6" name="Freeform: Shape 45">
            <a:extLst>
              <a:ext uri="{FF2B5EF4-FFF2-40B4-BE49-F238E27FC236}">
                <a16:creationId xmlns:a16="http://schemas.microsoft.com/office/drawing/2014/main" id="{06951534-1768-2305-3944-BBB010087506}"/>
              </a:ext>
            </a:extLst>
          </p:cNvPr>
          <p:cNvSpPr/>
          <p:nvPr userDrawn="1"/>
        </p:nvSpPr>
        <p:spPr>
          <a:xfrm>
            <a:off x="0" y="2774"/>
            <a:ext cx="12192000" cy="6376946"/>
          </a:xfrm>
          <a:custGeom>
            <a:avLst/>
            <a:gdLst>
              <a:gd name="connsiteX0" fmla="*/ 3413735 w 12192000"/>
              <a:gd name="connsiteY0" fmla="*/ 0 h 6376946"/>
              <a:gd name="connsiteX1" fmla="*/ 3715970 w 12192000"/>
              <a:gd name="connsiteY1" fmla="*/ 10885 h 6376946"/>
              <a:gd name="connsiteX2" fmla="*/ 9043454 w 12192000"/>
              <a:gd name="connsiteY2" fmla="*/ 5327108 h 6376946"/>
              <a:gd name="connsiteX3" fmla="*/ 10008674 w 12192000"/>
              <a:gd name="connsiteY3" fmla="*/ 5327108 h 6376946"/>
              <a:gd name="connsiteX4" fmla="*/ 12192000 w 12192000"/>
              <a:gd name="connsiteY4" fmla="*/ 3143953 h 6376946"/>
              <a:gd name="connsiteX5" fmla="*/ 12192000 w 12192000"/>
              <a:gd name="connsiteY5" fmla="*/ 6376946 h 6376946"/>
              <a:gd name="connsiteX6" fmla="*/ 6409546 w 12192000"/>
              <a:gd name="connsiteY6" fmla="*/ 6376946 h 6376946"/>
              <a:gd name="connsiteX7" fmla="*/ 4004673 w 12192000"/>
              <a:gd name="connsiteY7" fmla="*/ 5376319 h 6376946"/>
              <a:gd name="connsiteX8" fmla="*/ 3694038 w 12192000"/>
              <a:gd name="connsiteY8" fmla="*/ 5066338 h 6376946"/>
              <a:gd name="connsiteX9" fmla="*/ 0 w 12192000"/>
              <a:gd name="connsiteY9" fmla="*/ 679707 h 6376946"/>
              <a:gd name="connsiteX10" fmla="*/ 0 w 12192000"/>
              <a:gd name="connsiteY10" fmla="*/ 1988 h 6376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376946">
                <a:moveTo>
                  <a:pt x="3413735" y="0"/>
                </a:moveTo>
                <a:lnTo>
                  <a:pt x="3715970" y="10885"/>
                </a:lnTo>
                <a:lnTo>
                  <a:pt x="9043454" y="5327108"/>
                </a:lnTo>
                <a:cubicBezTo>
                  <a:pt x="9305208" y="5605972"/>
                  <a:pt x="9746920" y="5605972"/>
                  <a:pt x="10008674" y="5327108"/>
                </a:cubicBezTo>
                <a:lnTo>
                  <a:pt x="12192000" y="3143953"/>
                </a:lnTo>
                <a:lnTo>
                  <a:pt x="12192000" y="6376946"/>
                </a:lnTo>
                <a:lnTo>
                  <a:pt x="6409546" y="6376946"/>
                </a:lnTo>
                <a:cubicBezTo>
                  <a:pt x="5509763" y="6376946"/>
                  <a:pt x="4642700" y="6016064"/>
                  <a:pt x="4004673" y="5376319"/>
                </a:cubicBezTo>
                <a:lnTo>
                  <a:pt x="3694038" y="5066338"/>
                </a:lnTo>
                <a:lnTo>
                  <a:pt x="0" y="679707"/>
                </a:lnTo>
                <a:lnTo>
                  <a:pt x="0" y="1988"/>
                </a:lnTo>
                <a:close/>
              </a:path>
            </a:pathLst>
          </a:custGeom>
          <a:gradFill flip="none" rotWithShape="1">
            <a:gsLst>
              <a:gs pos="56000">
                <a:srgbClr val="00D05D">
                  <a:lumMod val="60000"/>
                  <a:lumOff val="40000"/>
                  <a:alpha val="9000"/>
                </a:srgbClr>
              </a:gs>
              <a:gs pos="100000">
                <a:srgbClr val="00D05D">
                  <a:lumMod val="60000"/>
                  <a:lumOff val="40000"/>
                  <a:alpha val="41000"/>
                </a:srgbClr>
              </a:gs>
            </a:gsLst>
            <a:lin ang="2400000" scaled="0"/>
            <a:tileRect/>
          </a:gradFill>
          <a:ln>
            <a:noFill/>
          </a:ln>
        </p:spPr>
        <p:txBody>
          <a:bodyPr vert="horz" wrap="square" lIns="91440" tIns="45720" rIns="91440" bIns="45720" numCol="1" anchor="t" anchorCtr="0" compatLnSpc="1">
            <a:prstTxWarp prst="textNoShape">
              <a:avLst/>
            </a:prstTxWarp>
            <a:noAutofit/>
          </a:bodyPr>
          <a:lstStyle/>
          <a:p>
            <a:pPr marR="0" lvl="0" indent="0" fontAlgn="auto">
              <a:lnSpc>
                <a:spcPct val="100000"/>
              </a:lnSpc>
              <a:spcBef>
                <a:spcPts val="0"/>
              </a:spcBef>
              <a:spcAft>
                <a:spcPts val="0"/>
              </a:spcAft>
              <a:buClrTx/>
              <a:buSzTx/>
              <a:buFontTx/>
              <a:buNone/>
              <a:tabLst/>
            </a:pPr>
            <a:endParaRPr kumimoji="0" lang="en-US" b="0" i="0" u="none" strike="noStrike" kern="0" cap="none" spc="0" normalizeH="0" baseline="0">
              <a:ln>
                <a:noFill/>
              </a:ln>
              <a:solidFill>
                <a:srgbClr val="4F5860"/>
              </a:solidFill>
              <a:effectLst/>
              <a:uLnTx/>
              <a:uFillTx/>
            </a:endParaRPr>
          </a:p>
        </p:txBody>
      </p:sp>
      <p:sp>
        <p:nvSpPr>
          <p:cNvPr id="29" name="Text Placeholder 16">
            <a:extLst>
              <a:ext uri="{FF2B5EF4-FFF2-40B4-BE49-F238E27FC236}">
                <a16:creationId xmlns:a16="http://schemas.microsoft.com/office/drawing/2014/main" id="{EAC99465-3B98-DDF5-D9D9-3CF8E6DB5A7F}"/>
              </a:ext>
            </a:extLst>
          </p:cNvPr>
          <p:cNvSpPr>
            <a:spLocks noGrp="1"/>
          </p:cNvSpPr>
          <p:nvPr>
            <p:ph type="body" sz="quarter" idx="14" hasCustomPrompt="1"/>
          </p:nvPr>
        </p:nvSpPr>
        <p:spPr>
          <a:xfrm>
            <a:off x="1766494" y="4972957"/>
            <a:ext cx="2140840" cy="939289"/>
          </a:xfrm>
        </p:spPr>
        <p:txBody>
          <a:bodyPr>
            <a:noAutofit/>
          </a:bodyPr>
          <a:lstStyle>
            <a:lvl1pPr marL="0" indent="0">
              <a:lnSpc>
                <a:spcPct val="80000"/>
              </a:lnSpc>
              <a:buNone/>
              <a:defRPr sz="2400">
                <a:solidFill>
                  <a:schemeClr val="accent1"/>
                </a:solidFill>
                <a:latin typeface="+mj-lt"/>
              </a:defRPr>
            </a:lvl1pPr>
            <a:lvl2pPr marL="0" indent="0">
              <a:lnSpc>
                <a:spcPct val="80000"/>
              </a:lnSpc>
              <a:buNone/>
              <a:defRPr sz="1600" b="0">
                <a:solidFill>
                  <a:schemeClr val="accent1"/>
                </a:solidFill>
              </a:defRPr>
            </a:lvl2pPr>
          </a:lstStyle>
          <a:p>
            <a:pPr lvl="0"/>
            <a:r>
              <a:rPr lang="en-US"/>
              <a:t>Speaker</a:t>
            </a:r>
            <a:br>
              <a:rPr lang="en-US"/>
            </a:br>
            <a:r>
              <a:rPr lang="en-US"/>
              <a:t>name</a:t>
            </a:r>
          </a:p>
          <a:p>
            <a:pPr lvl="1"/>
            <a:r>
              <a:rPr lang="en-US"/>
              <a:t>Title</a:t>
            </a:r>
          </a:p>
        </p:txBody>
      </p:sp>
      <p:sp>
        <p:nvSpPr>
          <p:cNvPr id="30" name="TextBox 29">
            <a:extLst>
              <a:ext uri="{FF2B5EF4-FFF2-40B4-BE49-F238E27FC236}">
                <a16:creationId xmlns:a16="http://schemas.microsoft.com/office/drawing/2014/main" id="{24F7A5B0-E8E8-DEA8-198F-09DE3F82BE11}"/>
              </a:ext>
            </a:extLst>
          </p:cNvPr>
          <p:cNvSpPr txBox="1"/>
          <p:nvPr userDrawn="1"/>
        </p:nvSpPr>
        <p:spPr>
          <a:xfrm>
            <a:off x="765932" y="6562482"/>
            <a:ext cx="5211836" cy="107722"/>
          </a:xfrm>
          <a:prstGeom prst="rect">
            <a:avLst/>
          </a:prstGeom>
          <a:noFill/>
        </p:spPr>
        <p:txBody>
          <a:bodyPr wrap="square" lIns="0" tIns="0" rIns="0" bIns="0">
            <a:spAutoFit/>
          </a:bodyPr>
          <a:lstStyle/>
          <a:p>
            <a:r>
              <a:rPr lang="en-US" sz="700">
                <a:solidFill>
                  <a:schemeClr val="accent1"/>
                </a:solidFill>
              </a:rPr>
              <a:t>© 2024 Veeam Software. Confidential information. All rights reserved. All trademarks are the property of their respective owners. </a:t>
            </a:r>
          </a:p>
        </p:txBody>
      </p:sp>
      <p:sp>
        <p:nvSpPr>
          <p:cNvPr id="31" name="Picture Placeholder 22">
            <a:extLst>
              <a:ext uri="{FF2B5EF4-FFF2-40B4-BE49-F238E27FC236}">
                <a16:creationId xmlns:a16="http://schemas.microsoft.com/office/drawing/2014/main" id="{AC4C46DD-E399-4A5A-AD91-2088AA306B6F}"/>
              </a:ext>
            </a:extLst>
          </p:cNvPr>
          <p:cNvSpPr>
            <a:spLocks noGrp="1"/>
          </p:cNvSpPr>
          <p:nvPr>
            <p:ph type="pic" sz="quarter" idx="15"/>
          </p:nvPr>
        </p:nvSpPr>
        <p:spPr>
          <a:xfrm>
            <a:off x="782097" y="4861331"/>
            <a:ext cx="800100" cy="800100"/>
          </a:xfrm>
          <a:prstGeom prst="ellipse">
            <a:avLst/>
          </a:prstGeom>
          <a:solidFill>
            <a:schemeClr val="accent2">
              <a:lumMod val="50000"/>
            </a:schemeClr>
          </a:solidFill>
        </p:spPr>
        <p:txBody>
          <a:bodyPr anchor="ctr"/>
          <a:lstStyle>
            <a:lvl1pPr marL="0" indent="0" algn="ctr">
              <a:buNone/>
              <a:defRPr sz="800"/>
            </a:lvl1pPr>
          </a:lstStyle>
          <a:p>
            <a:r>
              <a:rPr lang="en-US"/>
              <a:t>Click icon to add picture</a:t>
            </a:r>
          </a:p>
        </p:txBody>
      </p:sp>
      <p:sp>
        <p:nvSpPr>
          <p:cNvPr id="32" name="Text Placeholder 24">
            <a:extLst>
              <a:ext uri="{FF2B5EF4-FFF2-40B4-BE49-F238E27FC236}">
                <a16:creationId xmlns:a16="http://schemas.microsoft.com/office/drawing/2014/main" id="{14E0BAFF-494F-1232-840B-B3A34B643C3D}"/>
              </a:ext>
            </a:extLst>
          </p:cNvPr>
          <p:cNvSpPr>
            <a:spLocks noGrp="1"/>
          </p:cNvSpPr>
          <p:nvPr>
            <p:ph type="body" sz="quarter" idx="16" hasCustomPrompt="1"/>
          </p:nvPr>
        </p:nvSpPr>
        <p:spPr>
          <a:xfrm>
            <a:off x="1770655" y="3917439"/>
            <a:ext cx="2124285" cy="965664"/>
          </a:xfrm>
        </p:spPr>
        <p:txBody>
          <a:bodyPr>
            <a:noAutofit/>
          </a:bodyPr>
          <a:lstStyle>
            <a:lvl1pPr marL="0" indent="0">
              <a:lnSpc>
                <a:spcPct val="80000"/>
              </a:lnSpc>
              <a:buNone/>
              <a:defRPr sz="2400">
                <a:solidFill>
                  <a:schemeClr val="accent1"/>
                </a:solidFill>
                <a:latin typeface="+mj-lt"/>
              </a:defRPr>
            </a:lvl1pPr>
            <a:lvl2pPr marL="0" indent="0">
              <a:lnSpc>
                <a:spcPct val="80000"/>
              </a:lnSpc>
              <a:buNone/>
              <a:defRPr sz="1600" b="0">
                <a:solidFill>
                  <a:schemeClr val="accent1"/>
                </a:solidFill>
              </a:defRPr>
            </a:lvl2pPr>
          </a:lstStyle>
          <a:p>
            <a:pPr lvl="0"/>
            <a:r>
              <a:rPr lang="en-US"/>
              <a:t>Speaker</a:t>
            </a:r>
            <a:br>
              <a:rPr lang="en-US"/>
            </a:br>
            <a:r>
              <a:rPr lang="en-US"/>
              <a:t>name</a:t>
            </a:r>
          </a:p>
          <a:p>
            <a:pPr lvl="1"/>
            <a:r>
              <a:rPr lang="en-US"/>
              <a:t>Title</a:t>
            </a:r>
          </a:p>
        </p:txBody>
      </p:sp>
      <p:sp>
        <p:nvSpPr>
          <p:cNvPr id="33" name="Picture Placeholder 26">
            <a:extLst>
              <a:ext uri="{FF2B5EF4-FFF2-40B4-BE49-F238E27FC236}">
                <a16:creationId xmlns:a16="http://schemas.microsoft.com/office/drawing/2014/main" id="{E463451C-6D2C-0E9F-3BBC-9411F1995BFB}"/>
              </a:ext>
            </a:extLst>
          </p:cNvPr>
          <p:cNvSpPr>
            <a:spLocks noGrp="1"/>
          </p:cNvSpPr>
          <p:nvPr>
            <p:ph type="pic" sz="quarter" idx="17"/>
          </p:nvPr>
        </p:nvSpPr>
        <p:spPr>
          <a:xfrm>
            <a:off x="741425" y="3830126"/>
            <a:ext cx="800100" cy="800100"/>
          </a:xfrm>
          <a:prstGeom prst="ellipse">
            <a:avLst/>
          </a:prstGeom>
          <a:solidFill>
            <a:schemeClr val="accent2">
              <a:lumMod val="50000"/>
            </a:schemeClr>
          </a:solidFill>
        </p:spPr>
        <p:txBody>
          <a:bodyPr anchor="ctr"/>
          <a:lstStyle>
            <a:lvl1pPr marL="0" indent="0" algn="ctr">
              <a:buNone/>
              <a:defRPr sz="800"/>
            </a:lvl1pPr>
          </a:lstStyle>
          <a:p>
            <a:r>
              <a:rPr lang="en-US"/>
              <a:t>Click icon to add picture</a:t>
            </a:r>
          </a:p>
        </p:txBody>
      </p:sp>
      <p:grpSp>
        <p:nvGrpSpPr>
          <p:cNvPr id="34" name="Group 33">
            <a:extLst>
              <a:ext uri="{FF2B5EF4-FFF2-40B4-BE49-F238E27FC236}">
                <a16:creationId xmlns:a16="http://schemas.microsoft.com/office/drawing/2014/main" id="{BC6CC62D-4433-B209-F6FD-85E8D95DB9D3}"/>
              </a:ext>
            </a:extLst>
          </p:cNvPr>
          <p:cNvGrpSpPr/>
          <p:nvPr userDrawn="1"/>
        </p:nvGrpSpPr>
        <p:grpSpPr>
          <a:xfrm flipH="1">
            <a:off x="4067175" y="1025525"/>
            <a:ext cx="7464726" cy="4793351"/>
            <a:chOff x="4308184" y="1263225"/>
            <a:chExt cx="6842099" cy="4393541"/>
          </a:xfrm>
          <a:solidFill>
            <a:schemeClr val="bg1"/>
          </a:solidFill>
        </p:grpSpPr>
        <p:pic>
          <p:nvPicPr>
            <p:cNvPr id="35" name="Graphic 34">
              <a:extLst>
                <a:ext uri="{FF2B5EF4-FFF2-40B4-BE49-F238E27FC236}">
                  <a16:creationId xmlns:a16="http://schemas.microsoft.com/office/drawing/2014/main" id="{8718E26C-ACB4-8BAB-D365-A7BAB3A6CE5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08184" y="1263225"/>
              <a:ext cx="6005985" cy="4393541"/>
            </a:xfrm>
            <a:prstGeom prst="rect">
              <a:avLst/>
            </a:prstGeom>
          </p:spPr>
        </p:pic>
        <p:pic>
          <p:nvPicPr>
            <p:cNvPr id="36" name="Graphic 35">
              <a:extLst>
                <a:ext uri="{FF2B5EF4-FFF2-40B4-BE49-F238E27FC236}">
                  <a16:creationId xmlns:a16="http://schemas.microsoft.com/office/drawing/2014/main" id="{7EA4986E-0877-5E34-8177-4EEFEF16302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144298" y="1263225"/>
              <a:ext cx="6005985" cy="4393541"/>
            </a:xfrm>
            <a:prstGeom prst="rect">
              <a:avLst/>
            </a:prstGeom>
          </p:spPr>
        </p:pic>
      </p:grpSp>
      <p:sp>
        <p:nvSpPr>
          <p:cNvPr id="37" name="Title 1">
            <a:extLst>
              <a:ext uri="{FF2B5EF4-FFF2-40B4-BE49-F238E27FC236}">
                <a16:creationId xmlns:a16="http://schemas.microsoft.com/office/drawing/2014/main" id="{08F0DC7C-00AA-1162-5EC7-EBB50D8D1DB7}"/>
              </a:ext>
            </a:extLst>
          </p:cNvPr>
          <p:cNvSpPr>
            <a:spLocks noGrp="1"/>
          </p:cNvSpPr>
          <p:nvPr>
            <p:ph type="ctrTitle"/>
          </p:nvPr>
        </p:nvSpPr>
        <p:spPr>
          <a:xfrm>
            <a:off x="4718051" y="2058644"/>
            <a:ext cx="5990740" cy="2581299"/>
          </a:xfrm>
        </p:spPr>
        <p:txBody>
          <a:bodyPr anchor="ctr">
            <a:normAutofit/>
          </a:bodyPr>
          <a:lstStyle>
            <a:lvl1pPr algn="l">
              <a:lnSpc>
                <a:spcPct val="85000"/>
              </a:lnSpc>
              <a:defRPr lang="en-US" sz="7200" b="0" i="0" kern="1200" spc="-150" baseline="0" dirty="0">
                <a:solidFill>
                  <a:schemeClr val="tx1"/>
                </a:solidFill>
                <a:latin typeface="+mj-lt"/>
                <a:ea typeface="ES Build Full Bauhaus Medium" pitchFamily="2" charset="77"/>
                <a:cs typeface="+mj-cs"/>
              </a:defRPr>
            </a:lvl1pPr>
          </a:lstStyle>
          <a:p>
            <a:r>
              <a:rPr lang="en-US"/>
              <a:t>Click to edit Master title style</a:t>
            </a:r>
          </a:p>
        </p:txBody>
      </p:sp>
      <p:sp>
        <p:nvSpPr>
          <p:cNvPr id="38" name="Subtitle 2">
            <a:extLst>
              <a:ext uri="{FF2B5EF4-FFF2-40B4-BE49-F238E27FC236}">
                <a16:creationId xmlns:a16="http://schemas.microsoft.com/office/drawing/2014/main" id="{32EA706C-177A-D645-19B1-434E2BB3B806}"/>
              </a:ext>
            </a:extLst>
          </p:cNvPr>
          <p:cNvSpPr>
            <a:spLocks noGrp="1"/>
          </p:cNvSpPr>
          <p:nvPr>
            <p:ph type="subTitle" idx="1"/>
          </p:nvPr>
        </p:nvSpPr>
        <p:spPr>
          <a:xfrm>
            <a:off x="4718051" y="4730182"/>
            <a:ext cx="6005985" cy="487705"/>
          </a:xfrm>
        </p:spPr>
        <p:txBody>
          <a:bodyPr/>
          <a:lstStyle>
            <a:lvl1pPr marL="0" indent="0" algn="l">
              <a:buNone/>
              <a:defRPr sz="2400">
                <a:solidFill>
                  <a:schemeClr val="accent3">
                    <a:lumMod val="60000"/>
                    <a:lumOff val="40000"/>
                  </a:schemeClr>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9" name="Text Placeholder 12">
            <a:extLst>
              <a:ext uri="{FF2B5EF4-FFF2-40B4-BE49-F238E27FC236}">
                <a16:creationId xmlns:a16="http://schemas.microsoft.com/office/drawing/2014/main" id="{E43F9FFC-267E-652E-5764-97A765A3BCC9}"/>
              </a:ext>
            </a:extLst>
          </p:cNvPr>
          <p:cNvSpPr>
            <a:spLocks noGrp="1"/>
          </p:cNvSpPr>
          <p:nvPr>
            <p:ph type="body" sz="quarter" idx="13" hasCustomPrompt="1"/>
          </p:nvPr>
        </p:nvSpPr>
        <p:spPr>
          <a:xfrm>
            <a:off x="793751" y="3033711"/>
            <a:ext cx="2560637" cy="274955"/>
          </a:xfrm>
        </p:spPr>
        <p:txBody>
          <a:bodyPr>
            <a:noAutofit/>
          </a:bodyPr>
          <a:lstStyle>
            <a:lvl1pPr marL="0" indent="0">
              <a:buNone/>
              <a:defRPr sz="1600" b="0" spc="0" baseline="0">
                <a:solidFill>
                  <a:schemeClr val="accent1"/>
                </a:solidFill>
                <a:latin typeface="ES Build Medium" pitchFamily="2" charset="0"/>
                <a:ea typeface="ES Build Medium" pitchFamily="2" charset="0"/>
              </a:defRPr>
            </a:lvl1pPr>
            <a:lvl2pPr>
              <a:defRPr b="0">
                <a:solidFill>
                  <a:schemeClr val="accent1"/>
                </a:solidFill>
              </a:defRPr>
            </a:lvl2pPr>
          </a:lstStyle>
          <a:p>
            <a:pPr lvl="0"/>
            <a:r>
              <a:rPr lang="en-US"/>
              <a:t>Date</a:t>
            </a:r>
          </a:p>
        </p:txBody>
      </p:sp>
      <p:grpSp>
        <p:nvGrpSpPr>
          <p:cNvPr id="11" name="Group 10">
            <a:extLst>
              <a:ext uri="{FF2B5EF4-FFF2-40B4-BE49-F238E27FC236}">
                <a16:creationId xmlns:a16="http://schemas.microsoft.com/office/drawing/2014/main" id="{19CD186B-801D-AA27-3ED6-4DF90968D7DB}"/>
              </a:ext>
            </a:extLst>
          </p:cNvPr>
          <p:cNvGrpSpPr/>
          <p:nvPr userDrawn="1"/>
        </p:nvGrpSpPr>
        <p:grpSpPr>
          <a:xfrm>
            <a:off x="782097" y="694483"/>
            <a:ext cx="1346160" cy="412987"/>
            <a:chOff x="2406776" y="-1036657"/>
            <a:chExt cx="1346160" cy="412987"/>
          </a:xfrm>
        </p:grpSpPr>
        <p:sp>
          <p:nvSpPr>
            <p:cNvPr id="12" name="Freeform 11">
              <a:extLst>
                <a:ext uri="{FF2B5EF4-FFF2-40B4-BE49-F238E27FC236}">
                  <a16:creationId xmlns:a16="http://schemas.microsoft.com/office/drawing/2014/main" id="{F0977220-16C4-9275-5E4A-BB4EEABE1D81}"/>
                </a:ext>
              </a:extLst>
            </p:cNvPr>
            <p:cNvSpPr/>
            <p:nvPr/>
          </p:nvSpPr>
          <p:spPr>
            <a:xfrm>
              <a:off x="2406776" y="-1036657"/>
              <a:ext cx="1346160" cy="412672"/>
            </a:xfrm>
            <a:custGeom>
              <a:avLst/>
              <a:gdLst>
                <a:gd name="connsiteX0" fmla="*/ 113980 w 1346160"/>
                <a:gd name="connsiteY0" fmla="*/ 0 h 412672"/>
                <a:gd name="connsiteX1" fmla="*/ 81943 w 1346160"/>
                <a:gd name="connsiteY1" fmla="*/ 13537 h 412672"/>
                <a:gd name="connsiteX2" fmla="*/ 13268 w 1346160"/>
                <a:gd name="connsiteY2" fmla="*/ 83602 h 412672"/>
                <a:gd name="connsiteX3" fmla="*/ 0 w 1346160"/>
                <a:gd name="connsiteY3" fmla="*/ 116287 h 412672"/>
                <a:gd name="connsiteX4" fmla="*/ 0 w 1346160"/>
                <a:gd name="connsiteY4" fmla="*/ 412672 h 412672"/>
                <a:gd name="connsiteX5" fmla="*/ 1232900 w 1346160"/>
                <a:gd name="connsiteY5" fmla="*/ 411939 h 412672"/>
                <a:gd name="connsiteX6" fmla="*/ 1264936 w 1346160"/>
                <a:gd name="connsiteY6" fmla="*/ 398402 h 412672"/>
                <a:gd name="connsiteX7" fmla="*/ 1332848 w 1346160"/>
                <a:gd name="connsiteY7" fmla="*/ 329116 h 412672"/>
                <a:gd name="connsiteX8" fmla="*/ 1346116 w 1346160"/>
                <a:gd name="connsiteY8" fmla="*/ 296431 h 412672"/>
                <a:gd name="connsiteX9" fmla="*/ 1346161 w 1346160"/>
                <a:gd name="connsiteY9" fmla="*/ 0 h 412672"/>
                <a:gd name="connsiteX10" fmla="*/ 113980 w 1346160"/>
                <a:gd name="connsiteY10" fmla="*/ 0 h 412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160" h="412672">
                  <a:moveTo>
                    <a:pt x="113980" y="0"/>
                  </a:moveTo>
                  <a:cubicBezTo>
                    <a:pt x="101969" y="0"/>
                    <a:pt x="90430" y="4879"/>
                    <a:pt x="81943" y="13537"/>
                  </a:cubicBezTo>
                  <a:lnTo>
                    <a:pt x="13268" y="83602"/>
                  </a:lnTo>
                  <a:cubicBezTo>
                    <a:pt x="4782" y="92260"/>
                    <a:pt x="0" y="104033"/>
                    <a:pt x="0" y="116287"/>
                  </a:cubicBezTo>
                  <a:lnTo>
                    <a:pt x="0" y="412672"/>
                  </a:lnTo>
                  <a:lnTo>
                    <a:pt x="1232900" y="411939"/>
                  </a:lnTo>
                  <a:cubicBezTo>
                    <a:pt x="1244910" y="411939"/>
                    <a:pt x="1256450" y="407060"/>
                    <a:pt x="1264936" y="398402"/>
                  </a:cubicBezTo>
                  <a:lnTo>
                    <a:pt x="1332848" y="329116"/>
                  </a:lnTo>
                  <a:cubicBezTo>
                    <a:pt x="1341334" y="320458"/>
                    <a:pt x="1346116" y="308685"/>
                    <a:pt x="1346116" y="296431"/>
                  </a:cubicBezTo>
                  <a:lnTo>
                    <a:pt x="1346161" y="0"/>
                  </a:lnTo>
                  <a:lnTo>
                    <a:pt x="113980" y="0"/>
                  </a:lnTo>
                  <a:close/>
                </a:path>
              </a:pathLst>
            </a:custGeom>
            <a:solidFill>
              <a:srgbClr val="00D15F"/>
            </a:solidFill>
            <a:ln w="2231" cap="flat">
              <a:noFill/>
              <a:prstDash val="solid"/>
              <a:miter/>
            </a:ln>
          </p:spPr>
          <p:txBody>
            <a:bodyPr rtlCol="0" anchor="ctr"/>
            <a:lstStyle/>
            <a:p>
              <a:endParaRPr lang="en-RU"/>
            </a:p>
          </p:txBody>
        </p:sp>
        <p:sp>
          <p:nvSpPr>
            <p:cNvPr id="13" name="Freeform 12">
              <a:extLst>
                <a:ext uri="{FF2B5EF4-FFF2-40B4-BE49-F238E27FC236}">
                  <a16:creationId xmlns:a16="http://schemas.microsoft.com/office/drawing/2014/main" id="{790BCDA0-86A1-4B47-E91F-B2B4665F8115}"/>
                </a:ext>
              </a:extLst>
            </p:cNvPr>
            <p:cNvSpPr/>
            <p:nvPr/>
          </p:nvSpPr>
          <p:spPr>
            <a:xfrm>
              <a:off x="2407135" y="-1036657"/>
              <a:ext cx="1009744" cy="412987"/>
            </a:xfrm>
            <a:custGeom>
              <a:avLst/>
              <a:gdLst>
                <a:gd name="connsiteX0" fmla="*/ 0 w 1009744"/>
                <a:gd name="connsiteY0" fmla="*/ 156393 h 412987"/>
                <a:gd name="connsiteX1" fmla="*/ 0 w 1009744"/>
                <a:gd name="connsiteY1" fmla="*/ 412695 h 412987"/>
                <a:gd name="connsiteX2" fmla="*/ 450756 w 1009744"/>
                <a:gd name="connsiteY2" fmla="*/ 412695 h 412987"/>
                <a:gd name="connsiteX3" fmla="*/ 541634 w 1009744"/>
                <a:gd name="connsiteY3" fmla="*/ 406121 h 412987"/>
                <a:gd name="connsiteX4" fmla="*/ 712570 w 1009744"/>
                <a:gd name="connsiteY4" fmla="*/ 302593 h 412987"/>
                <a:gd name="connsiteX5" fmla="*/ 1009744 w 1009744"/>
                <a:gd name="connsiteY5" fmla="*/ 0 h 412987"/>
                <a:gd name="connsiteX6" fmla="*/ 559931 w 1009744"/>
                <a:gd name="connsiteY6" fmla="*/ 46 h 412987"/>
                <a:gd name="connsiteX7" fmla="*/ 250073 w 1009744"/>
                <a:gd name="connsiteY7" fmla="*/ 314892 h 412987"/>
                <a:gd name="connsiteX8" fmla="*/ 205846 w 1009744"/>
                <a:gd name="connsiteY8" fmla="*/ 337545 h 412987"/>
                <a:gd name="connsiteX9" fmla="*/ 165997 w 1009744"/>
                <a:gd name="connsiteY9" fmla="*/ 323963 h 412987"/>
                <a:gd name="connsiteX10" fmla="*/ 0 w 1009744"/>
                <a:gd name="connsiteY10" fmla="*/ 156393 h 412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9744" h="412987">
                  <a:moveTo>
                    <a:pt x="0" y="156393"/>
                  </a:moveTo>
                  <a:lnTo>
                    <a:pt x="0" y="412695"/>
                  </a:lnTo>
                  <a:lnTo>
                    <a:pt x="450756" y="412695"/>
                  </a:lnTo>
                  <a:cubicBezTo>
                    <a:pt x="450756" y="412695"/>
                    <a:pt x="501875" y="415100"/>
                    <a:pt x="541634" y="406121"/>
                  </a:cubicBezTo>
                  <a:cubicBezTo>
                    <a:pt x="614687" y="389630"/>
                    <a:pt x="658196" y="358067"/>
                    <a:pt x="712570" y="302593"/>
                  </a:cubicBezTo>
                  <a:cubicBezTo>
                    <a:pt x="804302" y="208959"/>
                    <a:pt x="1009744" y="0"/>
                    <a:pt x="1009744" y="0"/>
                  </a:cubicBezTo>
                  <a:lnTo>
                    <a:pt x="559931" y="46"/>
                  </a:lnTo>
                  <a:lnTo>
                    <a:pt x="250073" y="314892"/>
                  </a:lnTo>
                  <a:cubicBezTo>
                    <a:pt x="250073" y="314892"/>
                    <a:pt x="231439" y="337820"/>
                    <a:pt x="205846" y="337545"/>
                  </a:cubicBezTo>
                  <a:cubicBezTo>
                    <a:pt x="178053" y="337224"/>
                    <a:pt x="165997" y="323963"/>
                    <a:pt x="165997" y="323963"/>
                  </a:cubicBezTo>
                  <a:lnTo>
                    <a:pt x="0" y="156393"/>
                  </a:lnTo>
                  <a:close/>
                </a:path>
              </a:pathLst>
            </a:custGeom>
            <a:solidFill>
              <a:srgbClr val="FFFFFF">
                <a:alpha val="25000"/>
              </a:srgbClr>
            </a:solidFill>
            <a:ln w="2231" cap="flat">
              <a:noFill/>
              <a:prstDash val="solid"/>
              <a:miter/>
            </a:ln>
          </p:spPr>
          <p:txBody>
            <a:bodyPr rtlCol="0" anchor="ctr"/>
            <a:lstStyle/>
            <a:p>
              <a:endParaRPr lang="en-RU"/>
            </a:p>
          </p:txBody>
        </p:sp>
        <p:grpSp>
          <p:nvGrpSpPr>
            <p:cNvPr id="14" name="Graphic 1">
              <a:extLst>
                <a:ext uri="{FF2B5EF4-FFF2-40B4-BE49-F238E27FC236}">
                  <a16:creationId xmlns:a16="http://schemas.microsoft.com/office/drawing/2014/main" id="{F01F1D81-4582-1C5A-2197-37F6498E2EC6}"/>
                </a:ext>
              </a:extLst>
            </p:cNvPr>
            <p:cNvGrpSpPr/>
            <p:nvPr/>
          </p:nvGrpSpPr>
          <p:grpSpPr>
            <a:xfrm>
              <a:off x="2502616" y="-933884"/>
              <a:ext cx="1130526" cy="206622"/>
              <a:chOff x="2502616" y="-933884"/>
              <a:chExt cx="1130526" cy="206622"/>
            </a:xfrm>
            <a:solidFill>
              <a:srgbClr val="FFFFFF"/>
            </a:solidFill>
          </p:grpSpPr>
          <p:sp>
            <p:nvSpPr>
              <p:cNvPr id="15" name="Freeform 14">
                <a:extLst>
                  <a:ext uri="{FF2B5EF4-FFF2-40B4-BE49-F238E27FC236}">
                    <a16:creationId xmlns:a16="http://schemas.microsoft.com/office/drawing/2014/main" id="{5138B4DD-4F04-65EE-EC7E-A0BA75847B8D}"/>
                  </a:ext>
                </a:extLst>
              </p:cNvPr>
              <p:cNvSpPr/>
              <p:nvPr/>
            </p:nvSpPr>
            <p:spPr>
              <a:xfrm>
                <a:off x="2502616" y="-929578"/>
                <a:ext cx="221224" cy="198147"/>
              </a:xfrm>
              <a:custGeom>
                <a:avLst/>
                <a:gdLst>
                  <a:gd name="connsiteX0" fmla="*/ 93011 w 221224"/>
                  <a:gd name="connsiteY0" fmla="*/ 198148 h 198147"/>
                  <a:gd name="connsiteX1" fmla="*/ 0 w 221224"/>
                  <a:gd name="connsiteY1" fmla="*/ 0 h 198147"/>
                  <a:gd name="connsiteX2" fmla="*/ 41915 w 221224"/>
                  <a:gd name="connsiteY2" fmla="*/ 0 h 198147"/>
                  <a:gd name="connsiteX3" fmla="*/ 110006 w 221224"/>
                  <a:gd name="connsiteY3" fmla="*/ 149017 h 198147"/>
                  <a:gd name="connsiteX4" fmla="*/ 110814 w 221224"/>
                  <a:gd name="connsiteY4" fmla="*/ 149017 h 198147"/>
                  <a:gd name="connsiteX5" fmla="*/ 178906 w 221224"/>
                  <a:gd name="connsiteY5" fmla="*/ 0 h 198147"/>
                  <a:gd name="connsiteX6" fmla="*/ 221225 w 221224"/>
                  <a:gd name="connsiteY6" fmla="*/ 0 h 198147"/>
                  <a:gd name="connsiteX7" fmla="*/ 128213 w 221224"/>
                  <a:gd name="connsiteY7" fmla="*/ 198148 h 198147"/>
                  <a:gd name="connsiteX8" fmla="*/ 92966 w 221224"/>
                  <a:gd name="connsiteY8" fmla="*/ 198148 h 198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1224" h="198147">
                    <a:moveTo>
                      <a:pt x="93011" y="198148"/>
                    </a:moveTo>
                    <a:lnTo>
                      <a:pt x="0" y="0"/>
                    </a:lnTo>
                    <a:lnTo>
                      <a:pt x="41915" y="0"/>
                    </a:lnTo>
                    <a:cubicBezTo>
                      <a:pt x="41915" y="0"/>
                      <a:pt x="108390" y="141848"/>
                      <a:pt x="110006" y="149017"/>
                    </a:cubicBezTo>
                    <a:lnTo>
                      <a:pt x="110814" y="149017"/>
                    </a:lnTo>
                    <a:cubicBezTo>
                      <a:pt x="112476" y="141825"/>
                      <a:pt x="178906" y="0"/>
                      <a:pt x="178906" y="0"/>
                    </a:cubicBezTo>
                    <a:lnTo>
                      <a:pt x="221225" y="0"/>
                    </a:lnTo>
                    <a:lnTo>
                      <a:pt x="128213" y="198148"/>
                    </a:lnTo>
                    <a:lnTo>
                      <a:pt x="92966" y="198148"/>
                    </a:lnTo>
                    <a:close/>
                  </a:path>
                </a:pathLst>
              </a:custGeom>
              <a:solidFill>
                <a:srgbClr val="FFFFFF"/>
              </a:solidFill>
              <a:ln w="2231" cap="flat">
                <a:noFill/>
                <a:prstDash val="solid"/>
                <a:miter/>
              </a:ln>
            </p:spPr>
            <p:txBody>
              <a:bodyPr rtlCol="0" anchor="ctr"/>
              <a:lstStyle/>
              <a:p>
                <a:endParaRPr lang="en-RU"/>
              </a:p>
            </p:txBody>
          </p:sp>
          <p:sp>
            <p:nvSpPr>
              <p:cNvPr id="16" name="Freeform 15">
                <a:extLst>
                  <a:ext uri="{FF2B5EF4-FFF2-40B4-BE49-F238E27FC236}">
                    <a16:creationId xmlns:a16="http://schemas.microsoft.com/office/drawing/2014/main" id="{714F40F0-B8C9-2A39-A4C7-1FFE15D0EF6A}"/>
                  </a:ext>
                </a:extLst>
              </p:cNvPr>
              <p:cNvSpPr/>
              <p:nvPr/>
            </p:nvSpPr>
            <p:spPr>
              <a:xfrm>
                <a:off x="2713962" y="-933884"/>
                <a:ext cx="190894" cy="206599"/>
              </a:xfrm>
              <a:custGeom>
                <a:avLst/>
                <a:gdLst>
                  <a:gd name="connsiteX0" fmla="*/ 190041 w 190894"/>
                  <a:gd name="connsiteY0" fmla="*/ 118577 h 206599"/>
                  <a:gd name="connsiteX1" fmla="*/ 39423 w 190894"/>
                  <a:gd name="connsiteY1" fmla="*/ 118577 h 206599"/>
                  <a:gd name="connsiteX2" fmla="*/ 97950 w 190894"/>
                  <a:gd name="connsiteY2" fmla="*/ 171051 h 206599"/>
                  <a:gd name="connsiteX3" fmla="*/ 146914 w 190894"/>
                  <a:gd name="connsiteY3" fmla="*/ 143108 h 206599"/>
                  <a:gd name="connsiteX4" fmla="*/ 185910 w 190894"/>
                  <a:gd name="connsiteY4" fmla="*/ 143108 h 206599"/>
                  <a:gd name="connsiteX5" fmla="*/ 97928 w 190894"/>
                  <a:gd name="connsiteY5" fmla="*/ 206599 h 206599"/>
                  <a:gd name="connsiteX6" fmla="*/ 0 w 190894"/>
                  <a:gd name="connsiteY6" fmla="*/ 103300 h 206599"/>
                  <a:gd name="connsiteX7" fmla="*/ 97928 w 190894"/>
                  <a:gd name="connsiteY7" fmla="*/ 0 h 206599"/>
                  <a:gd name="connsiteX8" fmla="*/ 190894 w 190894"/>
                  <a:gd name="connsiteY8" fmla="*/ 103300 h 206599"/>
                  <a:gd name="connsiteX9" fmla="*/ 190086 w 190894"/>
                  <a:gd name="connsiteY9" fmla="*/ 118577 h 206599"/>
                  <a:gd name="connsiteX10" fmla="*/ 39827 w 190894"/>
                  <a:gd name="connsiteY10" fmla="*/ 86396 h 206599"/>
                  <a:gd name="connsiteX11" fmla="*/ 151472 w 190894"/>
                  <a:gd name="connsiteY11" fmla="*/ 86396 h 206599"/>
                  <a:gd name="connsiteX12" fmla="*/ 97950 w 190894"/>
                  <a:gd name="connsiteY12" fmla="*/ 35617 h 206599"/>
                  <a:gd name="connsiteX13" fmla="*/ 39827 w 190894"/>
                  <a:gd name="connsiteY13" fmla="*/ 86396 h 206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0894" h="206599">
                    <a:moveTo>
                      <a:pt x="190041" y="118577"/>
                    </a:moveTo>
                    <a:lnTo>
                      <a:pt x="39423" y="118577"/>
                    </a:lnTo>
                    <a:cubicBezTo>
                      <a:pt x="44833" y="150758"/>
                      <a:pt x="68024" y="171051"/>
                      <a:pt x="97950" y="171051"/>
                    </a:cubicBezTo>
                    <a:cubicBezTo>
                      <a:pt x="122444" y="171051"/>
                      <a:pt x="138608" y="161294"/>
                      <a:pt x="146914" y="143108"/>
                    </a:cubicBezTo>
                    <a:lnTo>
                      <a:pt x="185910" y="143108"/>
                    </a:lnTo>
                    <a:cubicBezTo>
                      <a:pt x="174259" y="180763"/>
                      <a:pt x="140696" y="206599"/>
                      <a:pt x="97928" y="206599"/>
                    </a:cubicBezTo>
                    <a:cubicBezTo>
                      <a:pt x="41488" y="206599"/>
                      <a:pt x="0" y="164707"/>
                      <a:pt x="0" y="103300"/>
                    </a:cubicBezTo>
                    <a:cubicBezTo>
                      <a:pt x="0" y="41892"/>
                      <a:pt x="40657" y="0"/>
                      <a:pt x="97928" y="0"/>
                    </a:cubicBezTo>
                    <a:cubicBezTo>
                      <a:pt x="148957" y="0"/>
                      <a:pt x="190894" y="44481"/>
                      <a:pt x="190894" y="103300"/>
                    </a:cubicBezTo>
                    <a:cubicBezTo>
                      <a:pt x="190894" y="109232"/>
                      <a:pt x="190894" y="112645"/>
                      <a:pt x="190086" y="118577"/>
                    </a:cubicBezTo>
                    <a:close/>
                    <a:moveTo>
                      <a:pt x="39827" y="86396"/>
                    </a:moveTo>
                    <a:lnTo>
                      <a:pt x="151472" y="86396"/>
                    </a:lnTo>
                    <a:cubicBezTo>
                      <a:pt x="148980" y="59277"/>
                      <a:pt x="127428" y="35617"/>
                      <a:pt x="97950" y="35617"/>
                    </a:cubicBezTo>
                    <a:cubicBezTo>
                      <a:pt x="68024" y="35571"/>
                      <a:pt x="45596" y="55498"/>
                      <a:pt x="39827" y="86396"/>
                    </a:cubicBezTo>
                    <a:close/>
                  </a:path>
                </a:pathLst>
              </a:custGeom>
              <a:solidFill>
                <a:srgbClr val="FFFFFF"/>
              </a:solidFill>
              <a:ln w="2231" cap="flat">
                <a:noFill/>
                <a:prstDash val="solid"/>
                <a:miter/>
              </a:ln>
            </p:spPr>
            <p:txBody>
              <a:bodyPr rtlCol="0" anchor="ctr"/>
              <a:lstStyle/>
              <a:p>
                <a:endParaRPr lang="en-RU"/>
              </a:p>
            </p:txBody>
          </p:sp>
          <p:sp>
            <p:nvSpPr>
              <p:cNvPr id="17" name="Freeform 16">
                <a:extLst>
                  <a:ext uri="{FF2B5EF4-FFF2-40B4-BE49-F238E27FC236}">
                    <a16:creationId xmlns:a16="http://schemas.microsoft.com/office/drawing/2014/main" id="{36F5327F-3032-54AE-818B-D60F2D90CEE7}"/>
                  </a:ext>
                </a:extLst>
              </p:cNvPr>
              <p:cNvSpPr/>
              <p:nvPr/>
            </p:nvSpPr>
            <p:spPr>
              <a:xfrm>
                <a:off x="2920572" y="-933884"/>
                <a:ext cx="190894" cy="206599"/>
              </a:xfrm>
              <a:custGeom>
                <a:avLst/>
                <a:gdLst>
                  <a:gd name="connsiteX0" fmla="*/ 190041 w 190894"/>
                  <a:gd name="connsiteY0" fmla="*/ 118577 h 206599"/>
                  <a:gd name="connsiteX1" fmla="*/ 39423 w 190894"/>
                  <a:gd name="connsiteY1" fmla="*/ 118577 h 206599"/>
                  <a:gd name="connsiteX2" fmla="*/ 97950 w 190894"/>
                  <a:gd name="connsiteY2" fmla="*/ 171051 h 206599"/>
                  <a:gd name="connsiteX3" fmla="*/ 146914 w 190894"/>
                  <a:gd name="connsiteY3" fmla="*/ 143108 h 206599"/>
                  <a:gd name="connsiteX4" fmla="*/ 185910 w 190894"/>
                  <a:gd name="connsiteY4" fmla="*/ 143108 h 206599"/>
                  <a:gd name="connsiteX5" fmla="*/ 97928 w 190894"/>
                  <a:gd name="connsiteY5" fmla="*/ 206599 h 206599"/>
                  <a:gd name="connsiteX6" fmla="*/ 0 w 190894"/>
                  <a:gd name="connsiteY6" fmla="*/ 103300 h 206599"/>
                  <a:gd name="connsiteX7" fmla="*/ 97928 w 190894"/>
                  <a:gd name="connsiteY7" fmla="*/ 0 h 206599"/>
                  <a:gd name="connsiteX8" fmla="*/ 190894 w 190894"/>
                  <a:gd name="connsiteY8" fmla="*/ 103300 h 206599"/>
                  <a:gd name="connsiteX9" fmla="*/ 190086 w 190894"/>
                  <a:gd name="connsiteY9" fmla="*/ 118577 h 206599"/>
                  <a:gd name="connsiteX10" fmla="*/ 39827 w 190894"/>
                  <a:gd name="connsiteY10" fmla="*/ 86396 h 206599"/>
                  <a:gd name="connsiteX11" fmla="*/ 151472 w 190894"/>
                  <a:gd name="connsiteY11" fmla="*/ 86396 h 206599"/>
                  <a:gd name="connsiteX12" fmla="*/ 97950 w 190894"/>
                  <a:gd name="connsiteY12" fmla="*/ 35617 h 206599"/>
                  <a:gd name="connsiteX13" fmla="*/ 39827 w 190894"/>
                  <a:gd name="connsiteY13" fmla="*/ 86396 h 206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0894" h="206599">
                    <a:moveTo>
                      <a:pt x="190041" y="118577"/>
                    </a:moveTo>
                    <a:lnTo>
                      <a:pt x="39423" y="118577"/>
                    </a:lnTo>
                    <a:cubicBezTo>
                      <a:pt x="44833" y="150758"/>
                      <a:pt x="68024" y="171051"/>
                      <a:pt x="97950" y="171051"/>
                    </a:cubicBezTo>
                    <a:cubicBezTo>
                      <a:pt x="122444" y="171051"/>
                      <a:pt x="138608" y="161294"/>
                      <a:pt x="146914" y="143108"/>
                    </a:cubicBezTo>
                    <a:lnTo>
                      <a:pt x="185910" y="143108"/>
                    </a:lnTo>
                    <a:cubicBezTo>
                      <a:pt x="174259" y="180763"/>
                      <a:pt x="140696" y="206599"/>
                      <a:pt x="97928" y="206599"/>
                    </a:cubicBezTo>
                    <a:cubicBezTo>
                      <a:pt x="41488" y="206599"/>
                      <a:pt x="0" y="164707"/>
                      <a:pt x="0" y="103300"/>
                    </a:cubicBezTo>
                    <a:cubicBezTo>
                      <a:pt x="0" y="41892"/>
                      <a:pt x="40657" y="0"/>
                      <a:pt x="97928" y="0"/>
                    </a:cubicBezTo>
                    <a:cubicBezTo>
                      <a:pt x="148957" y="0"/>
                      <a:pt x="190894" y="44481"/>
                      <a:pt x="190894" y="103300"/>
                    </a:cubicBezTo>
                    <a:cubicBezTo>
                      <a:pt x="190894" y="109232"/>
                      <a:pt x="190894" y="112645"/>
                      <a:pt x="190086" y="118577"/>
                    </a:cubicBezTo>
                    <a:close/>
                    <a:moveTo>
                      <a:pt x="39827" y="86396"/>
                    </a:moveTo>
                    <a:lnTo>
                      <a:pt x="151472" y="86396"/>
                    </a:lnTo>
                    <a:cubicBezTo>
                      <a:pt x="148980" y="59277"/>
                      <a:pt x="127428" y="35617"/>
                      <a:pt x="97950" y="35617"/>
                    </a:cubicBezTo>
                    <a:cubicBezTo>
                      <a:pt x="68024" y="35571"/>
                      <a:pt x="45641" y="55498"/>
                      <a:pt x="39827" y="86396"/>
                    </a:cubicBezTo>
                    <a:close/>
                  </a:path>
                </a:pathLst>
              </a:custGeom>
              <a:solidFill>
                <a:srgbClr val="FFFFFF"/>
              </a:solidFill>
              <a:ln w="2231" cap="flat">
                <a:noFill/>
                <a:prstDash val="solid"/>
                <a:miter/>
              </a:ln>
            </p:spPr>
            <p:txBody>
              <a:bodyPr rtlCol="0" anchor="ctr"/>
              <a:lstStyle/>
              <a:p>
                <a:endParaRPr lang="en-RU"/>
              </a:p>
            </p:txBody>
          </p:sp>
          <p:sp>
            <p:nvSpPr>
              <p:cNvPr id="18" name="Freeform 17">
                <a:extLst>
                  <a:ext uri="{FF2B5EF4-FFF2-40B4-BE49-F238E27FC236}">
                    <a16:creationId xmlns:a16="http://schemas.microsoft.com/office/drawing/2014/main" id="{2135A0CB-5B5E-2741-CC8D-6CA89F0A0671}"/>
                  </a:ext>
                </a:extLst>
              </p:cNvPr>
              <p:cNvSpPr/>
              <p:nvPr/>
            </p:nvSpPr>
            <p:spPr>
              <a:xfrm>
                <a:off x="3126777" y="-933861"/>
                <a:ext cx="195070" cy="206599"/>
              </a:xfrm>
              <a:custGeom>
                <a:avLst/>
                <a:gdLst>
                  <a:gd name="connsiteX0" fmla="*/ 195070 w 195070"/>
                  <a:gd name="connsiteY0" fmla="*/ 103300 h 206599"/>
                  <a:gd name="connsiteX1" fmla="*/ 195070 w 195070"/>
                  <a:gd name="connsiteY1" fmla="*/ 202362 h 206599"/>
                  <a:gd name="connsiteX2" fmla="*/ 161462 w 195070"/>
                  <a:gd name="connsiteY2" fmla="*/ 202362 h 206599"/>
                  <a:gd name="connsiteX3" fmla="*/ 158117 w 195070"/>
                  <a:gd name="connsiteY3" fmla="*/ 171464 h 206599"/>
                  <a:gd name="connsiteX4" fmla="*/ 93371 w 195070"/>
                  <a:gd name="connsiteY4" fmla="*/ 206599 h 206599"/>
                  <a:gd name="connsiteX5" fmla="*/ 0 w 195070"/>
                  <a:gd name="connsiteY5" fmla="*/ 103300 h 206599"/>
                  <a:gd name="connsiteX6" fmla="*/ 98332 w 195070"/>
                  <a:gd name="connsiteY6" fmla="*/ 0 h 206599"/>
                  <a:gd name="connsiteX7" fmla="*/ 195070 w 195070"/>
                  <a:gd name="connsiteY7" fmla="*/ 103300 h 206599"/>
                  <a:gd name="connsiteX8" fmla="*/ 156860 w 195070"/>
                  <a:gd name="connsiteY8" fmla="*/ 103300 h 206599"/>
                  <a:gd name="connsiteX9" fmla="*/ 98332 w 195070"/>
                  <a:gd name="connsiteY9" fmla="*/ 35571 h 206599"/>
                  <a:gd name="connsiteX10" fmla="*/ 38188 w 195070"/>
                  <a:gd name="connsiteY10" fmla="*/ 103300 h 206599"/>
                  <a:gd name="connsiteX11" fmla="*/ 98332 w 195070"/>
                  <a:gd name="connsiteY11" fmla="*/ 171029 h 206599"/>
                  <a:gd name="connsiteX12" fmla="*/ 156860 w 195070"/>
                  <a:gd name="connsiteY12" fmla="*/ 103300 h 206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5070" h="206599">
                    <a:moveTo>
                      <a:pt x="195070" y="103300"/>
                    </a:moveTo>
                    <a:lnTo>
                      <a:pt x="195070" y="202362"/>
                    </a:lnTo>
                    <a:lnTo>
                      <a:pt x="161462" y="202362"/>
                    </a:lnTo>
                    <a:lnTo>
                      <a:pt x="158117" y="171464"/>
                    </a:lnTo>
                    <a:cubicBezTo>
                      <a:pt x="143188" y="194345"/>
                      <a:pt x="117056" y="206599"/>
                      <a:pt x="93371" y="206599"/>
                    </a:cubicBezTo>
                    <a:cubicBezTo>
                      <a:pt x="40253" y="206599"/>
                      <a:pt x="0" y="163424"/>
                      <a:pt x="0" y="103300"/>
                    </a:cubicBezTo>
                    <a:cubicBezTo>
                      <a:pt x="0" y="43175"/>
                      <a:pt x="43149" y="0"/>
                      <a:pt x="98332" y="0"/>
                    </a:cubicBezTo>
                    <a:cubicBezTo>
                      <a:pt x="149002" y="0"/>
                      <a:pt x="195070" y="37243"/>
                      <a:pt x="195070" y="103300"/>
                    </a:cubicBezTo>
                    <a:close/>
                    <a:moveTo>
                      <a:pt x="156860" y="103300"/>
                    </a:moveTo>
                    <a:cubicBezTo>
                      <a:pt x="156860" y="59712"/>
                      <a:pt x="128662" y="35571"/>
                      <a:pt x="98332" y="35571"/>
                    </a:cubicBezTo>
                    <a:cubicBezTo>
                      <a:pt x="65128" y="35571"/>
                      <a:pt x="38188" y="62690"/>
                      <a:pt x="38188" y="103300"/>
                    </a:cubicBezTo>
                    <a:cubicBezTo>
                      <a:pt x="38188" y="143910"/>
                      <a:pt x="63108" y="171029"/>
                      <a:pt x="98332" y="171029"/>
                    </a:cubicBezTo>
                    <a:cubicBezTo>
                      <a:pt x="128258" y="171029"/>
                      <a:pt x="156860" y="145604"/>
                      <a:pt x="156860" y="103300"/>
                    </a:cubicBezTo>
                    <a:close/>
                  </a:path>
                </a:pathLst>
              </a:custGeom>
              <a:solidFill>
                <a:srgbClr val="FFFFFF"/>
              </a:solidFill>
              <a:ln w="2231" cap="flat">
                <a:noFill/>
                <a:prstDash val="solid"/>
                <a:miter/>
              </a:ln>
            </p:spPr>
            <p:txBody>
              <a:bodyPr rtlCol="0" anchor="ctr"/>
              <a:lstStyle/>
              <a:p>
                <a:endParaRPr lang="en-RU"/>
              </a:p>
            </p:txBody>
          </p:sp>
          <p:sp>
            <p:nvSpPr>
              <p:cNvPr id="19" name="Freeform 18">
                <a:extLst>
                  <a:ext uri="{FF2B5EF4-FFF2-40B4-BE49-F238E27FC236}">
                    <a16:creationId xmlns:a16="http://schemas.microsoft.com/office/drawing/2014/main" id="{8CFC9282-AFB7-9636-C7E0-643BC05F0BB5}"/>
                  </a:ext>
                </a:extLst>
              </p:cNvPr>
              <p:cNvSpPr/>
              <p:nvPr/>
            </p:nvSpPr>
            <p:spPr>
              <a:xfrm>
                <a:off x="3347575" y="-933792"/>
                <a:ext cx="285566" cy="202728"/>
              </a:xfrm>
              <a:custGeom>
                <a:avLst/>
                <a:gdLst>
                  <a:gd name="connsiteX0" fmla="*/ 0 w 285566"/>
                  <a:gd name="connsiteY0" fmla="*/ 202316 h 202728"/>
                  <a:gd name="connsiteX1" fmla="*/ 0 w 285566"/>
                  <a:gd name="connsiteY1" fmla="*/ 85068 h 202728"/>
                  <a:gd name="connsiteX2" fmla="*/ 79698 w 285566"/>
                  <a:gd name="connsiteY2" fmla="*/ 0 h 202728"/>
                  <a:gd name="connsiteX3" fmla="*/ 142379 w 285566"/>
                  <a:gd name="connsiteY3" fmla="*/ 36006 h 202728"/>
                  <a:gd name="connsiteX4" fmla="*/ 143188 w 285566"/>
                  <a:gd name="connsiteY4" fmla="*/ 36006 h 202728"/>
                  <a:gd name="connsiteX5" fmla="*/ 205869 w 285566"/>
                  <a:gd name="connsiteY5" fmla="*/ 0 h 202728"/>
                  <a:gd name="connsiteX6" fmla="*/ 285567 w 285566"/>
                  <a:gd name="connsiteY6" fmla="*/ 85068 h 202728"/>
                  <a:gd name="connsiteX7" fmla="*/ 285567 w 285566"/>
                  <a:gd name="connsiteY7" fmla="*/ 202316 h 202728"/>
                  <a:gd name="connsiteX8" fmla="*/ 247402 w 285566"/>
                  <a:gd name="connsiteY8" fmla="*/ 202316 h 202728"/>
                  <a:gd name="connsiteX9" fmla="*/ 247402 w 285566"/>
                  <a:gd name="connsiteY9" fmla="*/ 87999 h 202728"/>
                  <a:gd name="connsiteX10" fmla="*/ 204679 w 285566"/>
                  <a:gd name="connsiteY10" fmla="*/ 36350 h 202728"/>
                  <a:gd name="connsiteX11" fmla="*/ 161956 w 285566"/>
                  <a:gd name="connsiteY11" fmla="*/ 88824 h 202728"/>
                  <a:gd name="connsiteX12" fmla="*/ 161956 w 285566"/>
                  <a:gd name="connsiteY12" fmla="*/ 202729 h 202728"/>
                  <a:gd name="connsiteX13" fmla="*/ 123791 w 285566"/>
                  <a:gd name="connsiteY13" fmla="*/ 202729 h 202728"/>
                  <a:gd name="connsiteX14" fmla="*/ 123791 w 285566"/>
                  <a:gd name="connsiteY14" fmla="*/ 88824 h 202728"/>
                  <a:gd name="connsiteX15" fmla="*/ 81068 w 285566"/>
                  <a:gd name="connsiteY15" fmla="*/ 36350 h 202728"/>
                  <a:gd name="connsiteX16" fmla="*/ 38345 w 285566"/>
                  <a:gd name="connsiteY16" fmla="*/ 87999 h 202728"/>
                  <a:gd name="connsiteX17" fmla="*/ 38345 w 285566"/>
                  <a:gd name="connsiteY17" fmla="*/ 202316 h 202728"/>
                  <a:gd name="connsiteX18" fmla="*/ 90 w 285566"/>
                  <a:gd name="connsiteY18" fmla="*/ 202316 h 20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5566" h="202728">
                    <a:moveTo>
                      <a:pt x="0" y="202316"/>
                    </a:moveTo>
                    <a:lnTo>
                      <a:pt x="0" y="85068"/>
                    </a:lnTo>
                    <a:cubicBezTo>
                      <a:pt x="0" y="35525"/>
                      <a:pt x="31138" y="0"/>
                      <a:pt x="79698" y="0"/>
                    </a:cubicBezTo>
                    <a:cubicBezTo>
                      <a:pt x="118694" y="0"/>
                      <a:pt x="139438" y="26661"/>
                      <a:pt x="142379" y="36006"/>
                    </a:cubicBezTo>
                    <a:lnTo>
                      <a:pt x="143188" y="36006"/>
                    </a:lnTo>
                    <a:cubicBezTo>
                      <a:pt x="146084" y="26707"/>
                      <a:pt x="166828" y="0"/>
                      <a:pt x="205869" y="0"/>
                    </a:cubicBezTo>
                    <a:cubicBezTo>
                      <a:pt x="254428" y="0"/>
                      <a:pt x="285567" y="35548"/>
                      <a:pt x="285567" y="85068"/>
                    </a:cubicBezTo>
                    <a:lnTo>
                      <a:pt x="285567" y="202316"/>
                    </a:lnTo>
                    <a:lnTo>
                      <a:pt x="247402" y="202316"/>
                    </a:lnTo>
                    <a:lnTo>
                      <a:pt x="247402" y="87999"/>
                    </a:lnTo>
                    <a:cubicBezTo>
                      <a:pt x="247402" y="55818"/>
                      <a:pt x="233280" y="36350"/>
                      <a:pt x="204679" y="36350"/>
                    </a:cubicBezTo>
                    <a:cubicBezTo>
                      <a:pt x="176077" y="36350"/>
                      <a:pt x="161956" y="55818"/>
                      <a:pt x="161956" y="88824"/>
                    </a:cubicBezTo>
                    <a:lnTo>
                      <a:pt x="161956" y="202729"/>
                    </a:lnTo>
                    <a:lnTo>
                      <a:pt x="123791" y="202729"/>
                    </a:lnTo>
                    <a:lnTo>
                      <a:pt x="123791" y="88824"/>
                    </a:lnTo>
                    <a:cubicBezTo>
                      <a:pt x="123791" y="55818"/>
                      <a:pt x="109669" y="36350"/>
                      <a:pt x="81068" y="36350"/>
                    </a:cubicBezTo>
                    <a:cubicBezTo>
                      <a:pt x="52466" y="36350"/>
                      <a:pt x="38345" y="55818"/>
                      <a:pt x="38345" y="87999"/>
                    </a:cubicBezTo>
                    <a:lnTo>
                      <a:pt x="38345" y="202316"/>
                    </a:lnTo>
                    <a:lnTo>
                      <a:pt x="90" y="202316"/>
                    </a:lnTo>
                    <a:close/>
                  </a:path>
                </a:pathLst>
              </a:custGeom>
              <a:solidFill>
                <a:srgbClr val="FFFFFF"/>
              </a:solidFill>
              <a:ln w="2231" cap="flat">
                <a:noFill/>
                <a:prstDash val="solid"/>
                <a:miter/>
              </a:ln>
            </p:spPr>
            <p:txBody>
              <a:bodyPr rtlCol="0" anchor="ctr"/>
              <a:lstStyle/>
              <a:p>
                <a:endParaRPr lang="en-RU"/>
              </a:p>
            </p:txBody>
          </p:sp>
        </p:grpSp>
      </p:grpSp>
    </p:spTree>
    <p:extLst>
      <p:ext uri="{BB962C8B-B14F-4D97-AF65-F5344CB8AC3E}">
        <p14:creationId xmlns:p14="http://schemas.microsoft.com/office/powerpoint/2010/main" val="2243040925"/>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Quote &amp; Picture Dark">
    <p:bg>
      <p:bgPr>
        <a:solidFill>
          <a:schemeClr val="accent1"/>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7B2A64-C4B7-C367-988A-AF7D9B55C478}"/>
              </a:ext>
            </a:extLst>
          </p:cNvPr>
          <p:cNvSpPr>
            <a:spLocks noGrp="1"/>
          </p:cNvSpPr>
          <p:nvPr>
            <p:ph type="pic" sz="quarter" idx="12" hasCustomPrompt="1"/>
          </p:nvPr>
        </p:nvSpPr>
        <p:spPr>
          <a:xfrm>
            <a:off x="6210300" y="0"/>
            <a:ext cx="5981700" cy="6858000"/>
          </a:xfrm>
          <a:custGeom>
            <a:avLst/>
            <a:gdLst>
              <a:gd name="connsiteX0" fmla="*/ 0 w 5981700"/>
              <a:gd name="connsiteY0" fmla="*/ 0 h 6858000"/>
              <a:gd name="connsiteX1" fmla="*/ 5981700 w 5981700"/>
              <a:gd name="connsiteY1" fmla="*/ 0 h 6858000"/>
              <a:gd name="connsiteX2" fmla="*/ 5981700 w 5981700"/>
              <a:gd name="connsiteY2" fmla="*/ 6858000 h 6858000"/>
              <a:gd name="connsiteX3" fmla="*/ 868521 w 5981700"/>
              <a:gd name="connsiteY3" fmla="*/ 6858000 h 6858000"/>
              <a:gd name="connsiteX4" fmla="*/ 832220 w 5981700"/>
              <a:gd name="connsiteY4" fmla="*/ 6854460 h 6858000"/>
              <a:gd name="connsiteX5" fmla="*/ 628589 w 5981700"/>
              <a:gd name="connsiteY5" fmla="*/ 6746455 h 6858000"/>
              <a:gd name="connsiteX6" fmla="*/ 108122 w 5981700"/>
              <a:gd name="connsiteY6" fmla="*/ 6225987 h 6858000"/>
              <a:gd name="connsiteX7" fmla="*/ 21455 w 5981700"/>
              <a:gd name="connsiteY7" fmla="*/ 6095966 h 6858000"/>
              <a:gd name="connsiteX8" fmla="*/ 0 w 5981700"/>
              <a:gd name="connsiteY8" fmla="*/ 602502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81700" h="6858000">
                <a:moveTo>
                  <a:pt x="0" y="0"/>
                </a:moveTo>
                <a:lnTo>
                  <a:pt x="5981700" y="0"/>
                </a:lnTo>
                <a:lnTo>
                  <a:pt x="5981700" y="6858000"/>
                </a:lnTo>
                <a:lnTo>
                  <a:pt x="868521" y="6858000"/>
                </a:lnTo>
                <a:lnTo>
                  <a:pt x="832220" y="6854460"/>
                </a:lnTo>
                <a:cubicBezTo>
                  <a:pt x="755128" y="6839198"/>
                  <a:pt x="683798" y="6801663"/>
                  <a:pt x="628589" y="6746455"/>
                </a:cubicBezTo>
                <a:lnTo>
                  <a:pt x="108122" y="6225987"/>
                </a:lnTo>
                <a:cubicBezTo>
                  <a:pt x="70644" y="6188509"/>
                  <a:pt x="41357" y="6144201"/>
                  <a:pt x="21455" y="6095966"/>
                </a:cubicBezTo>
                <a:lnTo>
                  <a:pt x="0" y="6025028"/>
                </a:lnTo>
                <a:close/>
              </a:path>
            </a:pathLst>
          </a:custGeom>
          <a:solidFill>
            <a:schemeClr val="bg1"/>
          </a:solidFill>
        </p:spPr>
        <p:txBody>
          <a:bodyPr wrap="square" lIns="182880" tIns="182880" rIns="0" anchor="t">
            <a:noAutofit/>
          </a:bodyPr>
          <a:lstStyle>
            <a:lvl1pPr marL="0" indent="0" algn="ctr">
              <a:buNone/>
              <a:defRPr>
                <a:solidFill>
                  <a:schemeClr val="accent1"/>
                </a:solidFill>
              </a:defRPr>
            </a:lvl1pPr>
          </a:lstStyle>
          <a:p>
            <a:r>
              <a:rPr lang="en-US"/>
              <a:t>Please use Veeam approved images</a:t>
            </a:r>
          </a:p>
        </p:txBody>
      </p:sp>
      <p:sp>
        <p:nvSpPr>
          <p:cNvPr id="20" name="object 2">
            <a:extLst>
              <a:ext uri="{FF2B5EF4-FFF2-40B4-BE49-F238E27FC236}">
                <a16:creationId xmlns:a16="http://schemas.microsoft.com/office/drawing/2014/main" id="{58FA5FE2-5D7E-51F0-AF6A-A46282840665}"/>
              </a:ext>
            </a:extLst>
          </p:cNvPr>
          <p:cNvSpPr/>
          <p:nvPr userDrawn="1"/>
        </p:nvSpPr>
        <p:spPr>
          <a:xfrm>
            <a:off x="528239" y="1034733"/>
            <a:ext cx="468070" cy="468069"/>
          </a:xfrm>
          <a:custGeom>
            <a:avLst/>
            <a:gdLst/>
            <a:ahLst/>
            <a:cxnLst/>
            <a:rect l="l" t="t" r="r" b="b"/>
            <a:pathLst>
              <a:path w="828675" h="828675">
                <a:moveTo>
                  <a:pt x="828121" y="0"/>
                </a:moveTo>
                <a:lnTo>
                  <a:pt x="511712" y="565"/>
                </a:lnTo>
                <a:lnTo>
                  <a:pt x="468206" y="4936"/>
                </a:lnTo>
                <a:lnTo>
                  <a:pt x="426776" y="17574"/>
                </a:lnTo>
                <a:lnTo>
                  <a:pt x="388579" y="37999"/>
                </a:lnTo>
                <a:lnTo>
                  <a:pt x="354774" y="65736"/>
                </a:lnTo>
                <a:lnTo>
                  <a:pt x="65736" y="354774"/>
                </a:lnTo>
                <a:lnTo>
                  <a:pt x="38004" y="388579"/>
                </a:lnTo>
                <a:lnTo>
                  <a:pt x="17577" y="426774"/>
                </a:lnTo>
                <a:lnTo>
                  <a:pt x="4938" y="468201"/>
                </a:lnTo>
                <a:lnTo>
                  <a:pt x="565" y="511701"/>
                </a:lnTo>
                <a:lnTo>
                  <a:pt x="0" y="828110"/>
                </a:lnTo>
                <a:lnTo>
                  <a:pt x="235553" y="828110"/>
                </a:lnTo>
                <a:lnTo>
                  <a:pt x="236087" y="280776"/>
                </a:lnTo>
                <a:lnTo>
                  <a:pt x="239616" y="263356"/>
                </a:lnTo>
                <a:lnTo>
                  <a:pt x="249213" y="249132"/>
                </a:lnTo>
                <a:lnTo>
                  <a:pt x="263438" y="239540"/>
                </a:lnTo>
                <a:lnTo>
                  <a:pt x="280850" y="236013"/>
                </a:lnTo>
                <a:lnTo>
                  <a:pt x="828121" y="235553"/>
                </a:lnTo>
                <a:lnTo>
                  <a:pt x="828121" y="0"/>
                </a:lnTo>
                <a:close/>
              </a:path>
            </a:pathLst>
          </a:custGeom>
          <a:gradFill flip="none" rotWithShape="1">
            <a:gsLst>
              <a:gs pos="0">
                <a:srgbClr val="00824A"/>
              </a:gs>
              <a:gs pos="95413">
                <a:srgbClr val="96FFA1"/>
              </a:gs>
              <a:gs pos="32000">
                <a:srgbClr val="00D05D"/>
              </a:gs>
            </a:gsLst>
            <a:lin ang="8400000" scaled="0"/>
            <a:tileRect/>
          </a:gradFill>
        </p:spPr>
        <p:txBody>
          <a:bodyPr wrap="square" lIns="0" tIns="0" rIns="0" bIns="0" rtlCol="0"/>
          <a:lstStyle/>
          <a:p>
            <a:pPr marR="0" lvl="0" indent="0" fontAlgn="auto">
              <a:lnSpc>
                <a:spcPct val="100000"/>
              </a:lnSpc>
              <a:spcBef>
                <a:spcPts val="0"/>
              </a:spcBef>
              <a:spcAft>
                <a:spcPts val="0"/>
              </a:spcAft>
              <a:buClrTx/>
              <a:buSzTx/>
              <a:buFontTx/>
              <a:buNone/>
              <a:tabLst/>
            </a:pPr>
            <a:endParaRPr kumimoji="0" b="0" i="0" u="none" strike="noStrike" kern="0" cap="none" spc="0" normalizeH="0" baseline="0" noProof="0">
              <a:ln>
                <a:noFill/>
              </a:ln>
              <a:solidFill>
                <a:srgbClr val="4F5860"/>
              </a:solidFill>
              <a:effectLst/>
              <a:uLnTx/>
              <a:uFillTx/>
            </a:endParaRPr>
          </a:p>
        </p:txBody>
      </p:sp>
      <p:sp>
        <p:nvSpPr>
          <p:cNvPr id="4" name="Title 1">
            <a:extLst>
              <a:ext uri="{FF2B5EF4-FFF2-40B4-BE49-F238E27FC236}">
                <a16:creationId xmlns:a16="http://schemas.microsoft.com/office/drawing/2014/main" id="{BE482577-7303-DB09-F554-CC530AA2BA73}"/>
              </a:ext>
            </a:extLst>
          </p:cNvPr>
          <p:cNvSpPr>
            <a:spLocks noGrp="1"/>
          </p:cNvSpPr>
          <p:nvPr>
            <p:ph type="title"/>
          </p:nvPr>
        </p:nvSpPr>
        <p:spPr>
          <a:xfrm>
            <a:off x="963257" y="1679120"/>
            <a:ext cx="4654906" cy="3118757"/>
          </a:xfrm>
        </p:spPr>
        <p:txBody>
          <a:bodyPr anchor="t"/>
          <a:lstStyle>
            <a:lvl1pPr>
              <a:lnSpc>
                <a:spcPct val="87000"/>
              </a:lnSpc>
              <a:defRPr>
                <a:solidFill>
                  <a:schemeClr val="bg1"/>
                </a:solidFill>
              </a:defRPr>
            </a:lvl1pPr>
          </a:lstStyle>
          <a:p>
            <a:r>
              <a:rPr lang="en-US"/>
              <a:t>Click to edit Master title style</a:t>
            </a:r>
          </a:p>
        </p:txBody>
      </p:sp>
      <p:sp>
        <p:nvSpPr>
          <p:cNvPr id="6" name="Subtitle 2">
            <a:extLst>
              <a:ext uri="{FF2B5EF4-FFF2-40B4-BE49-F238E27FC236}">
                <a16:creationId xmlns:a16="http://schemas.microsoft.com/office/drawing/2014/main" id="{E7A9E1AD-1EBF-6702-7F9A-782FC098DE4F}"/>
              </a:ext>
            </a:extLst>
          </p:cNvPr>
          <p:cNvSpPr>
            <a:spLocks noGrp="1"/>
          </p:cNvSpPr>
          <p:nvPr>
            <p:ph type="subTitle" idx="1" hasCustomPrompt="1"/>
          </p:nvPr>
        </p:nvSpPr>
        <p:spPr>
          <a:xfrm>
            <a:off x="963258" y="5078194"/>
            <a:ext cx="4654906" cy="747931"/>
          </a:xfrm>
        </p:spPr>
        <p:txBody>
          <a:bodyPr/>
          <a:lstStyle>
            <a:lvl1pPr marL="0" indent="0" algn="l">
              <a:buNone/>
              <a:defRPr lang="en-US" sz="2400" b="0" i="0" kern="1200" dirty="0">
                <a:solidFill>
                  <a:srgbClr val="8E71F4"/>
                </a:solidFill>
                <a:latin typeface="+mn-lt"/>
                <a:ea typeface="ES Build" pitchFamily="2" charset="77"/>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96000"/>
              </a:lnSpc>
              <a:spcBef>
                <a:spcPts val="900"/>
              </a:spcBef>
              <a:spcAft>
                <a:spcPts val="300"/>
              </a:spcAft>
              <a:buClrTx/>
              <a:buFont typeface="Arial" panose="020B0604020202020204" pitchFamily="34" charset="0"/>
              <a:buNone/>
              <a:tabLst/>
            </a:pPr>
            <a:r>
              <a:rPr lang="en-US"/>
              <a:t>Attribution</a:t>
            </a:r>
          </a:p>
        </p:txBody>
      </p:sp>
      <p:sp>
        <p:nvSpPr>
          <p:cNvPr id="7" name="TextBox 6">
            <a:extLst>
              <a:ext uri="{FF2B5EF4-FFF2-40B4-BE49-F238E27FC236}">
                <a16:creationId xmlns:a16="http://schemas.microsoft.com/office/drawing/2014/main" id="{43D509CB-B4E1-F410-E0F9-5870A7CBD72B}"/>
              </a:ext>
            </a:extLst>
          </p:cNvPr>
          <p:cNvSpPr txBox="1"/>
          <p:nvPr userDrawn="1"/>
        </p:nvSpPr>
        <p:spPr>
          <a:xfrm>
            <a:off x="493288" y="6562481"/>
            <a:ext cx="5293842" cy="107722"/>
          </a:xfrm>
          <a:prstGeom prst="rect">
            <a:avLst/>
          </a:prstGeom>
          <a:noFill/>
        </p:spPr>
        <p:txBody>
          <a:bodyPr wrap="square" lIns="0" tIns="0" rIns="0" bIns="0">
            <a:spAutoFit/>
          </a:bodyPr>
          <a:lstStyle/>
          <a:p>
            <a:r>
              <a:rPr lang="en-US" sz="700">
                <a:solidFill>
                  <a:schemeClr val="bg1"/>
                </a:solidFill>
              </a:rPr>
              <a:t>© 2024 Veeam Software. Confidential information. All rights reserved. All trademarks are the property of their respective owners. </a:t>
            </a:r>
          </a:p>
        </p:txBody>
      </p:sp>
    </p:spTree>
    <p:extLst>
      <p:ext uri="{BB962C8B-B14F-4D97-AF65-F5344CB8AC3E}">
        <p14:creationId xmlns:p14="http://schemas.microsoft.com/office/powerpoint/2010/main" val="2369431040"/>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ent &amp; Picture Dark">
    <p:bg>
      <p:bgPr>
        <a:solidFill>
          <a:schemeClr val="accent1"/>
        </a:solidFill>
        <a:effectLst/>
      </p:bgPr>
    </p:bg>
    <p:spTree>
      <p:nvGrpSpPr>
        <p:cNvPr id="1" name=""/>
        <p:cNvGrpSpPr/>
        <p:nvPr/>
      </p:nvGrpSpPr>
      <p:grpSpPr>
        <a:xfrm>
          <a:off x="0" y="0"/>
          <a:ext cx="0" cy="0"/>
          <a:chOff x="0" y="0"/>
          <a:chExt cx="0" cy="0"/>
        </a:xfrm>
      </p:grpSpPr>
      <p:sp>
        <p:nvSpPr>
          <p:cNvPr id="4" name="Picture Placeholder 13">
            <a:extLst>
              <a:ext uri="{FF2B5EF4-FFF2-40B4-BE49-F238E27FC236}">
                <a16:creationId xmlns:a16="http://schemas.microsoft.com/office/drawing/2014/main" id="{ED376942-9122-FE26-7F33-37835C84C2AA}"/>
              </a:ext>
            </a:extLst>
          </p:cNvPr>
          <p:cNvSpPr>
            <a:spLocks noGrp="1"/>
          </p:cNvSpPr>
          <p:nvPr>
            <p:ph type="pic" sz="quarter" idx="12" hasCustomPrompt="1"/>
          </p:nvPr>
        </p:nvSpPr>
        <p:spPr>
          <a:xfrm>
            <a:off x="6210300" y="0"/>
            <a:ext cx="5981700" cy="6858000"/>
          </a:xfrm>
          <a:custGeom>
            <a:avLst/>
            <a:gdLst>
              <a:gd name="connsiteX0" fmla="*/ 0 w 5981700"/>
              <a:gd name="connsiteY0" fmla="*/ 0 h 6858000"/>
              <a:gd name="connsiteX1" fmla="*/ 5981700 w 5981700"/>
              <a:gd name="connsiteY1" fmla="*/ 0 h 6858000"/>
              <a:gd name="connsiteX2" fmla="*/ 5981700 w 5981700"/>
              <a:gd name="connsiteY2" fmla="*/ 6858000 h 6858000"/>
              <a:gd name="connsiteX3" fmla="*/ 868521 w 5981700"/>
              <a:gd name="connsiteY3" fmla="*/ 6858000 h 6858000"/>
              <a:gd name="connsiteX4" fmla="*/ 832220 w 5981700"/>
              <a:gd name="connsiteY4" fmla="*/ 6854460 h 6858000"/>
              <a:gd name="connsiteX5" fmla="*/ 628589 w 5981700"/>
              <a:gd name="connsiteY5" fmla="*/ 6746455 h 6858000"/>
              <a:gd name="connsiteX6" fmla="*/ 108122 w 5981700"/>
              <a:gd name="connsiteY6" fmla="*/ 6225987 h 6858000"/>
              <a:gd name="connsiteX7" fmla="*/ 21455 w 5981700"/>
              <a:gd name="connsiteY7" fmla="*/ 6095966 h 6858000"/>
              <a:gd name="connsiteX8" fmla="*/ 0 w 5981700"/>
              <a:gd name="connsiteY8" fmla="*/ 602502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81700" h="6858000">
                <a:moveTo>
                  <a:pt x="0" y="0"/>
                </a:moveTo>
                <a:lnTo>
                  <a:pt x="5981700" y="0"/>
                </a:lnTo>
                <a:lnTo>
                  <a:pt x="5981700" y="6858000"/>
                </a:lnTo>
                <a:lnTo>
                  <a:pt x="868521" y="6858000"/>
                </a:lnTo>
                <a:lnTo>
                  <a:pt x="832220" y="6854460"/>
                </a:lnTo>
                <a:cubicBezTo>
                  <a:pt x="755128" y="6839198"/>
                  <a:pt x="683798" y="6801663"/>
                  <a:pt x="628589" y="6746455"/>
                </a:cubicBezTo>
                <a:lnTo>
                  <a:pt x="108122" y="6225987"/>
                </a:lnTo>
                <a:cubicBezTo>
                  <a:pt x="70644" y="6188509"/>
                  <a:pt x="41357" y="6144201"/>
                  <a:pt x="21455" y="6095966"/>
                </a:cubicBezTo>
                <a:lnTo>
                  <a:pt x="0" y="6025028"/>
                </a:lnTo>
                <a:close/>
              </a:path>
            </a:pathLst>
          </a:custGeom>
          <a:solidFill>
            <a:schemeClr val="bg1"/>
          </a:solidFill>
        </p:spPr>
        <p:txBody>
          <a:bodyPr wrap="square" lIns="182880" tIns="182880" rIns="0" anchor="t">
            <a:noAutofit/>
          </a:bodyPr>
          <a:lstStyle>
            <a:lvl1pPr marL="0" indent="0" algn="ctr">
              <a:buNone/>
              <a:defRPr>
                <a:solidFill>
                  <a:schemeClr val="accent1"/>
                </a:solidFill>
              </a:defRPr>
            </a:lvl1pPr>
          </a:lstStyle>
          <a:p>
            <a:r>
              <a:rPr lang="en-US"/>
              <a:t>Please use Veeam approved images</a:t>
            </a:r>
          </a:p>
        </p:txBody>
      </p:sp>
      <p:sp>
        <p:nvSpPr>
          <p:cNvPr id="7" name="Footer Placeholder 66">
            <a:extLst>
              <a:ext uri="{FF2B5EF4-FFF2-40B4-BE49-F238E27FC236}">
                <a16:creationId xmlns:a16="http://schemas.microsoft.com/office/drawing/2014/main" id="{4417850A-FAA8-5D15-90BA-B41AB668363D}"/>
              </a:ext>
            </a:extLst>
          </p:cNvPr>
          <p:cNvSpPr>
            <a:spLocks noGrp="1"/>
          </p:cNvSpPr>
          <p:nvPr>
            <p:ph type="ftr" sz="quarter" idx="3"/>
          </p:nvPr>
        </p:nvSpPr>
        <p:spPr>
          <a:xfrm>
            <a:off x="493290" y="6405456"/>
            <a:ext cx="5124874" cy="107722"/>
          </a:xfrm>
          <a:prstGeom prst="rect">
            <a:avLst/>
          </a:prstGeom>
        </p:spPr>
        <p:txBody>
          <a:bodyPr vert="horz" lIns="0" tIns="0" rIns="0" bIns="0" rtlCol="0" anchor="b"/>
          <a:lstStyle>
            <a:lvl1pPr algn="l">
              <a:defRPr sz="700">
                <a:solidFill>
                  <a:schemeClr val="bg1"/>
                </a:solidFill>
              </a:defRPr>
            </a:lvl1pPr>
          </a:lstStyle>
          <a:p>
            <a:endParaRPr lang="en-US"/>
          </a:p>
        </p:txBody>
      </p:sp>
      <p:sp>
        <p:nvSpPr>
          <p:cNvPr id="8" name="Title 6">
            <a:extLst>
              <a:ext uri="{FF2B5EF4-FFF2-40B4-BE49-F238E27FC236}">
                <a16:creationId xmlns:a16="http://schemas.microsoft.com/office/drawing/2014/main" id="{08B0FC79-36B3-4D17-145A-3339EEABE254}"/>
              </a:ext>
            </a:extLst>
          </p:cNvPr>
          <p:cNvSpPr>
            <a:spLocks noGrp="1"/>
          </p:cNvSpPr>
          <p:nvPr>
            <p:ph type="title"/>
          </p:nvPr>
        </p:nvSpPr>
        <p:spPr>
          <a:xfrm>
            <a:off x="493712" y="342900"/>
            <a:ext cx="5124451" cy="682625"/>
          </a:xfrm>
        </p:spPr>
        <p:txBody>
          <a:bodyPr>
            <a:noAutofit/>
          </a:bodyPr>
          <a:lstStyle>
            <a:lvl1pPr>
              <a:defRPr>
                <a:solidFill>
                  <a:schemeClr val="accent2"/>
                </a:solidFill>
              </a:defRPr>
            </a:lvl1pPr>
          </a:lstStyle>
          <a:p>
            <a:r>
              <a:rPr lang="en-US"/>
              <a:t>Click to edit Master title style</a:t>
            </a:r>
          </a:p>
        </p:txBody>
      </p:sp>
      <p:sp>
        <p:nvSpPr>
          <p:cNvPr id="10" name="Subtitle 2">
            <a:extLst>
              <a:ext uri="{FF2B5EF4-FFF2-40B4-BE49-F238E27FC236}">
                <a16:creationId xmlns:a16="http://schemas.microsoft.com/office/drawing/2014/main" id="{C8FAE5B9-C92B-83C8-7E05-9FB6D50A289C}"/>
              </a:ext>
            </a:extLst>
          </p:cNvPr>
          <p:cNvSpPr>
            <a:spLocks noGrp="1"/>
          </p:cNvSpPr>
          <p:nvPr>
            <p:ph type="subTitle" idx="1"/>
          </p:nvPr>
        </p:nvSpPr>
        <p:spPr>
          <a:xfrm>
            <a:off x="502179" y="1032607"/>
            <a:ext cx="5124451" cy="338993"/>
          </a:xfrm>
        </p:spPr>
        <p:txBody>
          <a:bodyPr>
            <a:noAutofit/>
          </a:bodyPr>
          <a:lstStyle>
            <a:lvl1pPr marL="0" indent="0" algn="l">
              <a:buNone/>
              <a:defRPr sz="21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Box 11">
            <a:extLst>
              <a:ext uri="{FF2B5EF4-FFF2-40B4-BE49-F238E27FC236}">
                <a16:creationId xmlns:a16="http://schemas.microsoft.com/office/drawing/2014/main" id="{E739996B-E07D-D083-7A0F-B3C5FADF7F2D}"/>
              </a:ext>
            </a:extLst>
          </p:cNvPr>
          <p:cNvSpPr txBox="1"/>
          <p:nvPr userDrawn="1"/>
        </p:nvSpPr>
        <p:spPr>
          <a:xfrm>
            <a:off x="493288" y="6562481"/>
            <a:ext cx="5293842" cy="107722"/>
          </a:xfrm>
          <a:prstGeom prst="rect">
            <a:avLst/>
          </a:prstGeom>
          <a:noFill/>
        </p:spPr>
        <p:txBody>
          <a:bodyPr wrap="square" lIns="0" tIns="0" rIns="0" bIns="0">
            <a:spAutoFit/>
          </a:bodyPr>
          <a:lstStyle/>
          <a:p>
            <a:r>
              <a:rPr lang="en-US" sz="700">
                <a:solidFill>
                  <a:schemeClr val="bg1"/>
                </a:solidFill>
              </a:rPr>
              <a:t>© 2024 Veeam Software. Confidential information. All rights reserved. All trademarks are the property of their respective owners. </a:t>
            </a:r>
          </a:p>
        </p:txBody>
      </p:sp>
      <p:sp>
        <p:nvSpPr>
          <p:cNvPr id="17" name="Content Placeholder 18">
            <a:extLst>
              <a:ext uri="{FF2B5EF4-FFF2-40B4-BE49-F238E27FC236}">
                <a16:creationId xmlns:a16="http://schemas.microsoft.com/office/drawing/2014/main" id="{B4232086-16D8-AF74-93B5-C455E7588853}"/>
              </a:ext>
            </a:extLst>
          </p:cNvPr>
          <p:cNvSpPr>
            <a:spLocks noGrp="1"/>
          </p:cNvSpPr>
          <p:nvPr>
            <p:ph sz="quarter" idx="10"/>
          </p:nvPr>
        </p:nvSpPr>
        <p:spPr>
          <a:xfrm>
            <a:off x="493288" y="1719645"/>
            <a:ext cx="5124452" cy="444938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87197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mparison Split Black Righ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BD812B8-83BF-8AA5-9821-680835CFF508}"/>
              </a:ext>
            </a:extLst>
          </p:cNvPr>
          <p:cNvSpPr/>
          <p:nvPr/>
        </p:nvSpPr>
        <p:spPr>
          <a:xfrm>
            <a:off x="609600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a:solidFill>
                <a:schemeClr val="bg1"/>
              </a:solidFill>
              <a:latin typeface="ES Build" pitchFamily="50" charset="0"/>
              <a:cs typeface="Microsoft Sans Serif" panose="020B0604020202020204" pitchFamily="34" charset="0"/>
            </a:endParaRPr>
          </a:p>
        </p:txBody>
      </p:sp>
      <p:sp>
        <p:nvSpPr>
          <p:cNvPr id="4" name="Title 1">
            <a:extLst>
              <a:ext uri="{FF2B5EF4-FFF2-40B4-BE49-F238E27FC236}">
                <a16:creationId xmlns:a16="http://schemas.microsoft.com/office/drawing/2014/main" id="{F03A6B59-1452-CCC2-312B-7DE441C696E7}"/>
              </a:ext>
            </a:extLst>
          </p:cNvPr>
          <p:cNvSpPr>
            <a:spLocks noGrp="1"/>
          </p:cNvSpPr>
          <p:nvPr>
            <p:ph type="title"/>
          </p:nvPr>
        </p:nvSpPr>
        <p:spPr>
          <a:xfrm>
            <a:off x="493714" y="579438"/>
            <a:ext cx="5113896" cy="792162"/>
          </a:xfrm>
        </p:spPr>
        <p:txBody>
          <a:bodyPr>
            <a:noAutofit/>
          </a:bodyPr>
          <a:lstStyle>
            <a:lvl1pPr>
              <a:lnSpc>
                <a:spcPct val="85000"/>
              </a:lnSpc>
              <a:defRPr/>
            </a:lvl1pPr>
          </a:lstStyle>
          <a:p>
            <a:r>
              <a:rPr lang="en-US"/>
              <a:t>Click to edit Master title style</a:t>
            </a:r>
          </a:p>
        </p:txBody>
      </p:sp>
      <p:sp>
        <p:nvSpPr>
          <p:cNvPr id="8" name="Text Placeholder 12">
            <a:extLst>
              <a:ext uri="{FF2B5EF4-FFF2-40B4-BE49-F238E27FC236}">
                <a16:creationId xmlns:a16="http://schemas.microsoft.com/office/drawing/2014/main" id="{89EAACDC-2482-B9F5-9931-3EE65A43C915}"/>
              </a:ext>
            </a:extLst>
          </p:cNvPr>
          <p:cNvSpPr>
            <a:spLocks noGrp="1"/>
          </p:cNvSpPr>
          <p:nvPr>
            <p:ph type="body" sz="quarter" idx="14"/>
          </p:nvPr>
        </p:nvSpPr>
        <p:spPr>
          <a:xfrm>
            <a:off x="6572250" y="1382889"/>
            <a:ext cx="5126366" cy="336374"/>
          </a:xfrm>
        </p:spPr>
        <p:txBody>
          <a:bodyPr>
            <a:noAutofit/>
          </a:bodyPr>
          <a:lstStyle>
            <a:lvl1pPr marL="0" indent="0">
              <a:buNone/>
              <a:defRPr sz="2100">
                <a:solidFill>
                  <a:schemeClr val="bg1"/>
                </a:solidFill>
              </a:defRPr>
            </a:lvl1pPr>
          </a:lstStyle>
          <a:p>
            <a:pPr lvl="0"/>
            <a:r>
              <a:rPr lang="en-US"/>
              <a:t>Click to edit Master text styles</a:t>
            </a:r>
          </a:p>
        </p:txBody>
      </p:sp>
      <p:sp>
        <p:nvSpPr>
          <p:cNvPr id="13" name="Subtitle 2">
            <a:extLst>
              <a:ext uri="{FF2B5EF4-FFF2-40B4-BE49-F238E27FC236}">
                <a16:creationId xmlns:a16="http://schemas.microsoft.com/office/drawing/2014/main" id="{91A7B158-4678-4830-6566-C97CC666E487}"/>
              </a:ext>
            </a:extLst>
          </p:cNvPr>
          <p:cNvSpPr>
            <a:spLocks noGrp="1"/>
          </p:cNvSpPr>
          <p:nvPr>
            <p:ph type="subTitle" idx="1"/>
          </p:nvPr>
        </p:nvSpPr>
        <p:spPr>
          <a:xfrm>
            <a:off x="493714" y="1371600"/>
            <a:ext cx="5113896" cy="347663"/>
          </a:xfrm>
        </p:spPr>
        <p:txBody>
          <a:bodyPr>
            <a:noAutofit/>
          </a:bodyPr>
          <a:lstStyle>
            <a:lvl1pPr marL="0" indent="0" algn="l">
              <a:buNone/>
              <a:defRPr sz="21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Text Placeholder 11">
            <a:extLst>
              <a:ext uri="{FF2B5EF4-FFF2-40B4-BE49-F238E27FC236}">
                <a16:creationId xmlns:a16="http://schemas.microsoft.com/office/drawing/2014/main" id="{1FACF739-09AA-5B53-99CA-886DA84E7C8E}"/>
              </a:ext>
            </a:extLst>
          </p:cNvPr>
          <p:cNvSpPr>
            <a:spLocks noGrp="1"/>
          </p:cNvSpPr>
          <p:nvPr>
            <p:ph type="body" sz="quarter" idx="16"/>
          </p:nvPr>
        </p:nvSpPr>
        <p:spPr>
          <a:xfrm>
            <a:off x="6572250" y="579439"/>
            <a:ext cx="5126365" cy="792162"/>
          </a:xfrm>
        </p:spPr>
        <p:txBody>
          <a:bodyPr anchor="b">
            <a:noAutofit/>
          </a:bodyPr>
          <a:lstStyle>
            <a:lvl1pPr marL="0" indent="0">
              <a:lnSpc>
                <a:spcPct val="85000"/>
              </a:lnSpc>
              <a:buNone/>
              <a:defRPr sz="3400">
                <a:solidFill>
                  <a:schemeClr val="accent2"/>
                </a:solidFill>
                <a:latin typeface="+mn-lt"/>
              </a:defRPr>
            </a:lvl1pPr>
          </a:lstStyle>
          <a:p>
            <a:pPr lvl="0"/>
            <a:r>
              <a:rPr lang="en-US"/>
              <a:t>Click to edit Master text styles</a:t>
            </a:r>
          </a:p>
        </p:txBody>
      </p:sp>
      <p:sp>
        <p:nvSpPr>
          <p:cNvPr id="16" name="Footer Placeholder 66">
            <a:extLst>
              <a:ext uri="{FF2B5EF4-FFF2-40B4-BE49-F238E27FC236}">
                <a16:creationId xmlns:a16="http://schemas.microsoft.com/office/drawing/2014/main" id="{232DA366-8FF0-29B7-554C-22164CC79C18}"/>
              </a:ext>
            </a:extLst>
          </p:cNvPr>
          <p:cNvSpPr>
            <a:spLocks noGrp="1"/>
          </p:cNvSpPr>
          <p:nvPr>
            <p:ph type="ftr" sz="quarter" idx="3"/>
          </p:nvPr>
        </p:nvSpPr>
        <p:spPr>
          <a:xfrm>
            <a:off x="493290" y="6405456"/>
            <a:ext cx="5124874" cy="107722"/>
          </a:xfrm>
          <a:prstGeom prst="rect">
            <a:avLst/>
          </a:prstGeom>
        </p:spPr>
        <p:txBody>
          <a:bodyPr vert="horz" lIns="0" tIns="0" rIns="0" bIns="0" rtlCol="0" anchor="b"/>
          <a:lstStyle>
            <a:lvl1pPr algn="l">
              <a:defRPr sz="700">
                <a:solidFill>
                  <a:schemeClr val="tx2"/>
                </a:solidFill>
              </a:defRPr>
            </a:lvl1pPr>
          </a:lstStyle>
          <a:p>
            <a:endParaRPr lang="en-US"/>
          </a:p>
        </p:txBody>
      </p:sp>
      <p:sp>
        <p:nvSpPr>
          <p:cNvPr id="30" name="Content Placeholder 18">
            <a:extLst>
              <a:ext uri="{FF2B5EF4-FFF2-40B4-BE49-F238E27FC236}">
                <a16:creationId xmlns:a16="http://schemas.microsoft.com/office/drawing/2014/main" id="{1F45315A-C967-E7DD-C442-6EA352332DDD}"/>
              </a:ext>
            </a:extLst>
          </p:cNvPr>
          <p:cNvSpPr>
            <a:spLocks noGrp="1"/>
          </p:cNvSpPr>
          <p:nvPr>
            <p:ph sz="quarter" idx="10"/>
          </p:nvPr>
        </p:nvSpPr>
        <p:spPr>
          <a:xfrm>
            <a:off x="493288" y="2397125"/>
            <a:ext cx="5124876" cy="37719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Content Placeholder 18">
            <a:extLst>
              <a:ext uri="{FF2B5EF4-FFF2-40B4-BE49-F238E27FC236}">
                <a16:creationId xmlns:a16="http://schemas.microsoft.com/office/drawing/2014/main" id="{9ED4AEB4-9EA6-CDDB-5599-29834D25B7CF}"/>
              </a:ext>
            </a:extLst>
          </p:cNvPr>
          <p:cNvSpPr>
            <a:spLocks noGrp="1"/>
          </p:cNvSpPr>
          <p:nvPr>
            <p:ph sz="quarter" idx="11"/>
          </p:nvPr>
        </p:nvSpPr>
        <p:spPr>
          <a:xfrm>
            <a:off x="6574140" y="2394727"/>
            <a:ext cx="5124475" cy="3771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2" name="Graphic 31">
            <a:extLst>
              <a:ext uri="{FF2B5EF4-FFF2-40B4-BE49-F238E27FC236}">
                <a16:creationId xmlns:a16="http://schemas.microsoft.com/office/drawing/2014/main" id="{0FC29F35-CB42-8207-EEB9-EB1395B3D507}"/>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180146" y="6513177"/>
            <a:ext cx="516553" cy="157025"/>
          </a:xfrm>
          <a:prstGeom prst="rect">
            <a:avLst/>
          </a:prstGeom>
        </p:spPr>
      </p:pic>
    </p:spTree>
    <p:extLst>
      <p:ext uri="{BB962C8B-B14F-4D97-AF65-F5344CB8AC3E}">
        <p14:creationId xmlns:p14="http://schemas.microsoft.com/office/powerpoint/2010/main" val="324597524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mparison Split Black Lef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BD812B8-83BF-8AA5-9821-680835CFF508}"/>
              </a:ext>
            </a:extLst>
          </p:cNvPr>
          <p:cNvSpPr/>
          <p:nvPr/>
        </p:nvSpPr>
        <p:spPr>
          <a:xfrm>
            <a:off x="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a:solidFill>
                <a:schemeClr val="bg1"/>
              </a:solidFill>
              <a:latin typeface="ES Build" pitchFamily="50" charset="0"/>
              <a:cs typeface="Microsoft Sans Serif" panose="020B0604020202020204" pitchFamily="34" charset="0"/>
            </a:endParaRPr>
          </a:p>
        </p:txBody>
      </p:sp>
      <p:sp>
        <p:nvSpPr>
          <p:cNvPr id="4" name="Title 1">
            <a:extLst>
              <a:ext uri="{FF2B5EF4-FFF2-40B4-BE49-F238E27FC236}">
                <a16:creationId xmlns:a16="http://schemas.microsoft.com/office/drawing/2014/main" id="{F03A6B59-1452-CCC2-312B-7DE441C696E7}"/>
              </a:ext>
            </a:extLst>
          </p:cNvPr>
          <p:cNvSpPr>
            <a:spLocks noGrp="1"/>
          </p:cNvSpPr>
          <p:nvPr>
            <p:ph type="title"/>
          </p:nvPr>
        </p:nvSpPr>
        <p:spPr>
          <a:xfrm>
            <a:off x="493714" y="579438"/>
            <a:ext cx="5113896" cy="792162"/>
          </a:xfrm>
        </p:spPr>
        <p:txBody>
          <a:bodyPr>
            <a:noAutofit/>
          </a:bodyPr>
          <a:lstStyle>
            <a:lvl1pPr>
              <a:lnSpc>
                <a:spcPct val="85000"/>
              </a:lnSpc>
              <a:defRPr>
                <a:solidFill>
                  <a:schemeClr val="accent2"/>
                </a:solidFill>
              </a:defRPr>
            </a:lvl1pPr>
          </a:lstStyle>
          <a:p>
            <a:r>
              <a:rPr lang="en-US"/>
              <a:t>Click to edit Master title style</a:t>
            </a:r>
          </a:p>
        </p:txBody>
      </p:sp>
      <p:sp>
        <p:nvSpPr>
          <p:cNvPr id="8" name="Text Placeholder 12">
            <a:extLst>
              <a:ext uri="{FF2B5EF4-FFF2-40B4-BE49-F238E27FC236}">
                <a16:creationId xmlns:a16="http://schemas.microsoft.com/office/drawing/2014/main" id="{89EAACDC-2482-B9F5-9931-3EE65A43C915}"/>
              </a:ext>
            </a:extLst>
          </p:cNvPr>
          <p:cNvSpPr>
            <a:spLocks noGrp="1"/>
          </p:cNvSpPr>
          <p:nvPr>
            <p:ph type="body" sz="quarter" idx="14"/>
          </p:nvPr>
        </p:nvSpPr>
        <p:spPr>
          <a:xfrm>
            <a:off x="6572250" y="1382889"/>
            <a:ext cx="5126366" cy="336374"/>
          </a:xfrm>
        </p:spPr>
        <p:txBody>
          <a:bodyPr>
            <a:noAutofit/>
          </a:bodyPr>
          <a:lstStyle>
            <a:lvl1pPr marL="0" indent="0">
              <a:buNone/>
              <a:defRPr sz="2100">
                <a:solidFill>
                  <a:schemeClr val="tx1"/>
                </a:solidFill>
              </a:defRPr>
            </a:lvl1pPr>
          </a:lstStyle>
          <a:p>
            <a:pPr lvl="0"/>
            <a:r>
              <a:rPr lang="en-US"/>
              <a:t>Click to edit Master text styles</a:t>
            </a:r>
          </a:p>
        </p:txBody>
      </p:sp>
      <p:sp>
        <p:nvSpPr>
          <p:cNvPr id="13" name="Subtitle 2">
            <a:extLst>
              <a:ext uri="{FF2B5EF4-FFF2-40B4-BE49-F238E27FC236}">
                <a16:creationId xmlns:a16="http://schemas.microsoft.com/office/drawing/2014/main" id="{91A7B158-4678-4830-6566-C97CC666E487}"/>
              </a:ext>
            </a:extLst>
          </p:cNvPr>
          <p:cNvSpPr>
            <a:spLocks noGrp="1"/>
          </p:cNvSpPr>
          <p:nvPr>
            <p:ph type="subTitle" idx="1"/>
          </p:nvPr>
        </p:nvSpPr>
        <p:spPr>
          <a:xfrm>
            <a:off x="493714" y="1371600"/>
            <a:ext cx="5113896" cy="347663"/>
          </a:xfrm>
        </p:spPr>
        <p:txBody>
          <a:bodyPr>
            <a:noAutofit/>
          </a:bodyPr>
          <a:lstStyle>
            <a:lvl1pPr marL="0" indent="0" algn="l">
              <a:buNone/>
              <a:defRPr sz="21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Text Placeholder 11">
            <a:extLst>
              <a:ext uri="{FF2B5EF4-FFF2-40B4-BE49-F238E27FC236}">
                <a16:creationId xmlns:a16="http://schemas.microsoft.com/office/drawing/2014/main" id="{1FACF739-09AA-5B53-99CA-886DA84E7C8E}"/>
              </a:ext>
            </a:extLst>
          </p:cNvPr>
          <p:cNvSpPr>
            <a:spLocks noGrp="1"/>
          </p:cNvSpPr>
          <p:nvPr>
            <p:ph type="body" sz="quarter" idx="16"/>
          </p:nvPr>
        </p:nvSpPr>
        <p:spPr>
          <a:xfrm>
            <a:off x="6572250" y="579439"/>
            <a:ext cx="5126365" cy="792162"/>
          </a:xfrm>
        </p:spPr>
        <p:txBody>
          <a:bodyPr anchor="b">
            <a:noAutofit/>
          </a:bodyPr>
          <a:lstStyle>
            <a:lvl1pPr marL="0" indent="0">
              <a:lnSpc>
                <a:spcPct val="85000"/>
              </a:lnSpc>
              <a:buNone/>
              <a:defRPr sz="3400">
                <a:solidFill>
                  <a:schemeClr val="tx1"/>
                </a:solidFill>
                <a:latin typeface="+mn-lt"/>
              </a:defRPr>
            </a:lvl1pPr>
          </a:lstStyle>
          <a:p>
            <a:pPr lvl="0"/>
            <a:r>
              <a:rPr lang="en-US"/>
              <a:t>Click to edit Master text styles</a:t>
            </a:r>
          </a:p>
        </p:txBody>
      </p:sp>
      <p:sp>
        <p:nvSpPr>
          <p:cNvPr id="16" name="Footer Placeholder 66">
            <a:extLst>
              <a:ext uri="{FF2B5EF4-FFF2-40B4-BE49-F238E27FC236}">
                <a16:creationId xmlns:a16="http://schemas.microsoft.com/office/drawing/2014/main" id="{232DA366-8FF0-29B7-554C-22164CC79C18}"/>
              </a:ext>
            </a:extLst>
          </p:cNvPr>
          <p:cNvSpPr>
            <a:spLocks noGrp="1"/>
          </p:cNvSpPr>
          <p:nvPr>
            <p:ph type="ftr" sz="quarter" idx="3"/>
          </p:nvPr>
        </p:nvSpPr>
        <p:spPr>
          <a:xfrm>
            <a:off x="493290" y="6405456"/>
            <a:ext cx="5124874" cy="107722"/>
          </a:xfrm>
          <a:prstGeom prst="rect">
            <a:avLst/>
          </a:prstGeom>
        </p:spPr>
        <p:txBody>
          <a:bodyPr vert="horz" lIns="0" tIns="0" rIns="0" bIns="0" rtlCol="0" anchor="b"/>
          <a:lstStyle>
            <a:lvl1pPr algn="l">
              <a:defRPr sz="700">
                <a:solidFill>
                  <a:schemeClr val="bg1"/>
                </a:solidFill>
              </a:defRPr>
            </a:lvl1pPr>
          </a:lstStyle>
          <a:p>
            <a:endParaRPr lang="en-US"/>
          </a:p>
        </p:txBody>
      </p:sp>
      <p:sp>
        <p:nvSpPr>
          <p:cNvPr id="5" name="Content Placeholder 18">
            <a:extLst>
              <a:ext uri="{FF2B5EF4-FFF2-40B4-BE49-F238E27FC236}">
                <a16:creationId xmlns:a16="http://schemas.microsoft.com/office/drawing/2014/main" id="{CE6B2438-60C2-843A-B95D-BA0BE15F2F53}"/>
              </a:ext>
            </a:extLst>
          </p:cNvPr>
          <p:cNvSpPr>
            <a:spLocks noGrp="1"/>
          </p:cNvSpPr>
          <p:nvPr>
            <p:ph sz="quarter" idx="10"/>
          </p:nvPr>
        </p:nvSpPr>
        <p:spPr>
          <a:xfrm>
            <a:off x="493288" y="2397125"/>
            <a:ext cx="5124876" cy="3771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18">
            <a:extLst>
              <a:ext uri="{FF2B5EF4-FFF2-40B4-BE49-F238E27FC236}">
                <a16:creationId xmlns:a16="http://schemas.microsoft.com/office/drawing/2014/main" id="{C63D5B78-F4F6-C1E3-9303-A45D48E5F9BC}"/>
              </a:ext>
            </a:extLst>
          </p:cNvPr>
          <p:cNvSpPr>
            <a:spLocks noGrp="1"/>
          </p:cNvSpPr>
          <p:nvPr>
            <p:ph sz="quarter" idx="11"/>
          </p:nvPr>
        </p:nvSpPr>
        <p:spPr>
          <a:xfrm>
            <a:off x="6574140" y="2394727"/>
            <a:ext cx="5124475" cy="37719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Box 1">
            <a:extLst>
              <a:ext uri="{FF2B5EF4-FFF2-40B4-BE49-F238E27FC236}">
                <a16:creationId xmlns:a16="http://schemas.microsoft.com/office/drawing/2014/main" id="{9F6F3BAF-0EF8-B827-F71A-69D9A9884016}"/>
              </a:ext>
            </a:extLst>
          </p:cNvPr>
          <p:cNvSpPr txBox="1"/>
          <p:nvPr userDrawn="1"/>
        </p:nvSpPr>
        <p:spPr>
          <a:xfrm>
            <a:off x="493288" y="6562481"/>
            <a:ext cx="5293842" cy="107722"/>
          </a:xfrm>
          <a:prstGeom prst="rect">
            <a:avLst/>
          </a:prstGeom>
          <a:noFill/>
        </p:spPr>
        <p:txBody>
          <a:bodyPr wrap="square" lIns="0" tIns="0" rIns="0" bIns="0">
            <a:spAutoFit/>
          </a:bodyPr>
          <a:lstStyle/>
          <a:p>
            <a:r>
              <a:rPr lang="en-US" sz="700">
                <a:solidFill>
                  <a:schemeClr val="bg1"/>
                </a:solidFill>
              </a:rPr>
              <a:t>© 2023 Veeam Software. Confidential information. All rights reserved. All trademarks are the property of their respective owners. </a:t>
            </a:r>
          </a:p>
        </p:txBody>
      </p:sp>
    </p:spTree>
    <p:extLst>
      <p:ext uri="{BB962C8B-B14F-4D97-AF65-F5344CB8AC3E}">
        <p14:creationId xmlns:p14="http://schemas.microsoft.com/office/powerpoint/2010/main" val="132510720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mparison Viridis Right">
    <p:spTree>
      <p:nvGrpSpPr>
        <p:cNvPr id="1" name=""/>
        <p:cNvGrpSpPr/>
        <p:nvPr/>
      </p:nvGrpSpPr>
      <p:grpSpPr>
        <a:xfrm>
          <a:off x="0" y="0"/>
          <a:ext cx="0" cy="0"/>
          <a:chOff x="0" y="0"/>
          <a:chExt cx="0" cy="0"/>
        </a:xfrm>
      </p:grpSpPr>
      <p:sp>
        <p:nvSpPr>
          <p:cNvPr id="311" name="Freeform: Shape 310">
            <a:extLst>
              <a:ext uri="{FF2B5EF4-FFF2-40B4-BE49-F238E27FC236}">
                <a16:creationId xmlns:a16="http://schemas.microsoft.com/office/drawing/2014/main" id="{FA3D5559-630B-68EB-88DB-BCC345505905}"/>
              </a:ext>
            </a:extLst>
          </p:cNvPr>
          <p:cNvSpPr/>
          <p:nvPr/>
        </p:nvSpPr>
        <p:spPr>
          <a:xfrm>
            <a:off x="6096000" y="329967"/>
            <a:ext cx="6096000" cy="6528034"/>
          </a:xfrm>
          <a:custGeom>
            <a:avLst/>
            <a:gdLst>
              <a:gd name="connsiteX0" fmla="*/ 498361 w 6096000"/>
              <a:gd name="connsiteY0" fmla="*/ 0 h 6528034"/>
              <a:gd name="connsiteX1" fmla="*/ 2956322 w 6096000"/>
              <a:gd name="connsiteY1" fmla="*/ 0 h 6528034"/>
              <a:gd name="connsiteX2" fmla="*/ 2956322 w 6096000"/>
              <a:gd name="connsiteY2" fmla="*/ 1 h 6528034"/>
              <a:gd name="connsiteX3" fmla="*/ 3133467 w 6096000"/>
              <a:gd name="connsiteY3" fmla="*/ 1 h 6528034"/>
              <a:gd name="connsiteX4" fmla="*/ 5254219 w 6096000"/>
              <a:gd name="connsiteY4" fmla="*/ 1 h 6528034"/>
              <a:gd name="connsiteX5" fmla="*/ 5254219 w 6096000"/>
              <a:gd name="connsiteY5" fmla="*/ 2612 h 6528034"/>
              <a:gd name="connsiteX6" fmla="*/ 5334022 w 6096000"/>
              <a:gd name="connsiteY6" fmla="*/ 2594 h 6528034"/>
              <a:gd name="connsiteX7" fmla="*/ 5567834 w 6096000"/>
              <a:gd name="connsiteY7" fmla="*/ 100419 h 6528034"/>
              <a:gd name="connsiteX8" fmla="*/ 5998174 w 6096000"/>
              <a:gd name="connsiteY8" fmla="*/ 530758 h 6528034"/>
              <a:gd name="connsiteX9" fmla="*/ 6089287 w 6096000"/>
              <a:gd name="connsiteY9" fmla="*/ 699850 h 6528034"/>
              <a:gd name="connsiteX10" fmla="*/ 6092847 w 6096000"/>
              <a:gd name="connsiteY10" fmla="*/ 734186 h 6528034"/>
              <a:gd name="connsiteX11" fmla="*/ 6094720 w 6096000"/>
              <a:gd name="connsiteY11" fmla="*/ 734187 h 6528034"/>
              <a:gd name="connsiteX12" fmla="*/ 6094720 w 6096000"/>
              <a:gd name="connsiteY12" fmla="*/ 752239 h 6528034"/>
              <a:gd name="connsiteX13" fmla="*/ 6096000 w 6096000"/>
              <a:gd name="connsiteY13" fmla="*/ 764572 h 6528034"/>
              <a:gd name="connsiteX14" fmla="*/ 6095930 w 6096000"/>
              <a:gd name="connsiteY14" fmla="*/ 1081147 h 6528034"/>
              <a:gd name="connsiteX15" fmla="*/ 6095926 w 6096000"/>
              <a:gd name="connsiteY15" fmla="*/ 1105640 h 6528034"/>
              <a:gd name="connsiteX16" fmla="*/ 6096000 w 6096000"/>
              <a:gd name="connsiteY16" fmla="*/ 1106355 h 6528034"/>
              <a:gd name="connsiteX17" fmla="*/ 6095896 w 6096000"/>
              <a:gd name="connsiteY17" fmla="*/ 1578910 h 6528034"/>
              <a:gd name="connsiteX18" fmla="*/ 6095210 w 6096000"/>
              <a:gd name="connsiteY18" fmla="*/ 1578912 h 6528034"/>
              <a:gd name="connsiteX19" fmla="*/ 6094720 w 6096000"/>
              <a:gd name="connsiteY19" fmla="*/ 1578914 h 6528034"/>
              <a:gd name="connsiteX20" fmla="*/ 6094720 w 6096000"/>
              <a:gd name="connsiteY20" fmla="*/ 1676436 h 6528034"/>
              <a:gd name="connsiteX21" fmla="*/ 6094720 w 6096000"/>
              <a:gd name="connsiteY21" fmla="*/ 1939724 h 6528034"/>
              <a:gd name="connsiteX22" fmla="*/ 6094720 w 6096000"/>
              <a:gd name="connsiteY22" fmla="*/ 1957771 h 6528034"/>
              <a:gd name="connsiteX23" fmla="*/ 6096000 w 6096000"/>
              <a:gd name="connsiteY23" fmla="*/ 1970105 h 6528034"/>
              <a:gd name="connsiteX24" fmla="*/ 6095930 w 6096000"/>
              <a:gd name="connsiteY24" fmla="*/ 2286686 h 6528034"/>
              <a:gd name="connsiteX25" fmla="*/ 6095926 w 6096000"/>
              <a:gd name="connsiteY25" fmla="*/ 2311171 h 6528034"/>
              <a:gd name="connsiteX26" fmla="*/ 6095999 w 6096000"/>
              <a:gd name="connsiteY26" fmla="*/ 2311888 h 6528034"/>
              <a:gd name="connsiteX27" fmla="*/ 6095896 w 6096000"/>
              <a:gd name="connsiteY27" fmla="*/ 2784449 h 6528034"/>
              <a:gd name="connsiteX28" fmla="*/ 6095210 w 6096000"/>
              <a:gd name="connsiteY28" fmla="*/ 2784450 h 6528034"/>
              <a:gd name="connsiteX29" fmla="*/ 6094720 w 6096000"/>
              <a:gd name="connsiteY29" fmla="*/ 2784451 h 6528034"/>
              <a:gd name="connsiteX30" fmla="*/ 6094720 w 6096000"/>
              <a:gd name="connsiteY30" fmla="*/ 2881981 h 6528034"/>
              <a:gd name="connsiteX31" fmla="*/ 6094720 w 6096000"/>
              <a:gd name="connsiteY31" fmla="*/ 3094524 h 6528034"/>
              <a:gd name="connsiteX32" fmla="*/ 6094720 w 6096000"/>
              <a:gd name="connsiteY32" fmla="*/ 3223754 h 6528034"/>
              <a:gd name="connsiteX33" fmla="*/ 6094720 w 6096000"/>
              <a:gd name="connsiteY33" fmla="*/ 3316620 h 6528034"/>
              <a:gd name="connsiteX34" fmla="*/ 6094720 w 6096000"/>
              <a:gd name="connsiteY34" fmla="*/ 3436291 h 6528034"/>
              <a:gd name="connsiteX35" fmla="*/ 6094720 w 6096000"/>
              <a:gd name="connsiteY35" fmla="*/ 3524159 h 6528034"/>
              <a:gd name="connsiteX36" fmla="*/ 6094720 w 6096000"/>
              <a:gd name="connsiteY36" fmla="*/ 3612822 h 6528034"/>
              <a:gd name="connsiteX37" fmla="*/ 6096000 w 6096000"/>
              <a:gd name="connsiteY37" fmla="*/ 3625155 h 6528034"/>
              <a:gd name="connsiteX38" fmla="*/ 6095930 w 6096000"/>
              <a:gd name="connsiteY38" fmla="*/ 3941730 h 6528034"/>
              <a:gd name="connsiteX39" fmla="*/ 6095926 w 6096000"/>
              <a:gd name="connsiteY39" fmla="*/ 3966224 h 6528034"/>
              <a:gd name="connsiteX40" fmla="*/ 6096000 w 6096000"/>
              <a:gd name="connsiteY40" fmla="*/ 3966938 h 6528034"/>
              <a:gd name="connsiteX41" fmla="*/ 6095995 w 6096000"/>
              <a:gd name="connsiteY41" fmla="*/ 3991859 h 6528034"/>
              <a:gd name="connsiteX42" fmla="*/ 6095993 w 6096000"/>
              <a:gd name="connsiteY42" fmla="*/ 4001046 h 6528034"/>
              <a:gd name="connsiteX43" fmla="*/ 6095999 w 6096000"/>
              <a:gd name="connsiteY43" fmla="*/ 4001118 h 6528034"/>
              <a:gd name="connsiteX44" fmla="*/ 6095930 w 6096000"/>
              <a:gd name="connsiteY44" fmla="*/ 4317694 h 6528034"/>
              <a:gd name="connsiteX45" fmla="*/ 6095926 w 6096000"/>
              <a:gd name="connsiteY45" fmla="*/ 4342186 h 6528034"/>
              <a:gd name="connsiteX46" fmla="*/ 6096000 w 6096000"/>
              <a:gd name="connsiteY46" fmla="*/ 4342902 h 6528034"/>
              <a:gd name="connsiteX47" fmla="*/ 6095896 w 6096000"/>
              <a:gd name="connsiteY47" fmla="*/ 4815458 h 6528034"/>
              <a:gd name="connsiteX48" fmla="*/ 6095209 w 6096000"/>
              <a:gd name="connsiteY48" fmla="*/ 4815459 h 6528034"/>
              <a:gd name="connsiteX49" fmla="*/ 6094720 w 6096000"/>
              <a:gd name="connsiteY49" fmla="*/ 4815459 h 6528034"/>
              <a:gd name="connsiteX50" fmla="*/ 6094720 w 6096000"/>
              <a:gd name="connsiteY50" fmla="*/ 4901060 h 6528034"/>
              <a:gd name="connsiteX51" fmla="*/ 6094720 w 6096000"/>
              <a:gd name="connsiteY51" fmla="*/ 5109958 h 6528034"/>
              <a:gd name="connsiteX52" fmla="*/ 6094720 w 6096000"/>
              <a:gd name="connsiteY52" fmla="*/ 5202832 h 6528034"/>
              <a:gd name="connsiteX53" fmla="*/ 6094720 w 6096000"/>
              <a:gd name="connsiteY53" fmla="*/ 5242844 h 6528034"/>
              <a:gd name="connsiteX54" fmla="*/ 6094720 w 6096000"/>
              <a:gd name="connsiteY54" fmla="*/ 5544616 h 6528034"/>
              <a:gd name="connsiteX55" fmla="*/ 6094720 w 6096000"/>
              <a:gd name="connsiteY55" fmla="*/ 5884479 h 6528034"/>
              <a:gd name="connsiteX56" fmla="*/ 6094720 w 6096000"/>
              <a:gd name="connsiteY56" fmla="*/ 6186250 h 6528034"/>
              <a:gd name="connsiteX57" fmla="*/ 6094720 w 6096000"/>
              <a:gd name="connsiteY57" fmla="*/ 6226262 h 6528034"/>
              <a:gd name="connsiteX58" fmla="*/ 6094720 w 6096000"/>
              <a:gd name="connsiteY58" fmla="*/ 6528034 h 6528034"/>
              <a:gd name="connsiteX59" fmla="*/ 5774783 w 6096000"/>
              <a:gd name="connsiteY59" fmla="*/ 6528034 h 6528034"/>
              <a:gd name="connsiteX60" fmla="*/ 5597638 w 6096000"/>
              <a:gd name="connsiteY60" fmla="*/ 6528034 h 6528034"/>
              <a:gd name="connsiteX61" fmla="*/ 3636760 w 6096000"/>
              <a:gd name="connsiteY61" fmla="*/ 6528034 h 6528034"/>
              <a:gd name="connsiteX62" fmla="*/ 3459615 w 6096000"/>
              <a:gd name="connsiteY62" fmla="*/ 6528034 h 6528034"/>
              <a:gd name="connsiteX63" fmla="*/ 3139677 w 6096000"/>
              <a:gd name="connsiteY63" fmla="*/ 6528034 h 6528034"/>
              <a:gd name="connsiteX64" fmla="*/ 3139677 w 6096000"/>
              <a:gd name="connsiteY64" fmla="*/ 6528032 h 6528034"/>
              <a:gd name="connsiteX65" fmla="*/ 2962532 w 6096000"/>
              <a:gd name="connsiteY65" fmla="*/ 6528032 h 6528034"/>
              <a:gd name="connsiteX66" fmla="*/ 841782 w 6096000"/>
              <a:gd name="connsiteY66" fmla="*/ 6528032 h 6528034"/>
              <a:gd name="connsiteX67" fmla="*/ 841782 w 6096000"/>
              <a:gd name="connsiteY67" fmla="*/ 6527773 h 6528034"/>
              <a:gd name="connsiteX68" fmla="*/ 761978 w 6096000"/>
              <a:gd name="connsiteY68" fmla="*/ 6527791 h 6528034"/>
              <a:gd name="connsiteX69" fmla="*/ 528166 w 6096000"/>
              <a:gd name="connsiteY69" fmla="*/ 6429965 h 6528034"/>
              <a:gd name="connsiteX70" fmla="*/ 97826 w 6096000"/>
              <a:gd name="connsiteY70" fmla="*/ 5999627 h 6528034"/>
              <a:gd name="connsiteX71" fmla="*/ 2 w 6096000"/>
              <a:gd name="connsiteY71" fmla="*/ 5765813 h 6528034"/>
              <a:gd name="connsiteX72" fmla="*/ 57 w 6096000"/>
              <a:gd name="connsiteY72" fmla="*/ 5512346 h 6528034"/>
              <a:gd name="connsiteX73" fmla="*/ 67 w 6096000"/>
              <a:gd name="connsiteY73" fmla="*/ 5464670 h 6528034"/>
              <a:gd name="connsiteX74" fmla="*/ 2 w 6096000"/>
              <a:gd name="connsiteY74" fmla="*/ 5464039 h 6528034"/>
              <a:gd name="connsiteX75" fmla="*/ 7 w 6096000"/>
              <a:gd name="connsiteY75" fmla="*/ 5439119 h 6528034"/>
              <a:gd name="connsiteX76" fmla="*/ 10 w 6096000"/>
              <a:gd name="connsiteY76" fmla="*/ 5424128 h 6528034"/>
              <a:gd name="connsiteX77" fmla="*/ 0 w 6096000"/>
              <a:gd name="connsiteY77" fmla="*/ 5424029 h 6528034"/>
              <a:gd name="connsiteX78" fmla="*/ 55 w 6096000"/>
              <a:gd name="connsiteY78" fmla="*/ 5170563 h 6528034"/>
              <a:gd name="connsiteX79" fmla="*/ 66 w 6096000"/>
              <a:gd name="connsiteY79" fmla="*/ 5122889 h 6528034"/>
              <a:gd name="connsiteX80" fmla="*/ 0 w 6096000"/>
              <a:gd name="connsiteY80" fmla="*/ 5122257 h 6528034"/>
              <a:gd name="connsiteX81" fmla="*/ 103 w 6096000"/>
              <a:gd name="connsiteY81" fmla="*/ 4649702 h 6528034"/>
              <a:gd name="connsiteX82" fmla="*/ 790 w 6096000"/>
              <a:gd name="connsiteY82" fmla="*/ 4649701 h 6528034"/>
              <a:gd name="connsiteX83" fmla="*/ 1276 w 6096000"/>
              <a:gd name="connsiteY83" fmla="*/ 4649700 h 6528034"/>
              <a:gd name="connsiteX84" fmla="*/ 1277 w 6096000"/>
              <a:gd name="connsiteY84" fmla="*/ 3891898 h 6528034"/>
              <a:gd name="connsiteX85" fmla="*/ 1 w 6096000"/>
              <a:gd name="connsiteY85" fmla="*/ 3879598 h 6528034"/>
              <a:gd name="connsiteX86" fmla="*/ 70 w 6096000"/>
              <a:gd name="connsiteY86" fmla="*/ 3563023 h 6528034"/>
              <a:gd name="connsiteX87" fmla="*/ 76 w 6096000"/>
              <a:gd name="connsiteY87" fmla="*/ 3538548 h 6528034"/>
              <a:gd name="connsiteX88" fmla="*/ 0 w 6096000"/>
              <a:gd name="connsiteY88" fmla="*/ 3537818 h 6528034"/>
              <a:gd name="connsiteX89" fmla="*/ 103 w 6096000"/>
              <a:gd name="connsiteY89" fmla="*/ 3065277 h 6528034"/>
              <a:gd name="connsiteX90" fmla="*/ 791 w 6096000"/>
              <a:gd name="connsiteY90" fmla="*/ 3065276 h 6528034"/>
              <a:gd name="connsiteX91" fmla="*/ 1277 w 6096000"/>
              <a:gd name="connsiteY91" fmla="*/ 3065275 h 6528034"/>
              <a:gd name="connsiteX92" fmla="*/ 1277 w 6096000"/>
              <a:gd name="connsiteY92" fmla="*/ 2686371 h 6528034"/>
              <a:gd name="connsiteX93" fmla="*/ 2 w 6096000"/>
              <a:gd name="connsiteY93" fmla="*/ 2674072 h 6528034"/>
              <a:gd name="connsiteX94" fmla="*/ 70 w 6096000"/>
              <a:gd name="connsiteY94" fmla="*/ 2357496 h 6528034"/>
              <a:gd name="connsiteX95" fmla="*/ 75 w 6096000"/>
              <a:gd name="connsiteY95" fmla="*/ 2333023 h 6528034"/>
              <a:gd name="connsiteX96" fmla="*/ 0 w 6096000"/>
              <a:gd name="connsiteY96" fmla="*/ 2332286 h 6528034"/>
              <a:gd name="connsiteX97" fmla="*/ 102 w 6096000"/>
              <a:gd name="connsiteY97" fmla="*/ 1859734 h 6528034"/>
              <a:gd name="connsiteX98" fmla="*/ 790 w 6096000"/>
              <a:gd name="connsiteY98" fmla="*/ 1859730 h 6528034"/>
              <a:gd name="connsiteX99" fmla="*/ 1277 w 6096000"/>
              <a:gd name="connsiteY99" fmla="*/ 1859730 h 6528034"/>
              <a:gd name="connsiteX100" fmla="*/ 1277 w 6096000"/>
              <a:gd name="connsiteY100" fmla="*/ 734186 h 6528034"/>
              <a:gd name="connsiteX101" fmla="*/ 1278 w 6096000"/>
              <a:gd name="connsiteY101" fmla="*/ 734186 h 6528034"/>
              <a:gd name="connsiteX102" fmla="*/ 1278 w 6096000"/>
              <a:gd name="connsiteY102" fmla="*/ 1 h 652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6096000" h="6528034">
                <a:moveTo>
                  <a:pt x="498361" y="0"/>
                </a:moveTo>
                <a:lnTo>
                  <a:pt x="2956322" y="0"/>
                </a:lnTo>
                <a:lnTo>
                  <a:pt x="2956322" y="1"/>
                </a:lnTo>
                <a:lnTo>
                  <a:pt x="3133467" y="1"/>
                </a:lnTo>
                <a:lnTo>
                  <a:pt x="5254219" y="1"/>
                </a:lnTo>
                <a:lnTo>
                  <a:pt x="5254219" y="2612"/>
                </a:lnTo>
                <a:lnTo>
                  <a:pt x="5334022" y="2594"/>
                </a:lnTo>
                <a:cubicBezTo>
                  <a:pt x="5421676" y="3113"/>
                  <a:pt x="5505980" y="38567"/>
                  <a:pt x="5567834" y="100419"/>
                </a:cubicBezTo>
                <a:cubicBezTo>
                  <a:pt x="5567834" y="100419"/>
                  <a:pt x="5567834" y="100419"/>
                  <a:pt x="5998174" y="530758"/>
                </a:cubicBezTo>
                <a:cubicBezTo>
                  <a:pt x="6045058" y="577643"/>
                  <a:pt x="6076350" y="636415"/>
                  <a:pt x="6089287" y="699850"/>
                </a:cubicBezTo>
                <a:lnTo>
                  <a:pt x="6092847" y="734186"/>
                </a:lnTo>
                <a:lnTo>
                  <a:pt x="6094720" y="734187"/>
                </a:lnTo>
                <a:lnTo>
                  <a:pt x="6094720" y="752239"/>
                </a:lnTo>
                <a:lnTo>
                  <a:pt x="6096000" y="764572"/>
                </a:lnTo>
                <a:cubicBezTo>
                  <a:pt x="6096000" y="764572"/>
                  <a:pt x="6096000" y="764572"/>
                  <a:pt x="6095930" y="1081147"/>
                </a:cubicBezTo>
                <a:lnTo>
                  <a:pt x="6095926" y="1105640"/>
                </a:lnTo>
                <a:lnTo>
                  <a:pt x="6096000" y="1106355"/>
                </a:lnTo>
                <a:cubicBezTo>
                  <a:pt x="6096000" y="1106355"/>
                  <a:pt x="6096000" y="1106355"/>
                  <a:pt x="6095896" y="1578910"/>
                </a:cubicBezTo>
                <a:cubicBezTo>
                  <a:pt x="6095896" y="1578910"/>
                  <a:pt x="6095896" y="1578910"/>
                  <a:pt x="6095210" y="1578912"/>
                </a:cubicBezTo>
                <a:lnTo>
                  <a:pt x="6094720" y="1578914"/>
                </a:lnTo>
                <a:lnTo>
                  <a:pt x="6094720" y="1676436"/>
                </a:lnTo>
                <a:lnTo>
                  <a:pt x="6094720" y="1939724"/>
                </a:lnTo>
                <a:lnTo>
                  <a:pt x="6094720" y="1957771"/>
                </a:lnTo>
                <a:lnTo>
                  <a:pt x="6096000" y="1970105"/>
                </a:lnTo>
                <a:cubicBezTo>
                  <a:pt x="6096000" y="1970105"/>
                  <a:pt x="6096000" y="1970105"/>
                  <a:pt x="6095930" y="2286686"/>
                </a:cubicBezTo>
                <a:lnTo>
                  <a:pt x="6095926" y="2311171"/>
                </a:lnTo>
                <a:lnTo>
                  <a:pt x="6095999" y="2311888"/>
                </a:lnTo>
                <a:cubicBezTo>
                  <a:pt x="6095999" y="2311888"/>
                  <a:pt x="6095999" y="2311888"/>
                  <a:pt x="6095896" y="2784449"/>
                </a:cubicBezTo>
                <a:cubicBezTo>
                  <a:pt x="6095896" y="2784449"/>
                  <a:pt x="6095896" y="2784449"/>
                  <a:pt x="6095210" y="2784450"/>
                </a:cubicBezTo>
                <a:lnTo>
                  <a:pt x="6094720" y="2784451"/>
                </a:lnTo>
                <a:lnTo>
                  <a:pt x="6094720" y="2881981"/>
                </a:lnTo>
                <a:lnTo>
                  <a:pt x="6094720" y="3094524"/>
                </a:lnTo>
                <a:lnTo>
                  <a:pt x="6094720" y="3223754"/>
                </a:lnTo>
                <a:lnTo>
                  <a:pt x="6094720" y="3316620"/>
                </a:lnTo>
                <a:lnTo>
                  <a:pt x="6094720" y="3436291"/>
                </a:lnTo>
                <a:lnTo>
                  <a:pt x="6094720" y="3524159"/>
                </a:lnTo>
                <a:lnTo>
                  <a:pt x="6094720" y="3612822"/>
                </a:lnTo>
                <a:lnTo>
                  <a:pt x="6096000" y="3625155"/>
                </a:lnTo>
                <a:cubicBezTo>
                  <a:pt x="6096000" y="3625155"/>
                  <a:pt x="6096000" y="3625155"/>
                  <a:pt x="6095930" y="3941730"/>
                </a:cubicBezTo>
                <a:lnTo>
                  <a:pt x="6095926" y="3966224"/>
                </a:lnTo>
                <a:lnTo>
                  <a:pt x="6096000" y="3966938"/>
                </a:lnTo>
                <a:cubicBezTo>
                  <a:pt x="6096000" y="3966938"/>
                  <a:pt x="6096000" y="3966938"/>
                  <a:pt x="6095995" y="3991859"/>
                </a:cubicBezTo>
                <a:lnTo>
                  <a:pt x="6095993" y="4001046"/>
                </a:lnTo>
                <a:lnTo>
                  <a:pt x="6095999" y="4001118"/>
                </a:lnTo>
                <a:cubicBezTo>
                  <a:pt x="6095999" y="4001118"/>
                  <a:pt x="6095999" y="4001118"/>
                  <a:pt x="6095930" y="4317694"/>
                </a:cubicBezTo>
                <a:lnTo>
                  <a:pt x="6095926" y="4342186"/>
                </a:lnTo>
                <a:lnTo>
                  <a:pt x="6096000" y="4342902"/>
                </a:lnTo>
                <a:cubicBezTo>
                  <a:pt x="6096000" y="4342902"/>
                  <a:pt x="6096000" y="4342902"/>
                  <a:pt x="6095896" y="4815458"/>
                </a:cubicBezTo>
                <a:cubicBezTo>
                  <a:pt x="6095896" y="4815458"/>
                  <a:pt x="6095896" y="4815458"/>
                  <a:pt x="6095209" y="4815459"/>
                </a:cubicBezTo>
                <a:lnTo>
                  <a:pt x="6094720" y="4815459"/>
                </a:lnTo>
                <a:lnTo>
                  <a:pt x="6094720" y="4901060"/>
                </a:lnTo>
                <a:lnTo>
                  <a:pt x="6094720" y="5109958"/>
                </a:lnTo>
                <a:lnTo>
                  <a:pt x="6094720" y="5202832"/>
                </a:lnTo>
                <a:lnTo>
                  <a:pt x="6094720" y="5242844"/>
                </a:lnTo>
                <a:lnTo>
                  <a:pt x="6094720" y="5544616"/>
                </a:lnTo>
                <a:lnTo>
                  <a:pt x="6094720" y="5884479"/>
                </a:lnTo>
                <a:lnTo>
                  <a:pt x="6094720" y="6186250"/>
                </a:lnTo>
                <a:lnTo>
                  <a:pt x="6094720" y="6226262"/>
                </a:lnTo>
                <a:lnTo>
                  <a:pt x="6094720" y="6528034"/>
                </a:lnTo>
                <a:lnTo>
                  <a:pt x="5774783" y="6528034"/>
                </a:lnTo>
                <a:lnTo>
                  <a:pt x="5597638" y="6528034"/>
                </a:lnTo>
                <a:lnTo>
                  <a:pt x="3636760" y="6528034"/>
                </a:lnTo>
                <a:lnTo>
                  <a:pt x="3459615" y="6528034"/>
                </a:lnTo>
                <a:lnTo>
                  <a:pt x="3139677" y="6528034"/>
                </a:lnTo>
                <a:lnTo>
                  <a:pt x="3139677" y="6528032"/>
                </a:lnTo>
                <a:lnTo>
                  <a:pt x="2962532" y="6528032"/>
                </a:lnTo>
                <a:lnTo>
                  <a:pt x="841782" y="6528032"/>
                </a:lnTo>
                <a:lnTo>
                  <a:pt x="841782" y="6527773"/>
                </a:lnTo>
                <a:lnTo>
                  <a:pt x="761978" y="6527791"/>
                </a:lnTo>
                <a:cubicBezTo>
                  <a:pt x="674323" y="6527273"/>
                  <a:pt x="590019" y="6491819"/>
                  <a:pt x="528166" y="6429965"/>
                </a:cubicBezTo>
                <a:cubicBezTo>
                  <a:pt x="528166" y="6429965"/>
                  <a:pt x="528166" y="6429965"/>
                  <a:pt x="97826" y="5999627"/>
                </a:cubicBezTo>
                <a:cubicBezTo>
                  <a:pt x="35315" y="5937116"/>
                  <a:pt x="519" y="5853470"/>
                  <a:pt x="2" y="5765813"/>
                </a:cubicBezTo>
                <a:cubicBezTo>
                  <a:pt x="2" y="5765813"/>
                  <a:pt x="2" y="5765813"/>
                  <a:pt x="57" y="5512346"/>
                </a:cubicBezTo>
                <a:lnTo>
                  <a:pt x="67" y="5464670"/>
                </a:lnTo>
                <a:lnTo>
                  <a:pt x="2" y="5464039"/>
                </a:lnTo>
                <a:cubicBezTo>
                  <a:pt x="2" y="5464039"/>
                  <a:pt x="2" y="5464039"/>
                  <a:pt x="7" y="5439119"/>
                </a:cubicBezTo>
                <a:lnTo>
                  <a:pt x="10" y="5424128"/>
                </a:lnTo>
                <a:lnTo>
                  <a:pt x="0" y="5424029"/>
                </a:lnTo>
                <a:cubicBezTo>
                  <a:pt x="0" y="5424029"/>
                  <a:pt x="0" y="5424029"/>
                  <a:pt x="55" y="5170563"/>
                </a:cubicBezTo>
                <a:lnTo>
                  <a:pt x="66" y="5122889"/>
                </a:lnTo>
                <a:lnTo>
                  <a:pt x="0" y="5122257"/>
                </a:lnTo>
                <a:cubicBezTo>
                  <a:pt x="0" y="5122257"/>
                  <a:pt x="0" y="5122257"/>
                  <a:pt x="103" y="4649702"/>
                </a:cubicBezTo>
                <a:cubicBezTo>
                  <a:pt x="103" y="4649702"/>
                  <a:pt x="103" y="4649702"/>
                  <a:pt x="790" y="4649701"/>
                </a:cubicBezTo>
                <a:lnTo>
                  <a:pt x="1276" y="4649700"/>
                </a:lnTo>
                <a:lnTo>
                  <a:pt x="1277" y="3891898"/>
                </a:lnTo>
                <a:lnTo>
                  <a:pt x="1" y="3879598"/>
                </a:lnTo>
                <a:cubicBezTo>
                  <a:pt x="1" y="3879598"/>
                  <a:pt x="1" y="3879598"/>
                  <a:pt x="70" y="3563023"/>
                </a:cubicBezTo>
                <a:lnTo>
                  <a:pt x="76" y="3538548"/>
                </a:lnTo>
                <a:lnTo>
                  <a:pt x="0" y="3537818"/>
                </a:lnTo>
                <a:cubicBezTo>
                  <a:pt x="0" y="3537818"/>
                  <a:pt x="0" y="3537818"/>
                  <a:pt x="103" y="3065277"/>
                </a:cubicBezTo>
                <a:cubicBezTo>
                  <a:pt x="103" y="3065277"/>
                  <a:pt x="103" y="3065277"/>
                  <a:pt x="791" y="3065276"/>
                </a:cubicBezTo>
                <a:lnTo>
                  <a:pt x="1277" y="3065275"/>
                </a:lnTo>
                <a:lnTo>
                  <a:pt x="1277" y="2686371"/>
                </a:lnTo>
                <a:lnTo>
                  <a:pt x="2" y="2674072"/>
                </a:lnTo>
                <a:cubicBezTo>
                  <a:pt x="2" y="2674072"/>
                  <a:pt x="2" y="2674072"/>
                  <a:pt x="70" y="2357496"/>
                </a:cubicBezTo>
                <a:lnTo>
                  <a:pt x="75" y="2333023"/>
                </a:lnTo>
                <a:lnTo>
                  <a:pt x="0" y="2332286"/>
                </a:lnTo>
                <a:cubicBezTo>
                  <a:pt x="0" y="2332286"/>
                  <a:pt x="0" y="2332286"/>
                  <a:pt x="102" y="1859734"/>
                </a:cubicBezTo>
                <a:cubicBezTo>
                  <a:pt x="102" y="1859734"/>
                  <a:pt x="102" y="1859734"/>
                  <a:pt x="790" y="1859730"/>
                </a:cubicBezTo>
                <a:lnTo>
                  <a:pt x="1277" y="1859730"/>
                </a:lnTo>
                <a:lnTo>
                  <a:pt x="1277" y="734186"/>
                </a:lnTo>
                <a:lnTo>
                  <a:pt x="1278" y="734186"/>
                </a:lnTo>
                <a:lnTo>
                  <a:pt x="1278" y="1"/>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66C868D3-3CB4-CA57-1298-79B08D03F887}"/>
              </a:ext>
            </a:extLst>
          </p:cNvPr>
          <p:cNvSpPr>
            <a:spLocks noGrp="1"/>
          </p:cNvSpPr>
          <p:nvPr>
            <p:ph type="title" hasCustomPrompt="1"/>
          </p:nvPr>
        </p:nvSpPr>
        <p:spPr>
          <a:xfrm>
            <a:off x="493714" y="579438"/>
            <a:ext cx="5113896" cy="792162"/>
          </a:xfrm>
        </p:spPr>
        <p:txBody>
          <a:bodyPr>
            <a:noAutofit/>
          </a:bodyPr>
          <a:lstStyle>
            <a:lvl1pPr>
              <a:lnSpc>
                <a:spcPct val="85000"/>
              </a:lnSpc>
              <a:defRPr/>
            </a:lvl1pPr>
          </a:lstStyle>
          <a:p>
            <a:r>
              <a:rPr lang="en-US"/>
              <a:t>Click to edit Master title styles</a:t>
            </a:r>
          </a:p>
        </p:txBody>
      </p:sp>
      <p:sp>
        <p:nvSpPr>
          <p:cNvPr id="8" name="Text Placeholder 12">
            <a:extLst>
              <a:ext uri="{FF2B5EF4-FFF2-40B4-BE49-F238E27FC236}">
                <a16:creationId xmlns:a16="http://schemas.microsoft.com/office/drawing/2014/main" id="{B497F9D7-E2AC-7870-3158-7F4230738F85}"/>
              </a:ext>
            </a:extLst>
          </p:cNvPr>
          <p:cNvSpPr>
            <a:spLocks noGrp="1"/>
          </p:cNvSpPr>
          <p:nvPr>
            <p:ph type="body" sz="quarter" idx="14"/>
          </p:nvPr>
        </p:nvSpPr>
        <p:spPr>
          <a:xfrm>
            <a:off x="6572250" y="1382889"/>
            <a:ext cx="5126366" cy="336374"/>
          </a:xfrm>
        </p:spPr>
        <p:txBody>
          <a:bodyPr anchor="t">
            <a:noAutofit/>
          </a:bodyPr>
          <a:lstStyle>
            <a:lvl1pPr marL="0" indent="0">
              <a:buNone/>
              <a:defRPr sz="2100">
                <a:solidFill>
                  <a:schemeClr val="bg1"/>
                </a:solidFill>
                <a:latin typeface="ES Build "/>
              </a:defRPr>
            </a:lvl1pPr>
          </a:lstStyle>
          <a:p>
            <a:pPr lvl="0"/>
            <a:r>
              <a:rPr lang="en-US"/>
              <a:t>Click to edit Master text styles</a:t>
            </a:r>
          </a:p>
        </p:txBody>
      </p:sp>
      <p:sp>
        <p:nvSpPr>
          <p:cNvPr id="14" name="Subtitle 2">
            <a:extLst>
              <a:ext uri="{FF2B5EF4-FFF2-40B4-BE49-F238E27FC236}">
                <a16:creationId xmlns:a16="http://schemas.microsoft.com/office/drawing/2014/main" id="{C1BB7623-8B6B-7FAE-D44D-F4B85D496BA7}"/>
              </a:ext>
            </a:extLst>
          </p:cNvPr>
          <p:cNvSpPr>
            <a:spLocks noGrp="1"/>
          </p:cNvSpPr>
          <p:nvPr>
            <p:ph type="subTitle" idx="1"/>
          </p:nvPr>
        </p:nvSpPr>
        <p:spPr>
          <a:xfrm>
            <a:off x="493714" y="1371600"/>
            <a:ext cx="5113896" cy="347663"/>
          </a:xfrm>
        </p:spPr>
        <p:txBody>
          <a:bodyPr>
            <a:noAutofit/>
          </a:bodyPr>
          <a:lstStyle>
            <a:lvl1pPr marL="0" indent="0" algn="l">
              <a:buNone/>
              <a:defRPr sz="2100">
                <a:solidFill>
                  <a:schemeClr val="tx1"/>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Text Placeholder 11">
            <a:extLst>
              <a:ext uri="{FF2B5EF4-FFF2-40B4-BE49-F238E27FC236}">
                <a16:creationId xmlns:a16="http://schemas.microsoft.com/office/drawing/2014/main" id="{A0EBF732-219E-4BB3-835A-6CCA099AC824}"/>
              </a:ext>
            </a:extLst>
          </p:cNvPr>
          <p:cNvSpPr>
            <a:spLocks noGrp="1"/>
          </p:cNvSpPr>
          <p:nvPr>
            <p:ph type="body" sz="quarter" idx="16"/>
          </p:nvPr>
        </p:nvSpPr>
        <p:spPr>
          <a:xfrm>
            <a:off x="6572250" y="579439"/>
            <a:ext cx="5126365" cy="792162"/>
          </a:xfrm>
        </p:spPr>
        <p:txBody>
          <a:bodyPr anchor="t">
            <a:noAutofit/>
          </a:bodyPr>
          <a:lstStyle>
            <a:lvl1pPr marL="0" indent="0">
              <a:lnSpc>
                <a:spcPct val="85000"/>
              </a:lnSpc>
              <a:buNone/>
              <a:defRPr sz="3400">
                <a:solidFill>
                  <a:schemeClr val="bg1"/>
                </a:solidFill>
                <a:latin typeface="+mn-lt"/>
              </a:defRPr>
            </a:lvl1pPr>
          </a:lstStyle>
          <a:p>
            <a:pPr lvl="0"/>
            <a:r>
              <a:rPr lang="en-US"/>
              <a:t>Click to edit Master text styles</a:t>
            </a:r>
          </a:p>
        </p:txBody>
      </p:sp>
      <p:sp>
        <p:nvSpPr>
          <p:cNvPr id="16" name="Footer Placeholder 66">
            <a:extLst>
              <a:ext uri="{FF2B5EF4-FFF2-40B4-BE49-F238E27FC236}">
                <a16:creationId xmlns:a16="http://schemas.microsoft.com/office/drawing/2014/main" id="{06EF6F84-75A1-3DAF-4249-ADE266B638E1}"/>
              </a:ext>
            </a:extLst>
          </p:cNvPr>
          <p:cNvSpPr>
            <a:spLocks noGrp="1"/>
          </p:cNvSpPr>
          <p:nvPr>
            <p:ph type="ftr" sz="quarter" idx="3"/>
          </p:nvPr>
        </p:nvSpPr>
        <p:spPr>
          <a:xfrm>
            <a:off x="493290" y="6405456"/>
            <a:ext cx="5124874" cy="107722"/>
          </a:xfrm>
          <a:prstGeom prst="rect">
            <a:avLst/>
          </a:prstGeom>
        </p:spPr>
        <p:txBody>
          <a:bodyPr vert="horz" lIns="0" tIns="0" rIns="0" bIns="0" rtlCol="0" anchor="b"/>
          <a:lstStyle>
            <a:lvl1pPr algn="l">
              <a:defRPr sz="700">
                <a:solidFill>
                  <a:schemeClr val="tx2"/>
                </a:solidFill>
              </a:defRPr>
            </a:lvl1pPr>
          </a:lstStyle>
          <a:p>
            <a:endParaRPr lang="en-US"/>
          </a:p>
        </p:txBody>
      </p:sp>
      <p:pic>
        <p:nvPicPr>
          <p:cNvPr id="24" name="Graphic 23">
            <a:extLst>
              <a:ext uri="{FF2B5EF4-FFF2-40B4-BE49-F238E27FC236}">
                <a16:creationId xmlns:a16="http://schemas.microsoft.com/office/drawing/2014/main" id="{4188B8B1-28A5-575D-B156-85CA6779A26B}"/>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180146" y="6513177"/>
            <a:ext cx="516553" cy="157025"/>
          </a:xfrm>
          <a:prstGeom prst="rect">
            <a:avLst/>
          </a:prstGeom>
        </p:spPr>
      </p:pic>
      <p:sp>
        <p:nvSpPr>
          <p:cNvPr id="3" name="Content Placeholder 18">
            <a:extLst>
              <a:ext uri="{FF2B5EF4-FFF2-40B4-BE49-F238E27FC236}">
                <a16:creationId xmlns:a16="http://schemas.microsoft.com/office/drawing/2014/main" id="{F7DB894A-EDB5-8F01-3414-F5F32559B7BD}"/>
              </a:ext>
            </a:extLst>
          </p:cNvPr>
          <p:cNvSpPr>
            <a:spLocks noGrp="1"/>
          </p:cNvSpPr>
          <p:nvPr>
            <p:ph sz="quarter" idx="10"/>
          </p:nvPr>
        </p:nvSpPr>
        <p:spPr>
          <a:xfrm>
            <a:off x="493288" y="2397125"/>
            <a:ext cx="5124876" cy="3771900"/>
          </a:xfrm>
        </p:spPr>
        <p:txBody>
          <a:bodyPr/>
          <a:lstStyle>
            <a:lvl1pPr>
              <a:defRPr>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a:solidFill>
                  <a:schemeClr val="tx1"/>
                </a:solidFill>
              </a:defRPr>
            </a:lvl6pPr>
            <a:lvl7pPr>
              <a:defRPr>
                <a:solidFill>
                  <a:schemeClr val="tx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18">
            <a:extLst>
              <a:ext uri="{FF2B5EF4-FFF2-40B4-BE49-F238E27FC236}">
                <a16:creationId xmlns:a16="http://schemas.microsoft.com/office/drawing/2014/main" id="{5D37798F-2B52-F99B-1040-0FA9E34A0C7B}"/>
              </a:ext>
            </a:extLst>
          </p:cNvPr>
          <p:cNvSpPr>
            <a:spLocks noGrp="1"/>
          </p:cNvSpPr>
          <p:nvPr>
            <p:ph sz="quarter" idx="11"/>
          </p:nvPr>
        </p:nvSpPr>
        <p:spPr>
          <a:xfrm>
            <a:off x="6574140" y="2394727"/>
            <a:ext cx="5124475" cy="3771900"/>
          </a:xfrm>
        </p:spPr>
        <p:txBody>
          <a:bodyPr/>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082313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mparison Viridis Left">
    <p:spTree>
      <p:nvGrpSpPr>
        <p:cNvPr id="1" name=""/>
        <p:cNvGrpSpPr/>
        <p:nvPr/>
      </p:nvGrpSpPr>
      <p:grpSpPr>
        <a:xfrm>
          <a:off x="0" y="0"/>
          <a:ext cx="0" cy="0"/>
          <a:chOff x="0" y="0"/>
          <a:chExt cx="0" cy="0"/>
        </a:xfrm>
      </p:grpSpPr>
      <p:sp>
        <p:nvSpPr>
          <p:cNvPr id="311" name="Freeform: Shape 310">
            <a:extLst>
              <a:ext uri="{FF2B5EF4-FFF2-40B4-BE49-F238E27FC236}">
                <a16:creationId xmlns:a16="http://schemas.microsoft.com/office/drawing/2014/main" id="{FA3D5559-630B-68EB-88DB-BCC345505905}"/>
              </a:ext>
            </a:extLst>
          </p:cNvPr>
          <p:cNvSpPr/>
          <p:nvPr/>
        </p:nvSpPr>
        <p:spPr>
          <a:xfrm flipH="1">
            <a:off x="0" y="329967"/>
            <a:ext cx="6096000" cy="6528034"/>
          </a:xfrm>
          <a:custGeom>
            <a:avLst/>
            <a:gdLst>
              <a:gd name="connsiteX0" fmla="*/ 498361 w 6096000"/>
              <a:gd name="connsiteY0" fmla="*/ 0 h 6528034"/>
              <a:gd name="connsiteX1" fmla="*/ 2956322 w 6096000"/>
              <a:gd name="connsiteY1" fmla="*/ 0 h 6528034"/>
              <a:gd name="connsiteX2" fmla="*/ 2956322 w 6096000"/>
              <a:gd name="connsiteY2" fmla="*/ 1 h 6528034"/>
              <a:gd name="connsiteX3" fmla="*/ 3133467 w 6096000"/>
              <a:gd name="connsiteY3" fmla="*/ 1 h 6528034"/>
              <a:gd name="connsiteX4" fmla="*/ 5254219 w 6096000"/>
              <a:gd name="connsiteY4" fmla="*/ 1 h 6528034"/>
              <a:gd name="connsiteX5" fmla="*/ 5254219 w 6096000"/>
              <a:gd name="connsiteY5" fmla="*/ 2612 h 6528034"/>
              <a:gd name="connsiteX6" fmla="*/ 5334022 w 6096000"/>
              <a:gd name="connsiteY6" fmla="*/ 2594 h 6528034"/>
              <a:gd name="connsiteX7" fmla="*/ 5567834 w 6096000"/>
              <a:gd name="connsiteY7" fmla="*/ 100419 h 6528034"/>
              <a:gd name="connsiteX8" fmla="*/ 5998174 w 6096000"/>
              <a:gd name="connsiteY8" fmla="*/ 530758 h 6528034"/>
              <a:gd name="connsiteX9" fmla="*/ 6089287 w 6096000"/>
              <a:gd name="connsiteY9" fmla="*/ 699850 h 6528034"/>
              <a:gd name="connsiteX10" fmla="*/ 6092847 w 6096000"/>
              <a:gd name="connsiteY10" fmla="*/ 734186 h 6528034"/>
              <a:gd name="connsiteX11" fmla="*/ 6094720 w 6096000"/>
              <a:gd name="connsiteY11" fmla="*/ 734187 h 6528034"/>
              <a:gd name="connsiteX12" fmla="*/ 6094720 w 6096000"/>
              <a:gd name="connsiteY12" fmla="*/ 752239 h 6528034"/>
              <a:gd name="connsiteX13" fmla="*/ 6096000 w 6096000"/>
              <a:gd name="connsiteY13" fmla="*/ 764572 h 6528034"/>
              <a:gd name="connsiteX14" fmla="*/ 6095930 w 6096000"/>
              <a:gd name="connsiteY14" fmla="*/ 1081147 h 6528034"/>
              <a:gd name="connsiteX15" fmla="*/ 6095926 w 6096000"/>
              <a:gd name="connsiteY15" fmla="*/ 1105640 h 6528034"/>
              <a:gd name="connsiteX16" fmla="*/ 6096000 w 6096000"/>
              <a:gd name="connsiteY16" fmla="*/ 1106355 h 6528034"/>
              <a:gd name="connsiteX17" fmla="*/ 6095896 w 6096000"/>
              <a:gd name="connsiteY17" fmla="*/ 1578910 h 6528034"/>
              <a:gd name="connsiteX18" fmla="*/ 6095210 w 6096000"/>
              <a:gd name="connsiteY18" fmla="*/ 1578912 h 6528034"/>
              <a:gd name="connsiteX19" fmla="*/ 6094720 w 6096000"/>
              <a:gd name="connsiteY19" fmla="*/ 1578914 h 6528034"/>
              <a:gd name="connsiteX20" fmla="*/ 6094720 w 6096000"/>
              <a:gd name="connsiteY20" fmla="*/ 1676436 h 6528034"/>
              <a:gd name="connsiteX21" fmla="*/ 6094720 w 6096000"/>
              <a:gd name="connsiteY21" fmla="*/ 1939724 h 6528034"/>
              <a:gd name="connsiteX22" fmla="*/ 6094720 w 6096000"/>
              <a:gd name="connsiteY22" fmla="*/ 1957771 h 6528034"/>
              <a:gd name="connsiteX23" fmla="*/ 6096000 w 6096000"/>
              <a:gd name="connsiteY23" fmla="*/ 1970105 h 6528034"/>
              <a:gd name="connsiteX24" fmla="*/ 6095930 w 6096000"/>
              <a:gd name="connsiteY24" fmla="*/ 2286686 h 6528034"/>
              <a:gd name="connsiteX25" fmla="*/ 6095926 w 6096000"/>
              <a:gd name="connsiteY25" fmla="*/ 2311171 h 6528034"/>
              <a:gd name="connsiteX26" fmla="*/ 6095999 w 6096000"/>
              <a:gd name="connsiteY26" fmla="*/ 2311888 h 6528034"/>
              <a:gd name="connsiteX27" fmla="*/ 6095896 w 6096000"/>
              <a:gd name="connsiteY27" fmla="*/ 2784449 h 6528034"/>
              <a:gd name="connsiteX28" fmla="*/ 6095210 w 6096000"/>
              <a:gd name="connsiteY28" fmla="*/ 2784450 h 6528034"/>
              <a:gd name="connsiteX29" fmla="*/ 6094720 w 6096000"/>
              <a:gd name="connsiteY29" fmla="*/ 2784451 h 6528034"/>
              <a:gd name="connsiteX30" fmla="*/ 6094720 w 6096000"/>
              <a:gd name="connsiteY30" fmla="*/ 2881981 h 6528034"/>
              <a:gd name="connsiteX31" fmla="*/ 6094720 w 6096000"/>
              <a:gd name="connsiteY31" fmla="*/ 3094524 h 6528034"/>
              <a:gd name="connsiteX32" fmla="*/ 6094720 w 6096000"/>
              <a:gd name="connsiteY32" fmla="*/ 3223754 h 6528034"/>
              <a:gd name="connsiteX33" fmla="*/ 6094720 w 6096000"/>
              <a:gd name="connsiteY33" fmla="*/ 3316620 h 6528034"/>
              <a:gd name="connsiteX34" fmla="*/ 6094720 w 6096000"/>
              <a:gd name="connsiteY34" fmla="*/ 3436291 h 6528034"/>
              <a:gd name="connsiteX35" fmla="*/ 6094720 w 6096000"/>
              <a:gd name="connsiteY35" fmla="*/ 3524159 h 6528034"/>
              <a:gd name="connsiteX36" fmla="*/ 6094720 w 6096000"/>
              <a:gd name="connsiteY36" fmla="*/ 3612822 h 6528034"/>
              <a:gd name="connsiteX37" fmla="*/ 6096000 w 6096000"/>
              <a:gd name="connsiteY37" fmla="*/ 3625155 h 6528034"/>
              <a:gd name="connsiteX38" fmla="*/ 6095930 w 6096000"/>
              <a:gd name="connsiteY38" fmla="*/ 3941730 h 6528034"/>
              <a:gd name="connsiteX39" fmla="*/ 6095926 w 6096000"/>
              <a:gd name="connsiteY39" fmla="*/ 3966224 h 6528034"/>
              <a:gd name="connsiteX40" fmla="*/ 6096000 w 6096000"/>
              <a:gd name="connsiteY40" fmla="*/ 3966938 h 6528034"/>
              <a:gd name="connsiteX41" fmla="*/ 6095995 w 6096000"/>
              <a:gd name="connsiteY41" fmla="*/ 3991859 h 6528034"/>
              <a:gd name="connsiteX42" fmla="*/ 6095993 w 6096000"/>
              <a:gd name="connsiteY42" fmla="*/ 4001046 h 6528034"/>
              <a:gd name="connsiteX43" fmla="*/ 6095999 w 6096000"/>
              <a:gd name="connsiteY43" fmla="*/ 4001118 h 6528034"/>
              <a:gd name="connsiteX44" fmla="*/ 6095930 w 6096000"/>
              <a:gd name="connsiteY44" fmla="*/ 4317694 h 6528034"/>
              <a:gd name="connsiteX45" fmla="*/ 6095926 w 6096000"/>
              <a:gd name="connsiteY45" fmla="*/ 4342186 h 6528034"/>
              <a:gd name="connsiteX46" fmla="*/ 6096000 w 6096000"/>
              <a:gd name="connsiteY46" fmla="*/ 4342902 h 6528034"/>
              <a:gd name="connsiteX47" fmla="*/ 6095896 w 6096000"/>
              <a:gd name="connsiteY47" fmla="*/ 4815458 h 6528034"/>
              <a:gd name="connsiteX48" fmla="*/ 6095209 w 6096000"/>
              <a:gd name="connsiteY48" fmla="*/ 4815459 h 6528034"/>
              <a:gd name="connsiteX49" fmla="*/ 6094720 w 6096000"/>
              <a:gd name="connsiteY49" fmla="*/ 4815459 h 6528034"/>
              <a:gd name="connsiteX50" fmla="*/ 6094720 w 6096000"/>
              <a:gd name="connsiteY50" fmla="*/ 4901060 h 6528034"/>
              <a:gd name="connsiteX51" fmla="*/ 6094720 w 6096000"/>
              <a:gd name="connsiteY51" fmla="*/ 5109958 h 6528034"/>
              <a:gd name="connsiteX52" fmla="*/ 6094720 w 6096000"/>
              <a:gd name="connsiteY52" fmla="*/ 5202832 h 6528034"/>
              <a:gd name="connsiteX53" fmla="*/ 6094720 w 6096000"/>
              <a:gd name="connsiteY53" fmla="*/ 5242844 h 6528034"/>
              <a:gd name="connsiteX54" fmla="*/ 6094720 w 6096000"/>
              <a:gd name="connsiteY54" fmla="*/ 5544616 h 6528034"/>
              <a:gd name="connsiteX55" fmla="*/ 6094720 w 6096000"/>
              <a:gd name="connsiteY55" fmla="*/ 5884479 h 6528034"/>
              <a:gd name="connsiteX56" fmla="*/ 6094720 w 6096000"/>
              <a:gd name="connsiteY56" fmla="*/ 6186250 h 6528034"/>
              <a:gd name="connsiteX57" fmla="*/ 6094720 w 6096000"/>
              <a:gd name="connsiteY57" fmla="*/ 6226262 h 6528034"/>
              <a:gd name="connsiteX58" fmla="*/ 6094720 w 6096000"/>
              <a:gd name="connsiteY58" fmla="*/ 6528034 h 6528034"/>
              <a:gd name="connsiteX59" fmla="*/ 5774783 w 6096000"/>
              <a:gd name="connsiteY59" fmla="*/ 6528034 h 6528034"/>
              <a:gd name="connsiteX60" fmla="*/ 5597638 w 6096000"/>
              <a:gd name="connsiteY60" fmla="*/ 6528034 h 6528034"/>
              <a:gd name="connsiteX61" fmla="*/ 3636760 w 6096000"/>
              <a:gd name="connsiteY61" fmla="*/ 6528034 h 6528034"/>
              <a:gd name="connsiteX62" fmla="*/ 3459615 w 6096000"/>
              <a:gd name="connsiteY62" fmla="*/ 6528034 h 6528034"/>
              <a:gd name="connsiteX63" fmla="*/ 3139677 w 6096000"/>
              <a:gd name="connsiteY63" fmla="*/ 6528034 h 6528034"/>
              <a:gd name="connsiteX64" fmla="*/ 3139677 w 6096000"/>
              <a:gd name="connsiteY64" fmla="*/ 6528032 h 6528034"/>
              <a:gd name="connsiteX65" fmla="*/ 2962532 w 6096000"/>
              <a:gd name="connsiteY65" fmla="*/ 6528032 h 6528034"/>
              <a:gd name="connsiteX66" fmla="*/ 841782 w 6096000"/>
              <a:gd name="connsiteY66" fmla="*/ 6528032 h 6528034"/>
              <a:gd name="connsiteX67" fmla="*/ 841782 w 6096000"/>
              <a:gd name="connsiteY67" fmla="*/ 6527773 h 6528034"/>
              <a:gd name="connsiteX68" fmla="*/ 761978 w 6096000"/>
              <a:gd name="connsiteY68" fmla="*/ 6527791 h 6528034"/>
              <a:gd name="connsiteX69" fmla="*/ 528166 w 6096000"/>
              <a:gd name="connsiteY69" fmla="*/ 6429965 h 6528034"/>
              <a:gd name="connsiteX70" fmla="*/ 97826 w 6096000"/>
              <a:gd name="connsiteY70" fmla="*/ 5999627 h 6528034"/>
              <a:gd name="connsiteX71" fmla="*/ 2 w 6096000"/>
              <a:gd name="connsiteY71" fmla="*/ 5765813 h 6528034"/>
              <a:gd name="connsiteX72" fmla="*/ 57 w 6096000"/>
              <a:gd name="connsiteY72" fmla="*/ 5512346 h 6528034"/>
              <a:gd name="connsiteX73" fmla="*/ 67 w 6096000"/>
              <a:gd name="connsiteY73" fmla="*/ 5464670 h 6528034"/>
              <a:gd name="connsiteX74" fmla="*/ 2 w 6096000"/>
              <a:gd name="connsiteY74" fmla="*/ 5464039 h 6528034"/>
              <a:gd name="connsiteX75" fmla="*/ 7 w 6096000"/>
              <a:gd name="connsiteY75" fmla="*/ 5439119 h 6528034"/>
              <a:gd name="connsiteX76" fmla="*/ 10 w 6096000"/>
              <a:gd name="connsiteY76" fmla="*/ 5424128 h 6528034"/>
              <a:gd name="connsiteX77" fmla="*/ 0 w 6096000"/>
              <a:gd name="connsiteY77" fmla="*/ 5424029 h 6528034"/>
              <a:gd name="connsiteX78" fmla="*/ 55 w 6096000"/>
              <a:gd name="connsiteY78" fmla="*/ 5170563 h 6528034"/>
              <a:gd name="connsiteX79" fmla="*/ 66 w 6096000"/>
              <a:gd name="connsiteY79" fmla="*/ 5122889 h 6528034"/>
              <a:gd name="connsiteX80" fmla="*/ 0 w 6096000"/>
              <a:gd name="connsiteY80" fmla="*/ 5122257 h 6528034"/>
              <a:gd name="connsiteX81" fmla="*/ 103 w 6096000"/>
              <a:gd name="connsiteY81" fmla="*/ 4649702 h 6528034"/>
              <a:gd name="connsiteX82" fmla="*/ 790 w 6096000"/>
              <a:gd name="connsiteY82" fmla="*/ 4649701 h 6528034"/>
              <a:gd name="connsiteX83" fmla="*/ 1276 w 6096000"/>
              <a:gd name="connsiteY83" fmla="*/ 4649700 h 6528034"/>
              <a:gd name="connsiteX84" fmla="*/ 1277 w 6096000"/>
              <a:gd name="connsiteY84" fmla="*/ 3891898 h 6528034"/>
              <a:gd name="connsiteX85" fmla="*/ 1 w 6096000"/>
              <a:gd name="connsiteY85" fmla="*/ 3879598 h 6528034"/>
              <a:gd name="connsiteX86" fmla="*/ 70 w 6096000"/>
              <a:gd name="connsiteY86" fmla="*/ 3563023 h 6528034"/>
              <a:gd name="connsiteX87" fmla="*/ 76 w 6096000"/>
              <a:gd name="connsiteY87" fmla="*/ 3538548 h 6528034"/>
              <a:gd name="connsiteX88" fmla="*/ 0 w 6096000"/>
              <a:gd name="connsiteY88" fmla="*/ 3537818 h 6528034"/>
              <a:gd name="connsiteX89" fmla="*/ 103 w 6096000"/>
              <a:gd name="connsiteY89" fmla="*/ 3065277 h 6528034"/>
              <a:gd name="connsiteX90" fmla="*/ 791 w 6096000"/>
              <a:gd name="connsiteY90" fmla="*/ 3065276 h 6528034"/>
              <a:gd name="connsiteX91" fmla="*/ 1277 w 6096000"/>
              <a:gd name="connsiteY91" fmla="*/ 3065275 h 6528034"/>
              <a:gd name="connsiteX92" fmla="*/ 1277 w 6096000"/>
              <a:gd name="connsiteY92" fmla="*/ 2686371 h 6528034"/>
              <a:gd name="connsiteX93" fmla="*/ 2 w 6096000"/>
              <a:gd name="connsiteY93" fmla="*/ 2674072 h 6528034"/>
              <a:gd name="connsiteX94" fmla="*/ 70 w 6096000"/>
              <a:gd name="connsiteY94" fmla="*/ 2357496 h 6528034"/>
              <a:gd name="connsiteX95" fmla="*/ 75 w 6096000"/>
              <a:gd name="connsiteY95" fmla="*/ 2333023 h 6528034"/>
              <a:gd name="connsiteX96" fmla="*/ 0 w 6096000"/>
              <a:gd name="connsiteY96" fmla="*/ 2332286 h 6528034"/>
              <a:gd name="connsiteX97" fmla="*/ 102 w 6096000"/>
              <a:gd name="connsiteY97" fmla="*/ 1859734 h 6528034"/>
              <a:gd name="connsiteX98" fmla="*/ 790 w 6096000"/>
              <a:gd name="connsiteY98" fmla="*/ 1859730 h 6528034"/>
              <a:gd name="connsiteX99" fmla="*/ 1277 w 6096000"/>
              <a:gd name="connsiteY99" fmla="*/ 1859730 h 6528034"/>
              <a:gd name="connsiteX100" fmla="*/ 1277 w 6096000"/>
              <a:gd name="connsiteY100" fmla="*/ 734186 h 6528034"/>
              <a:gd name="connsiteX101" fmla="*/ 1278 w 6096000"/>
              <a:gd name="connsiteY101" fmla="*/ 734186 h 6528034"/>
              <a:gd name="connsiteX102" fmla="*/ 1278 w 6096000"/>
              <a:gd name="connsiteY102" fmla="*/ 1 h 652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6096000" h="6528034">
                <a:moveTo>
                  <a:pt x="498361" y="0"/>
                </a:moveTo>
                <a:lnTo>
                  <a:pt x="2956322" y="0"/>
                </a:lnTo>
                <a:lnTo>
                  <a:pt x="2956322" y="1"/>
                </a:lnTo>
                <a:lnTo>
                  <a:pt x="3133467" y="1"/>
                </a:lnTo>
                <a:lnTo>
                  <a:pt x="5254219" y="1"/>
                </a:lnTo>
                <a:lnTo>
                  <a:pt x="5254219" y="2612"/>
                </a:lnTo>
                <a:lnTo>
                  <a:pt x="5334022" y="2594"/>
                </a:lnTo>
                <a:cubicBezTo>
                  <a:pt x="5421676" y="3113"/>
                  <a:pt x="5505980" y="38567"/>
                  <a:pt x="5567834" y="100419"/>
                </a:cubicBezTo>
                <a:cubicBezTo>
                  <a:pt x="5567834" y="100419"/>
                  <a:pt x="5567834" y="100419"/>
                  <a:pt x="5998174" y="530758"/>
                </a:cubicBezTo>
                <a:cubicBezTo>
                  <a:pt x="6045058" y="577643"/>
                  <a:pt x="6076350" y="636415"/>
                  <a:pt x="6089287" y="699850"/>
                </a:cubicBezTo>
                <a:lnTo>
                  <a:pt x="6092847" y="734186"/>
                </a:lnTo>
                <a:lnTo>
                  <a:pt x="6094720" y="734187"/>
                </a:lnTo>
                <a:lnTo>
                  <a:pt x="6094720" y="752239"/>
                </a:lnTo>
                <a:lnTo>
                  <a:pt x="6096000" y="764572"/>
                </a:lnTo>
                <a:cubicBezTo>
                  <a:pt x="6096000" y="764572"/>
                  <a:pt x="6096000" y="764572"/>
                  <a:pt x="6095930" y="1081147"/>
                </a:cubicBezTo>
                <a:lnTo>
                  <a:pt x="6095926" y="1105640"/>
                </a:lnTo>
                <a:lnTo>
                  <a:pt x="6096000" y="1106355"/>
                </a:lnTo>
                <a:cubicBezTo>
                  <a:pt x="6096000" y="1106355"/>
                  <a:pt x="6096000" y="1106355"/>
                  <a:pt x="6095896" y="1578910"/>
                </a:cubicBezTo>
                <a:cubicBezTo>
                  <a:pt x="6095896" y="1578910"/>
                  <a:pt x="6095896" y="1578910"/>
                  <a:pt x="6095210" y="1578912"/>
                </a:cubicBezTo>
                <a:lnTo>
                  <a:pt x="6094720" y="1578914"/>
                </a:lnTo>
                <a:lnTo>
                  <a:pt x="6094720" y="1676436"/>
                </a:lnTo>
                <a:lnTo>
                  <a:pt x="6094720" y="1939724"/>
                </a:lnTo>
                <a:lnTo>
                  <a:pt x="6094720" y="1957771"/>
                </a:lnTo>
                <a:lnTo>
                  <a:pt x="6096000" y="1970105"/>
                </a:lnTo>
                <a:cubicBezTo>
                  <a:pt x="6096000" y="1970105"/>
                  <a:pt x="6096000" y="1970105"/>
                  <a:pt x="6095930" y="2286686"/>
                </a:cubicBezTo>
                <a:lnTo>
                  <a:pt x="6095926" y="2311171"/>
                </a:lnTo>
                <a:lnTo>
                  <a:pt x="6095999" y="2311888"/>
                </a:lnTo>
                <a:cubicBezTo>
                  <a:pt x="6095999" y="2311888"/>
                  <a:pt x="6095999" y="2311888"/>
                  <a:pt x="6095896" y="2784449"/>
                </a:cubicBezTo>
                <a:cubicBezTo>
                  <a:pt x="6095896" y="2784449"/>
                  <a:pt x="6095896" y="2784449"/>
                  <a:pt x="6095210" y="2784450"/>
                </a:cubicBezTo>
                <a:lnTo>
                  <a:pt x="6094720" y="2784451"/>
                </a:lnTo>
                <a:lnTo>
                  <a:pt x="6094720" y="2881981"/>
                </a:lnTo>
                <a:lnTo>
                  <a:pt x="6094720" y="3094524"/>
                </a:lnTo>
                <a:lnTo>
                  <a:pt x="6094720" y="3223754"/>
                </a:lnTo>
                <a:lnTo>
                  <a:pt x="6094720" y="3316620"/>
                </a:lnTo>
                <a:lnTo>
                  <a:pt x="6094720" y="3436291"/>
                </a:lnTo>
                <a:lnTo>
                  <a:pt x="6094720" y="3524159"/>
                </a:lnTo>
                <a:lnTo>
                  <a:pt x="6094720" y="3612822"/>
                </a:lnTo>
                <a:lnTo>
                  <a:pt x="6096000" y="3625155"/>
                </a:lnTo>
                <a:cubicBezTo>
                  <a:pt x="6096000" y="3625155"/>
                  <a:pt x="6096000" y="3625155"/>
                  <a:pt x="6095930" y="3941730"/>
                </a:cubicBezTo>
                <a:lnTo>
                  <a:pt x="6095926" y="3966224"/>
                </a:lnTo>
                <a:lnTo>
                  <a:pt x="6096000" y="3966938"/>
                </a:lnTo>
                <a:cubicBezTo>
                  <a:pt x="6096000" y="3966938"/>
                  <a:pt x="6096000" y="3966938"/>
                  <a:pt x="6095995" y="3991859"/>
                </a:cubicBezTo>
                <a:lnTo>
                  <a:pt x="6095993" y="4001046"/>
                </a:lnTo>
                <a:lnTo>
                  <a:pt x="6095999" y="4001118"/>
                </a:lnTo>
                <a:cubicBezTo>
                  <a:pt x="6095999" y="4001118"/>
                  <a:pt x="6095999" y="4001118"/>
                  <a:pt x="6095930" y="4317694"/>
                </a:cubicBezTo>
                <a:lnTo>
                  <a:pt x="6095926" y="4342186"/>
                </a:lnTo>
                <a:lnTo>
                  <a:pt x="6096000" y="4342902"/>
                </a:lnTo>
                <a:cubicBezTo>
                  <a:pt x="6096000" y="4342902"/>
                  <a:pt x="6096000" y="4342902"/>
                  <a:pt x="6095896" y="4815458"/>
                </a:cubicBezTo>
                <a:cubicBezTo>
                  <a:pt x="6095896" y="4815458"/>
                  <a:pt x="6095896" y="4815458"/>
                  <a:pt x="6095209" y="4815459"/>
                </a:cubicBezTo>
                <a:lnTo>
                  <a:pt x="6094720" y="4815459"/>
                </a:lnTo>
                <a:lnTo>
                  <a:pt x="6094720" y="4901060"/>
                </a:lnTo>
                <a:lnTo>
                  <a:pt x="6094720" y="5109958"/>
                </a:lnTo>
                <a:lnTo>
                  <a:pt x="6094720" y="5202832"/>
                </a:lnTo>
                <a:lnTo>
                  <a:pt x="6094720" y="5242844"/>
                </a:lnTo>
                <a:lnTo>
                  <a:pt x="6094720" y="5544616"/>
                </a:lnTo>
                <a:lnTo>
                  <a:pt x="6094720" y="5884479"/>
                </a:lnTo>
                <a:lnTo>
                  <a:pt x="6094720" y="6186250"/>
                </a:lnTo>
                <a:lnTo>
                  <a:pt x="6094720" y="6226262"/>
                </a:lnTo>
                <a:lnTo>
                  <a:pt x="6094720" y="6528034"/>
                </a:lnTo>
                <a:lnTo>
                  <a:pt x="5774783" y="6528034"/>
                </a:lnTo>
                <a:lnTo>
                  <a:pt x="5597638" y="6528034"/>
                </a:lnTo>
                <a:lnTo>
                  <a:pt x="3636760" y="6528034"/>
                </a:lnTo>
                <a:lnTo>
                  <a:pt x="3459615" y="6528034"/>
                </a:lnTo>
                <a:lnTo>
                  <a:pt x="3139677" y="6528034"/>
                </a:lnTo>
                <a:lnTo>
                  <a:pt x="3139677" y="6528032"/>
                </a:lnTo>
                <a:lnTo>
                  <a:pt x="2962532" y="6528032"/>
                </a:lnTo>
                <a:lnTo>
                  <a:pt x="841782" y="6528032"/>
                </a:lnTo>
                <a:lnTo>
                  <a:pt x="841782" y="6527773"/>
                </a:lnTo>
                <a:lnTo>
                  <a:pt x="761978" y="6527791"/>
                </a:lnTo>
                <a:cubicBezTo>
                  <a:pt x="674323" y="6527273"/>
                  <a:pt x="590019" y="6491819"/>
                  <a:pt x="528166" y="6429965"/>
                </a:cubicBezTo>
                <a:cubicBezTo>
                  <a:pt x="528166" y="6429965"/>
                  <a:pt x="528166" y="6429965"/>
                  <a:pt x="97826" y="5999627"/>
                </a:cubicBezTo>
                <a:cubicBezTo>
                  <a:pt x="35315" y="5937116"/>
                  <a:pt x="519" y="5853470"/>
                  <a:pt x="2" y="5765813"/>
                </a:cubicBezTo>
                <a:cubicBezTo>
                  <a:pt x="2" y="5765813"/>
                  <a:pt x="2" y="5765813"/>
                  <a:pt x="57" y="5512346"/>
                </a:cubicBezTo>
                <a:lnTo>
                  <a:pt x="67" y="5464670"/>
                </a:lnTo>
                <a:lnTo>
                  <a:pt x="2" y="5464039"/>
                </a:lnTo>
                <a:cubicBezTo>
                  <a:pt x="2" y="5464039"/>
                  <a:pt x="2" y="5464039"/>
                  <a:pt x="7" y="5439119"/>
                </a:cubicBezTo>
                <a:lnTo>
                  <a:pt x="10" y="5424128"/>
                </a:lnTo>
                <a:lnTo>
                  <a:pt x="0" y="5424029"/>
                </a:lnTo>
                <a:cubicBezTo>
                  <a:pt x="0" y="5424029"/>
                  <a:pt x="0" y="5424029"/>
                  <a:pt x="55" y="5170563"/>
                </a:cubicBezTo>
                <a:lnTo>
                  <a:pt x="66" y="5122889"/>
                </a:lnTo>
                <a:lnTo>
                  <a:pt x="0" y="5122257"/>
                </a:lnTo>
                <a:cubicBezTo>
                  <a:pt x="0" y="5122257"/>
                  <a:pt x="0" y="5122257"/>
                  <a:pt x="103" y="4649702"/>
                </a:cubicBezTo>
                <a:cubicBezTo>
                  <a:pt x="103" y="4649702"/>
                  <a:pt x="103" y="4649702"/>
                  <a:pt x="790" y="4649701"/>
                </a:cubicBezTo>
                <a:lnTo>
                  <a:pt x="1276" y="4649700"/>
                </a:lnTo>
                <a:lnTo>
                  <a:pt x="1277" y="3891898"/>
                </a:lnTo>
                <a:lnTo>
                  <a:pt x="1" y="3879598"/>
                </a:lnTo>
                <a:cubicBezTo>
                  <a:pt x="1" y="3879598"/>
                  <a:pt x="1" y="3879598"/>
                  <a:pt x="70" y="3563023"/>
                </a:cubicBezTo>
                <a:lnTo>
                  <a:pt x="76" y="3538548"/>
                </a:lnTo>
                <a:lnTo>
                  <a:pt x="0" y="3537818"/>
                </a:lnTo>
                <a:cubicBezTo>
                  <a:pt x="0" y="3537818"/>
                  <a:pt x="0" y="3537818"/>
                  <a:pt x="103" y="3065277"/>
                </a:cubicBezTo>
                <a:cubicBezTo>
                  <a:pt x="103" y="3065277"/>
                  <a:pt x="103" y="3065277"/>
                  <a:pt x="791" y="3065276"/>
                </a:cubicBezTo>
                <a:lnTo>
                  <a:pt x="1277" y="3065275"/>
                </a:lnTo>
                <a:lnTo>
                  <a:pt x="1277" y="2686371"/>
                </a:lnTo>
                <a:lnTo>
                  <a:pt x="2" y="2674072"/>
                </a:lnTo>
                <a:cubicBezTo>
                  <a:pt x="2" y="2674072"/>
                  <a:pt x="2" y="2674072"/>
                  <a:pt x="70" y="2357496"/>
                </a:cubicBezTo>
                <a:lnTo>
                  <a:pt x="75" y="2333023"/>
                </a:lnTo>
                <a:lnTo>
                  <a:pt x="0" y="2332286"/>
                </a:lnTo>
                <a:cubicBezTo>
                  <a:pt x="0" y="2332286"/>
                  <a:pt x="0" y="2332286"/>
                  <a:pt x="102" y="1859734"/>
                </a:cubicBezTo>
                <a:cubicBezTo>
                  <a:pt x="102" y="1859734"/>
                  <a:pt x="102" y="1859734"/>
                  <a:pt x="790" y="1859730"/>
                </a:cubicBezTo>
                <a:lnTo>
                  <a:pt x="1277" y="1859730"/>
                </a:lnTo>
                <a:lnTo>
                  <a:pt x="1277" y="734186"/>
                </a:lnTo>
                <a:lnTo>
                  <a:pt x="1278" y="734186"/>
                </a:lnTo>
                <a:lnTo>
                  <a:pt x="1278" y="1"/>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66C868D3-3CB4-CA57-1298-79B08D03F887}"/>
              </a:ext>
            </a:extLst>
          </p:cNvPr>
          <p:cNvSpPr>
            <a:spLocks noGrp="1"/>
          </p:cNvSpPr>
          <p:nvPr>
            <p:ph type="title"/>
          </p:nvPr>
        </p:nvSpPr>
        <p:spPr>
          <a:xfrm>
            <a:off x="493714" y="579438"/>
            <a:ext cx="5113896" cy="792162"/>
          </a:xfrm>
        </p:spPr>
        <p:txBody>
          <a:bodyPr anchor="t">
            <a:noAutofit/>
          </a:bodyPr>
          <a:lstStyle>
            <a:lvl1pPr>
              <a:lnSpc>
                <a:spcPct val="85000"/>
              </a:lnSpc>
              <a:defRPr>
                <a:solidFill>
                  <a:schemeClr val="bg1"/>
                </a:solidFill>
              </a:defRPr>
            </a:lvl1pPr>
          </a:lstStyle>
          <a:p>
            <a:r>
              <a:rPr lang="en-US"/>
              <a:t>Click to edit Master title style</a:t>
            </a:r>
          </a:p>
        </p:txBody>
      </p:sp>
      <p:sp>
        <p:nvSpPr>
          <p:cNvPr id="8" name="Text Placeholder 12">
            <a:extLst>
              <a:ext uri="{FF2B5EF4-FFF2-40B4-BE49-F238E27FC236}">
                <a16:creationId xmlns:a16="http://schemas.microsoft.com/office/drawing/2014/main" id="{B497F9D7-E2AC-7870-3158-7F4230738F85}"/>
              </a:ext>
            </a:extLst>
          </p:cNvPr>
          <p:cNvSpPr>
            <a:spLocks noGrp="1"/>
          </p:cNvSpPr>
          <p:nvPr>
            <p:ph type="body" sz="quarter" idx="14"/>
          </p:nvPr>
        </p:nvSpPr>
        <p:spPr>
          <a:xfrm>
            <a:off x="6572250" y="1382889"/>
            <a:ext cx="5126366" cy="336374"/>
          </a:xfrm>
        </p:spPr>
        <p:txBody>
          <a:bodyPr anchor="t">
            <a:noAutofit/>
          </a:bodyPr>
          <a:lstStyle>
            <a:lvl1pPr marL="0" indent="0">
              <a:buNone/>
              <a:defRPr sz="2100">
                <a:solidFill>
                  <a:schemeClr val="tx1"/>
                </a:solidFill>
                <a:latin typeface="ES Build ("/>
              </a:defRPr>
            </a:lvl1pPr>
          </a:lstStyle>
          <a:p>
            <a:pPr lvl="0"/>
            <a:r>
              <a:rPr lang="en-US"/>
              <a:t>Click to edit Master text styles</a:t>
            </a:r>
          </a:p>
        </p:txBody>
      </p:sp>
      <p:sp>
        <p:nvSpPr>
          <p:cNvPr id="14" name="Subtitle 2">
            <a:extLst>
              <a:ext uri="{FF2B5EF4-FFF2-40B4-BE49-F238E27FC236}">
                <a16:creationId xmlns:a16="http://schemas.microsoft.com/office/drawing/2014/main" id="{C1BB7623-8B6B-7FAE-D44D-F4B85D496BA7}"/>
              </a:ext>
            </a:extLst>
          </p:cNvPr>
          <p:cNvSpPr>
            <a:spLocks noGrp="1"/>
          </p:cNvSpPr>
          <p:nvPr>
            <p:ph type="subTitle" idx="1"/>
          </p:nvPr>
        </p:nvSpPr>
        <p:spPr>
          <a:xfrm>
            <a:off x="493714" y="1371600"/>
            <a:ext cx="5113896" cy="347663"/>
          </a:xfrm>
        </p:spPr>
        <p:txBody>
          <a:bodyPr anchor="t">
            <a:noAutofit/>
          </a:bodyPr>
          <a:lstStyle>
            <a:lvl1pPr marL="0" indent="0" algn="l">
              <a:buNone/>
              <a:defRPr sz="2100">
                <a:solidFill>
                  <a:schemeClr val="bg1"/>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Text Placeholder 11">
            <a:extLst>
              <a:ext uri="{FF2B5EF4-FFF2-40B4-BE49-F238E27FC236}">
                <a16:creationId xmlns:a16="http://schemas.microsoft.com/office/drawing/2014/main" id="{A0EBF732-219E-4BB3-835A-6CCA099AC824}"/>
              </a:ext>
            </a:extLst>
          </p:cNvPr>
          <p:cNvSpPr>
            <a:spLocks noGrp="1"/>
          </p:cNvSpPr>
          <p:nvPr>
            <p:ph type="body" sz="quarter" idx="16"/>
          </p:nvPr>
        </p:nvSpPr>
        <p:spPr>
          <a:xfrm>
            <a:off x="6572250" y="579439"/>
            <a:ext cx="5126365" cy="792162"/>
          </a:xfrm>
        </p:spPr>
        <p:txBody>
          <a:bodyPr anchor="t">
            <a:noAutofit/>
          </a:bodyPr>
          <a:lstStyle>
            <a:lvl1pPr marL="0" indent="0">
              <a:lnSpc>
                <a:spcPct val="85000"/>
              </a:lnSpc>
              <a:buNone/>
              <a:defRPr sz="3400">
                <a:solidFill>
                  <a:schemeClr val="tx1"/>
                </a:solidFill>
                <a:latin typeface="+mn-lt"/>
              </a:defRPr>
            </a:lvl1pPr>
          </a:lstStyle>
          <a:p>
            <a:pPr lvl="0"/>
            <a:r>
              <a:rPr lang="en-US"/>
              <a:t>Click to edit Master text styles</a:t>
            </a:r>
          </a:p>
        </p:txBody>
      </p:sp>
      <p:sp>
        <p:nvSpPr>
          <p:cNvPr id="16" name="Footer Placeholder 66">
            <a:extLst>
              <a:ext uri="{FF2B5EF4-FFF2-40B4-BE49-F238E27FC236}">
                <a16:creationId xmlns:a16="http://schemas.microsoft.com/office/drawing/2014/main" id="{06EF6F84-75A1-3DAF-4249-ADE266B638E1}"/>
              </a:ext>
            </a:extLst>
          </p:cNvPr>
          <p:cNvSpPr>
            <a:spLocks noGrp="1"/>
          </p:cNvSpPr>
          <p:nvPr>
            <p:ph type="ftr" sz="quarter" idx="3"/>
          </p:nvPr>
        </p:nvSpPr>
        <p:spPr>
          <a:xfrm>
            <a:off x="493290" y="6405456"/>
            <a:ext cx="5124874" cy="107722"/>
          </a:xfrm>
          <a:prstGeom prst="rect">
            <a:avLst/>
          </a:prstGeom>
        </p:spPr>
        <p:txBody>
          <a:bodyPr vert="horz" lIns="0" tIns="0" rIns="0" bIns="0" rtlCol="0" anchor="b"/>
          <a:lstStyle>
            <a:lvl1pPr algn="l">
              <a:defRPr sz="700">
                <a:solidFill>
                  <a:schemeClr val="bg1"/>
                </a:solidFill>
              </a:defRPr>
            </a:lvl1pPr>
          </a:lstStyle>
          <a:p>
            <a:endParaRPr lang="en-US"/>
          </a:p>
        </p:txBody>
      </p:sp>
      <p:sp>
        <p:nvSpPr>
          <p:cNvPr id="5" name="Content Placeholder 18">
            <a:extLst>
              <a:ext uri="{FF2B5EF4-FFF2-40B4-BE49-F238E27FC236}">
                <a16:creationId xmlns:a16="http://schemas.microsoft.com/office/drawing/2014/main" id="{55F03A55-5898-6CE3-3BF1-81E0262A480E}"/>
              </a:ext>
            </a:extLst>
          </p:cNvPr>
          <p:cNvSpPr>
            <a:spLocks noGrp="1"/>
          </p:cNvSpPr>
          <p:nvPr>
            <p:ph sz="quarter" idx="10"/>
          </p:nvPr>
        </p:nvSpPr>
        <p:spPr>
          <a:xfrm>
            <a:off x="493288" y="2397125"/>
            <a:ext cx="5124876" cy="3771900"/>
          </a:xfrm>
        </p:spPr>
        <p:txBody>
          <a:bodyPr/>
          <a:lstStyle>
            <a:lvl1pPr>
              <a:defRPr>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18">
            <a:extLst>
              <a:ext uri="{FF2B5EF4-FFF2-40B4-BE49-F238E27FC236}">
                <a16:creationId xmlns:a16="http://schemas.microsoft.com/office/drawing/2014/main" id="{3368A297-5329-BE3C-C5BC-AB8BA372379C}"/>
              </a:ext>
            </a:extLst>
          </p:cNvPr>
          <p:cNvSpPr>
            <a:spLocks noGrp="1"/>
          </p:cNvSpPr>
          <p:nvPr>
            <p:ph sz="quarter" idx="11"/>
          </p:nvPr>
        </p:nvSpPr>
        <p:spPr>
          <a:xfrm>
            <a:off x="6574140" y="2394727"/>
            <a:ext cx="5124475" cy="3771900"/>
          </a:xfrm>
        </p:spPr>
        <p:txBody>
          <a:bodyPr/>
          <a:lstStyle>
            <a:lvl1pPr>
              <a:defRPr>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a:solidFill>
                  <a:schemeClr val="tx1"/>
                </a:solidFill>
              </a:defRPr>
            </a:lvl6pPr>
            <a:lvl7pPr>
              <a:defRPr>
                <a:solidFill>
                  <a:schemeClr val="tx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D0D39121-E546-6ABA-63FC-510C53D4976E}"/>
              </a:ext>
            </a:extLst>
          </p:cNvPr>
          <p:cNvSpPr txBox="1"/>
          <p:nvPr userDrawn="1"/>
        </p:nvSpPr>
        <p:spPr>
          <a:xfrm>
            <a:off x="493288" y="6562481"/>
            <a:ext cx="5293842" cy="107722"/>
          </a:xfrm>
          <a:prstGeom prst="rect">
            <a:avLst/>
          </a:prstGeom>
          <a:noFill/>
        </p:spPr>
        <p:txBody>
          <a:bodyPr wrap="square" lIns="0" tIns="0" rIns="0" bIns="0">
            <a:spAutoFit/>
          </a:bodyPr>
          <a:lstStyle/>
          <a:p>
            <a:r>
              <a:rPr lang="en-US" sz="700">
                <a:solidFill>
                  <a:schemeClr val="bg1"/>
                </a:solidFill>
              </a:rPr>
              <a:t>© 2024 Veeam Software. Confidential information. All rights reserved. All trademarks are the property of their respective owners. </a:t>
            </a:r>
          </a:p>
        </p:txBody>
      </p:sp>
    </p:spTree>
    <p:extLst>
      <p:ext uri="{BB962C8B-B14F-4D97-AF65-F5344CB8AC3E}">
        <p14:creationId xmlns:p14="http://schemas.microsoft.com/office/powerpoint/2010/main" val="402636341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mparison Sky Right">
    <p:spTree>
      <p:nvGrpSpPr>
        <p:cNvPr id="1" name=""/>
        <p:cNvGrpSpPr/>
        <p:nvPr/>
      </p:nvGrpSpPr>
      <p:grpSpPr>
        <a:xfrm>
          <a:off x="0" y="0"/>
          <a:ext cx="0" cy="0"/>
          <a:chOff x="0" y="0"/>
          <a:chExt cx="0" cy="0"/>
        </a:xfrm>
      </p:grpSpPr>
      <p:sp>
        <p:nvSpPr>
          <p:cNvPr id="311" name="Freeform: Shape 310">
            <a:extLst>
              <a:ext uri="{FF2B5EF4-FFF2-40B4-BE49-F238E27FC236}">
                <a16:creationId xmlns:a16="http://schemas.microsoft.com/office/drawing/2014/main" id="{FA3D5559-630B-68EB-88DB-BCC345505905}"/>
              </a:ext>
            </a:extLst>
          </p:cNvPr>
          <p:cNvSpPr/>
          <p:nvPr/>
        </p:nvSpPr>
        <p:spPr>
          <a:xfrm>
            <a:off x="6096000" y="329967"/>
            <a:ext cx="6096000" cy="6528034"/>
          </a:xfrm>
          <a:custGeom>
            <a:avLst/>
            <a:gdLst>
              <a:gd name="connsiteX0" fmla="*/ 498361 w 6096000"/>
              <a:gd name="connsiteY0" fmla="*/ 0 h 6528034"/>
              <a:gd name="connsiteX1" fmla="*/ 2956322 w 6096000"/>
              <a:gd name="connsiteY1" fmla="*/ 0 h 6528034"/>
              <a:gd name="connsiteX2" fmla="*/ 2956322 w 6096000"/>
              <a:gd name="connsiteY2" fmla="*/ 1 h 6528034"/>
              <a:gd name="connsiteX3" fmla="*/ 3133467 w 6096000"/>
              <a:gd name="connsiteY3" fmla="*/ 1 h 6528034"/>
              <a:gd name="connsiteX4" fmla="*/ 5254219 w 6096000"/>
              <a:gd name="connsiteY4" fmla="*/ 1 h 6528034"/>
              <a:gd name="connsiteX5" fmla="*/ 5254219 w 6096000"/>
              <a:gd name="connsiteY5" fmla="*/ 2612 h 6528034"/>
              <a:gd name="connsiteX6" fmla="*/ 5334022 w 6096000"/>
              <a:gd name="connsiteY6" fmla="*/ 2594 h 6528034"/>
              <a:gd name="connsiteX7" fmla="*/ 5567834 w 6096000"/>
              <a:gd name="connsiteY7" fmla="*/ 100419 h 6528034"/>
              <a:gd name="connsiteX8" fmla="*/ 5998174 w 6096000"/>
              <a:gd name="connsiteY8" fmla="*/ 530758 h 6528034"/>
              <a:gd name="connsiteX9" fmla="*/ 6089287 w 6096000"/>
              <a:gd name="connsiteY9" fmla="*/ 699850 h 6528034"/>
              <a:gd name="connsiteX10" fmla="*/ 6092847 w 6096000"/>
              <a:gd name="connsiteY10" fmla="*/ 734186 h 6528034"/>
              <a:gd name="connsiteX11" fmla="*/ 6094720 w 6096000"/>
              <a:gd name="connsiteY11" fmla="*/ 734187 h 6528034"/>
              <a:gd name="connsiteX12" fmla="*/ 6094720 w 6096000"/>
              <a:gd name="connsiteY12" fmla="*/ 752239 h 6528034"/>
              <a:gd name="connsiteX13" fmla="*/ 6096000 w 6096000"/>
              <a:gd name="connsiteY13" fmla="*/ 764572 h 6528034"/>
              <a:gd name="connsiteX14" fmla="*/ 6095930 w 6096000"/>
              <a:gd name="connsiteY14" fmla="*/ 1081147 h 6528034"/>
              <a:gd name="connsiteX15" fmla="*/ 6095926 w 6096000"/>
              <a:gd name="connsiteY15" fmla="*/ 1105640 h 6528034"/>
              <a:gd name="connsiteX16" fmla="*/ 6096000 w 6096000"/>
              <a:gd name="connsiteY16" fmla="*/ 1106355 h 6528034"/>
              <a:gd name="connsiteX17" fmla="*/ 6095896 w 6096000"/>
              <a:gd name="connsiteY17" fmla="*/ 1578910 h 6528034"/>
              <a:gd name="connsiteX18" fmla="*/ 6095210 w 6096000"/>
              <a:gd name="connsiteY18" fmla="*/ 1578912 h 6528034"/>
              <a:gd name="connsiteX19" fmla="*/ 6094720 w 6096000"/>
              <a:gd name="connsiteY19" fmla="*/ 1578914 h 6528034"/>
              <a:gd name="connsiteX20" fmla="*/ 6094720 w 6096000"/>
              <a:gd name="connsiteY20" fmla="*/ 1676436 h 6528034"/>
              <a:gd name="connsiteX21" fmla="*/ 6094720 w 6096000"/>
              <a:gd name="connsiteY21" fmla="*/ 1939724 h 6528034"/>
              <a:gd name="connsiteX22" fmla="*/ 6094720 w 6096000"/>
              <a:gd name="connsiteY22" fmla="*/ 1957771 h 6528034"/>
              <a:gd name="connsiteX23" fmla="*/ 6096000 w 6096000"/>
              <a:gd name="connsiteY23" fmla="*/ 1970105 h 6528034"/>
              <a:gd name="connsiteX24" fmla="*/ 6095930 w 6096000"/>
              <a:gd name="connsiteY24" fmla="*/ 2286686 h 6528034"/>
              <a:gd name="connsiteX25" fmla="*/ 6095926 w 6096000"/>
              <a:gd name="connsiteY25" fmla="*/ 2311171 h 6528034"/>
              <a:gd name="connsiteX26" fmla="*/ 6095999 w 6096000"/>
              <a:gd name="connsiteY26" fmla="*/ 2311888 h 6528034"/>
              <a:gd name="connsiteX27" fmla="*/ 6095896 w 6096000"/>
              <a:gd name="connsiteY27" fmla="*/ 2784449 h 6528034"/>
              <a:gd name="connsiteX28" fmla="*/ 6095210 w 6096000"/>
              <a:gd name="connsiteY28" fmla="*/ 2784450 h 6528034"/>
              <a:gd name="connsiteX29" fmla="*/ 6094720 w 6096000"/>
              <a:gd name="connsiteY29" fmla="*/ 2784451 h 6528034"/>
              <a:gd name="connsiteX30" fmla="*/ 6094720 w 6096000"/>
              <a:gd name="connsiteY30" fmla="*/ 2881981 h 6528034"/>
              <a:gd name="connsiteX31" fmla="*/ 6094720 w 6096000"/>
              <a:gd name="connsiteY31" fmla="*/ 3094524 h 6528034"/>
              <a:gd name="connsiteX32" fmla="*/ 6094720 w 6096000"/>
              <a:gd name="connsiteY32" fmla="*/ 3223754 h 6528034"/>
              <a:gd name="connsiteX33" fmla="*/ 6094720 w 6096000"/>
              <a:gd name="connsiteY33" fmla="*/ 3316620 h 6528034"/>
              <a:gd name="connsiteX34" fmla="*/ 6094720 w 6096000"/>
              <a:gd name="connsiteY34" fmla="*/ 3436291 h 6528034"/>
              <a:gd name="connsiteX35" fmla="*/ 6094720 w 6096000"/>
              <a:gd name="connsiteY35" fmla="*/ 3524159 h 6528034"/>
              <a:gd name="connsiteX36" fmla="*/ 6094720 w 6096000"/>
              <a:gd name="connsiteY36" fmla="*/ 3612822 h 6528034"/>
              <a:gd name="connsiteX37" fmla="*/ 6096000 w 6096000"/>
              <a:gd name="connsiteY37" fmla="*/ 3625155 h 6528034"/>
              <a:gd name="connsiteX38" fmla="*/ 6095930 w 6096000"/>
              <a:gd name="connsiteY38" fmla="*/ 3941730 h 6528034"/>
              <a:gd name="connsiteX39" fmla="*/ 6095926 w 6096000"/>
              <a:gd name="connsiteY39" fmla="*/ 3966224 h 6528034"/>
              <a:gd name="connsiteX40" fmla="*/ 6096000 w 6096000"/>
              <a:gd name="connsiteY40" fmla="*/ 3966938 h 6528034"/>
              <a:gd name="connsiteX41" fmla="*/ 6095995 w 6096000"/>
              <a:gd name="connsiteY41" fmla="*/ 3991859 h 6528034"/>
              <a:gd name="connsiteX42" fmla="*/ 6095993 w 6096000"/>
              <a:gd name="connsiteY42" fmla="*/ 4001046 h 6528034"/>
              <a:gd name="connsiteX43" fmla="*/ 6095999 w 6096000"/>
              <a:gd name="connsiteY43" fmla="*/ 4001118 h 6528034"/>
              <a:gd name="connsiteX44" fmla="*/ 6095930 w 6096000"/>
              <a:gd name="connsiteY44" fmla="*/ 4317694 h 6528034"/>
              <a:gd name="connsiteX45" fmla="*/ 6095926 w 6096000"/>
              <a:gd name="connsiteY45" fmla="*/ 4342186 h 6528034"/>
              <a:gd name="connsiteX46" fmla="*/ 6096000 w 6096000"/>
              <a:gd name="connsiteY46" fmla="*/ 4342902 h 6528034"/>
              <a:gd name="connsiteX47" fmla="*/ 6095896 w 6096000"/>
              <a:gd name="connsiteY47" fmla="*/ 4815458 h 6528034"/>
              <a:gd name="connsiteX48" fmla="*/ 6095209 w 6096000"/>
              <a:gd name="connsiteY48" fmla="*/ 4815459 h 6528034"/>
              <a:gd name="connsiteX49" fmla="*/ 6094720 w 6096000"/>
              <a:gd name="connsiteY49" fmla="*/ 4815459 h 6528034"/>
              <a:gd name="connsiteX50" fmla="*/ 6094720 w 6096000"/>
              <a:gd name="connsiteY50" fmla="*/ 4901060 h 6528034"/>
              <a:gd name="connsiteX51" fmla="*/ 6094720 w 6096000"/>
              <a:gd name="connsiteY51" fmla="*/ 5109958 h 6528034"/>
              <a:gd name="connsiteX52" fmla="*/ 6094720 w 6096000"/>
              <a:gd name="connsiteY52" fmla="*/ 5202832 h 6528034"/>
              <a:gd name="connsiteX53" fmla="*/ 6094720 w 6096000"/>
              <a:gd name="connsiteY53" fmla="*/ 5242844 h 6528034"/>
              <a:gd name="connsiteX54" fmla="*/ 6094720 w 6096000"/>
              <a:gd name="connsiteY54" fmla="*/ 5544616 h 6528034"/>
              <a:gd name="connsiteX55" fmla="*/ 6094720 w 6096000"/>
              <a:gd name="connsiteY55" fmla="*/ 5884479 h 6528034"/>
              <a:gd name="connsiteX56" fmla="*/ 6094720 w 6096000"/>
              <a:gd name="connsiteY56" fmla="*/ 6186250 h 6528034"/>
              <a:gd name="connsiteX57" fmla="*/ 6094720 w 6096000"/>
              <a:gd name="connsiteY57" fmla="*/ 6226262 h 6528034"/>
              <a:gd name="connsiteX58" fmla="*/ 6094720 w 6096000"/>
              <a:gd name="connsiteY58" fmla="*/ 6528034 h 6528034"/>
              <a:gd name="connsiteX59" fmla="*/ 5774783 w 6096000"/>
              <a:gd name="connsiteY59" fmla="*/ 6528034 h 6528034"/>
              <a:gd name="connsiteX60" fmla="*/ 5597638 w 6096000"/>
              <a:gd name="connsiteY60" fmla="*/ 6528034 h 6528034"/>
              <a:gd name="connsiteX61" fmla="*/ 3636760 w 6096000"/>
              <a:gd name="connsiteY61" fmla="*/ 6528034 h 6528034"/>
              <a:gd name="connsiteX62" fmla="*/ 3459615 w 6096000"/>
              <a:gd name="connsiteY62" fmla="*/ 6528034 h 6528034"/>
              <a:gd name="connsiteX63" fmla="*/ 3139677 w 6096000"/>
              <a:gd name="connsiteY63" fmla="*/ 6528034 h 6528034"/>
              <a:gd name="connsiteX64" fmla="*/ 3139677 w 6096000"/>
              <a:gd name="connsiteY64" fmla="*/ 6528032 h 6528034"/>
              <a:gd name="connsiteX65" fmla="*/ 2962532 w 6096000"/>
              <a:gd name="connsiteY65" fmla="*/ 6528032 h 6528034"/>
              <a:gd name="connsiteX66" fmla="*/ 841782 w 6096000"/>
              <a:gd name="connsiteY66" fmla="*/ 6528032 h 6528034"/>
              <a:gd name="connsiteX67" fmla="*/ 841782 w 6096000"/>
              <a:gd name="connsiteY67" fmla="*/ 6527773 h 6528034"/>
              <a:gd name="connsiteX68" fmla="*/ 761978 w 6096000"/>
              <a:gd name="connsiteY68" fmla="*/ 6527791 h 6528034"/>
              <a:gd name="connsiteX69" fmla="*/ 528166 w 6096000"/>
              <a:gd name="connsiteY69" fmla="*/ 6429965 h 6528034"/>
              <a:gd name="connsiteX70" fmla="*/ 97826 w 6096000"/>
              <a:gd name="connsiteY70" fmla="*/ 5999627 h 6528034"/>
              <a:gd name="connsiteX71" fmla="*/ 2 w 6096000"/>
              <a:gd name="connsiteY71" fmla="*/ 5765813 h 6528034"/>
              <a:gd name="connsiteX72" fmla="*/ 57 w 6096000"/>
              <a:gd name="connsiteY72" fmla="*/ 5512346 h 6528034"/>
              <a:gd name="connsiteX73" fmla="*/ 67 w 6096000"/>
              <a:gd name="connsiteY73" fmla="*/ 5464670 h 6528034"/>
              <a:gd name="connsiteX74" fmla="*/ 2 w 6096000"/>
              <a:gd name="connsiteY74" fmla="*/ 5464039 h 6528034"/>
              <a:gd name="connsiteX75" fmla="*/ 7 w 6096000"/>
              <a:gd name="connsiteY75" fmla="*/ 5439119 h 6528034"/>
              <a:gd name="connsiteX76" fmla="*/ 10 w 6096000"/>
              <a:gd name="connsiteY76" fmla="*/ 5424128 h 6528034"/>
              <a:gd name="connsiteX77" fmla="*/ 0 w 6096000"/>
              <a:gd name="connsiteY77" fmla="*/ 5424029 h 6528034"/>
              <a:gd name="connsiteX78" fmla="*/ 55 w 6096000"/>
              <a:gd name="connsiteY78" fmla="*/ 5170563 h 6528034"/>
              <a:gd name="connsiteX79" fmla="*/ 66 w 6096000"/>
              <a:gd name="connsiteY79" fmla="*/ 5122889 h 6528034"/>
              <a:gd name="connsiteX80" fmla="*/ 0 w 6096000"/>
              <a:gd name="connsiteY80" fmla="*/ 5122257 h 6528034"/>
              <a:gd name="connsiteX81" fmla="*/ 103 w 6096000"/>
              <a:gd name="connsiteY81" fmla="*/ 4649702 h 6528034"/>
              <a:gd name="connsiteX82" fmla="*/ 790 w 6096000"/>
              <a:gd name="connsiteY82" fmla="*/ 4649701 h 6528034"/>
              <a:gd name="connsiteX83" fmla="*/ 1276 w 6096000"/>
              <a:gd name="connsiteY83" fmla="*/ 4649700 h 6528034"/>
              <a:gd name="connsiteX84" fmla="*/ 1277 w 6096000"/>
              <a:gd name="connsiteY84" fmla="*/ 3891898 h 6528034"/>
              <a:gd name="connsiteX85" fmla="*/ 1 w 6096000"/>
              <a:gd name="connsiteY85" fmla="*/ 3879598 h 6528034"/>
              <a:gd name="connsiteX86" fmla="*/ 70 w 6096000"/>
              <a:gd name="connsiteY86" fmla="*/ 3563023 h 6528034"/>
              <a:gd name="connsiteX87" fmla="*/ 76 w 6096000"/>
              <a:gd name="connsiteY87" fmla="*/ 3538548 h 6528034"/>
              <a:gd name="connsiteX88" fmla="*/ 0 w 6096000"/>
              <a:gd name="connsiteY88" fmla="*/ 3537818 h 6528034"/>
              <a:gd name="connsiteX89" fmla="*/ 103 w 6096000"/>
              <a:gd name="connsiteY89" fmla="*/ 3065277 h 6528034"/>
              <a:gd name="connsiteX90" fmla="*/ 791 w 6096000"/>
              <a:gd name="connsiteY90" fmla="*/ 3065276 h 6528034"/>
              <a:gd name="connsiteX91" fmla="*/ 1277 w 6096000"/>
              <a:gd name="connsiteY91" fmla="*/ 3065275 h 6528034"/>
              <a:gd name="connsiteX92" fmla="*/ 1277 w 6096000"/>
              <a:gd name="connsiteY92" fmla="*/ 2686371 h 6528034"/>
              <a:gd name="connsiteX93" fmla="*/ 2 w 6096000"/>
              <a:gd name="connsiteY93" fmla="*/ 2674072 h 6528034"/>
              <a:gd name="connsiteX94" fmla="*/ 70 w 6096000"/>
              <a:gd name="connsiteY94" fmla="*/ 2357496 h 6528034"/>
              <a:gd name="connsiteX95" fmla="*/ 75 w 6096000"/>
              <a:gd name="connsiteY95" fmla="*/ 2333023 h 6528034"/>
              <a:gd name="connsiteX96" fmla="*/ 0 w 6096000"/>
              <a:gd name="connsiteY96" fmla="*/ 2332286 h 6528034"/>
              <a:gd name="connsiteX97" fmla="*/ 102 w 6096000"/>
              <a:gd name="connsiteY97" fmla="*/ 1859734 h 6528034"/>
              <a:gd name="connsiteX98" fmla="*/ 790 w 6096000"/>
              <a:gd name="connsiteY98" fmla="*/ 1859730 h 6528034"/>
              <a:gd name="connsiteX99" fmla="*/ 1277 w 6096000"/>
              <a:gd name="connsiteY99" fmla="*/ 1859730 h 6528034"/>
              <a:gd name="connsiteX100" fmla="*/ 1277 w 6096000"/>
              <a:gd name="connsiteY100" fmla="*/ 734186 h 6528034"/>
              <a:gd name="connsiteX101" fmla="*/ 1278 w 6096000"/>
              <a:gd name="connsiteY101" fmla="*/ 734186 h 6528034"/>
              <a:gd name="connsiteX102" fmla="*/ 1278 w 6096000"/>
              <a:gd name="connsiteY102" fmla="*/ 1 h 652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6096000" h="6528034">
                <a:moveTo>
                  <a:pt x="498361" y="0"/>
                </a:moveTo>
                <a:lnTo>
                  <a:pt x="2956322" y="0"/>
                </a:lnTo>
                <a:lnTo>
                  <a:pt x="2956322" y="1"/>
                </a:lnTo>
                <a:lnTo>
                  <a:pt x="3133467" y="1"/>
                </a:lnTo>
                <a:lnTo>
                  <a:pt x="5254219" y="1"/>
                </a:lnTo>
                <a:lnTo>
                  <a:pt x="5254219" y="2612"/>
                </a:lnTo>
                <a:lnTo>
                  <a:pt x="5334022" y="2594"/>
                </a:lnTo>
                <a:cubicBezTo>
                  <a:pt x="5421676" y="3113"/>
                  <a:pt x="5505980" y="38567"/>
                  <a:pt x="5567834" y="100419"/>
                </a:cubicBezTo>
                <a:cubicBezTo>
                  <a:pt x="5567834" y="100419"/>
                  <a:pt x="5567834" y="100419"/>
                  <a:pt x="5998174" y="530758"/>
                </a:cubicBezTo>
                <a:cubicBezTo>
                  <a:pt x="6045058" y="577643"/>
                  <a:pt x="6076350" y="636415"/>
                  <a:pt x="6089287" y="699850"/>
                </a:cubicBezTo>
                <a:lnTo>
                  <a:pt x="6092847" y="734186"/>
                </a:lnTo>
                <a:lnTo>
                  <a:pt x="6094720" y="734187"/>
                </a:lnTo>
                <a:lnTo>
                  <a:pt x="6094720" y="752239"/>
                </a:lnTo>
                <a:lnTo>
                  <a:pt x="6096000" y="764572"/>
                </a:lnTo>
                <a:cubicBezTo>
                  <a:pt x="6096000" y="764572"/>
                  <a:pt x="6096000" y="764572"/>
                  <a:pt x="6095930" y="1081147"/>
                </a:cubicBezTo>
                <a:lnTo>
                  <a:pt x="6095926" y="1105640"/>
                </a:lnTo>
                <a:lnTo>
                  <a:pt x="6096000" y="1106355"/>
                </a:lnTo>
                <a:cubicBezTo>
                  <a:pt x="6096000" y="1106355"/>
                  <a:pt x="6096000" y="1106355"/>
                  <a:pt x="6095896" y="1578910"/>
                </a:cubicBezTo>
                <a:cubicBezTo>
                  <a:pt x="6095896" y="1578910"/>
                  <a:pt x="6095896" y="1578910"/>
                  <a:pt x="6095210" y="1578912"/>
                </a:cubicBezTo>
                <a:lnTo>
                  <a:pt x="6094720" y="1578914"/>
                </a:lnTo>
                <a:lnTo>
                  <a:pt x="6094720" y="1676436"/>
                </a:lnTo>
                <a:lnTo>
                  <a:pt x="6094720" y="1939724"/>
                </a:lnTo>
                <a:lnTo>
                  <a:pt x="6094720" y="1957771"/>
                </a:lnTo>
                <a:lnTo>
                  <a:pt x="6096000" y="1970105"/>
                </a:lnTo>
                <a:cubicBezTo>
                  <a:pt x="6096000" y="1970105"/>
                  <a:pt x="6096000" y="1970105"/>
                  <a:pt x="6095930" y="2286686"/>
                </a:cubicBezTo>
                <a:lnTo>
                  <a:pt x="6095926" y="2311171"/>
                </a:lnTo>
                <a:lnTo>
                  <a:pt x="6095999" y="2311888"/>
                </a:lnTo>
                <a:cubicBezTo>
                  <a:pt x="6095999" y="2311888"/>
                  <a:pt x="6095999" y="2311888"/>
                  <a:pt x="6095896" y="2784449"/>
                </a:cubicBezTo>
                <a:cubicBezTo>
                  <a:pt x="6095896" y="2784449"/>
                  <a:pt x="6095896" y="2784449"/>
                  <a:pt x="6095210" y="2784450"/>
                </a:cubicBezTo>
                <a:lnTo>
                  <a:pt x="6094720" y="2784451"/>
                </a:lnTo>
                <a:lnTo>
                  <a:pt x="6094720" y="2881981"/>
                </a:lnTo>
                <a:lnTo>
                  <a:pt x="6094720" y="3094524"/>
                </a:lnTo>
                <a:lnTo>
                  <a:pt x="6094720" y="3223754"/>
                </a:lnTo>
                <a:lnTo>
                  <a:pt x="6094720" y="3316620"/>
                </a:lnTo>
                <a:lnTo>
                  <a:pt x="6094720" y="3436291"/>
                </a:lnTo>
                <a:lnTo>
                  <a:pt x="6094720" y="3524159"/>
                </a:lnTo>
                <a:lnTo>
                  <a:pt x="6094720" y="3612822"/>
                </a:lnTo>
                <a:lnTo>
                  <a:pt x="6096000" y="3625155"/>
                </a:lnTo>
                <a:cubicBezTo>
                  <a:pt x="6096000" y="3625155"/>
                  <a:pt x="6096000" y="3625155"/>
                  <a:pt x="6095930" y="3941730"/>
                </a:cubicBezTo>
                <a:lnTo>
                  <a:pt x="6095926" y="3966224"/>
                </a:lnTo>
                <a:lnTo>
                  <a:pt x="6096000" y="3966938"/>
                </a:lnTo>
                <a:cubicBezTo>
                  <a:pt x="6096000" y="3966938"/>
                  <a:pt x="6096000" y="3966938"/>
                  <a:pt x="6095995" y="3991859"/>
                </a:cubicBezTo>
                <a:lnTo>
                  <a:pt x="6095993" y="4001046"/>
                </a:lnTo>
                <a:lnTo>
                  <a:pt x="6095999" y="4001118"/>
                </a:lnTo>
                <a:cubicBezTo>
                  <a:pt x="6095999" y="4001118"/>
                  <a:pt x="6095999" y="4001118"/>
                  <a:pt x="6095930" y="4317694"/>
                </a:cubicBezTo>
                <a:lnTo>
                  <a:pt x="6095926" y="4342186"/>
                </a:lnTo>
                <a:lnTo>
                  <a:pt x="6096000" y="4342902"/>
                </a:lnTo>
                <a:cubicBezTo>
                  <a:pt x="6096000" y="4342902"/>
                  <a:pt x="6096000" y="4342902"/>
                  <a:pt x="6095896" y="4815458"/>
                </a:cubicBezTo>
                <a:cubicBezTo>
                  <a:pt x="6095896" y="4815458"/>
                  <a:pt x="6095896" y="4815458"/>
                  <a:pt x="6095209" y="4815459"/>
                </a:cubicBezTo>
                <a:lnTo>
                  <a:pt x="6094720" y="4815459"/>
                </a:lnTo>
                <a:lnTo>
                  <a:pt x="6094720" y="4901060"/>
                </a:lnTo>
                <a:lnTo>
                  <a:pt x="6094720" y="5109958"/>
                </a:lnTo>
                <a:lnTo>
                  <a:pt x="6094720" y="5202832"/>
                </a:lnTo>
                <a:lnTo>
                  <a:pt x="6094720" y="5242844"/>
                </a:lnTo>
                <a:lnTo>
                  <a:pt x="6094720" y="5544616"/>
                </a:lnTo>
                <a:lnTo>
                  <a:pt x="6094720" y="5884479"/>
                </a:lnTo>
                <a:lnTo>
                  <a:pt x="6094720" y="6186250"/>
                </a:lnTo>
                <a:lnTo>
                  <a:pt x="6094720" y="6226262"/>
                </a:lnTo>
                <a:lnTo>
                  <a:pt x="6094720" y="6528034"/>
                </a:lnTo>
                <a:lnTo>
                  <a:pt x="5774783" y="6528034"/>
                </a:lnTo>
                <a:lnTo>
                  <a:pt x="5597638" y="6528034"/>
                </a:lnTo>
                <a:lnTo>
                  <a:pt x="3636760" y="6528034"/>
                </a:lnTo>
                <a:lnTo>
                  <a:pt x="3459615" y="6528034"/>
                </a:lnTo>
                <a:lnTo>
                  <a:pt x="3139677" y="6528034"/>
                </a:lnTo>
                <a:lnTo>
                  <a:pt x="3139677" y="6528032"/>
                </a:lnTo>
                <a:lnTo>
                  <a:pt x="2962532" y="6528032"/>
                </a:lnTo>
                <a:lnTo>
                  <a:pt x="841782" y="6528032"/>
                </a:lnTo>
                <a:lnTo>
                  <a:pt x="841782" y="6527773"/>
                </a:lnTo>
                <a:lnTo>
                  <a:pt x="761978" y="6527791"/>
                </a:lnTo>
                <a:cubicBezTo>
                  <a:pt x="674323" y="6527273"/>
                  <a:pt x="590019" y="6491819"/>
                  <a:pt x="528166" y="6429965"/>
                </a:cubicBezTo>
                <a:cubicBezTo>
                  <a:pt x="528166" y="6429965"/>
                  <a:pt x="528166" y="6429965"/>
                  <a:pt x="97826" y="5999627"/>
                </a:cubicBezTo>
                <a:cubicBezTo>
                  <a:pt x="35315" y="5937116"/>
                  <a:pt x="519" y="5853470"/>
                  <a:pt x="2" y="5765813"/>
                </a:cubicBezTo>
                <a:cubicBezTo>
                  <a:pt x="2" y="5765813"/>
                  <a:pt x="2" y="5765813"/>
                  <a:pt x="57" y="5512346"/>
                </a:cubicBezTo>
                <a:lnTo>
                  <a:pt x="67" y="5464670"/>
                </a:lnTo>
                <a:lnTo>
                  <a:pt x="2" y="5464039"/>
                </a:lnTo>
                <a:cubicBezTo>
                  <a:pt x="2" y="5464039"/>
                  <a:pt x="2" y="5464039"/>
                  <a:pt x="7" y="5439119"/>
                </a:cubicBezTo>
                <a:lnTo>
                  <a:pt x="10" y="5424128"/>
                </a:lnTo>
                <a:lnTo>
                  <a:pt x="0" y="5424029"/>
                </a:lnTo>
                <a:cubicBezTo>
                  <a:pt x="0" y="5424029"/>
                  <a:pt x="0" y="5424029"/>
                  <a:pt x="55" y="5170563"/>
                </a:cubicBezTo>
                <a:lnTo>
                  <a:pt x="66" y="5122889"/>
                </a:lnTo>
                <a:lnTo>
                  <a:pt x="0" y="5122257"/>
                </a:lnTo>
                <a:cubicBezTo>
                  <a:pt x="0" y="5122257"/>
                  <a:pt x="0" y="5122257"/>
                  <a:pt x="103" y="4649702"/>
                </a:cubicBezTo>
                <a:cubicBezTo>
                  <a:pt x="103" y="4649702"/>
                  <a:pt x="103" y="4649702"/>
                  <a:pt x="790" y="4649701"/>
                </a:cubicBezTo>
                <a:lnTo>
                  <a:pt x="1276" y="4649700"/>
                </a:lnTo>
                <a:lnTo>
                  <a:pt x="1277" y="3891898"/>
                </a:lnTo>
                <a:lnTo>
                  <a:pt x="1" y="3879598"/>
                </a:lnTo>
                <a:cubicBezTo>
                  <a:pt x="1" y="3879598"/>
                  <a:pt x="1" y="3879598"/>
                  <a:pt x="70" y="3563023"/>
                </a:cubicBezTo>
                <a:lnTo>
                  <a:pt x="76" y="3538548"/>
                </a:lnTo>
                <a:lnTo>
                  <a:pt x="0" y="3537818"/>
                </a:lnTo>
                <a:cubicBezTo>
                  <a:pt x="0" y="3537818"/>
                  <a:pt x="0" y="3537818"/>
                  <a:pt x="103" y="3065277"/>
                </a:cubicBezTo>
                <a:cubicBezTo>
                  <a:pt x="103" y="3065277"/>
                  <a:pt x="103" y="3065277"/>
                  <a:pt x="791" y="3065276"/>
                </a:cubicBezTo>
                <a:lnTo>
                  <a:pt x="1277" y="3065275"/>
                </a:lnTo>
                <a:lnTo>
                  <a:pt x="1277" y="2686371"/>
                </a:lnTo>
                <a:lnTo>
                  <a:pt x="2" y="2674072"/>
                </a:lnTo>
                <a:cubicBezTo>
                  <a:pt x="2" y="2674072"/>
                  <a:pt x="2" y="2674072"/>
                  <a:pt x="70" y="2357496"/>
                </a:cubicBezTo>
                <a:lnTo>
                  <a:pt x="75" y="2333023"/>
                </a:lnTo>
                <a:lnTo>
                  <a:pt x="0" y="2332286"/>
                </a:lnTo>
                <a:cubicBezTo>
                  <a:pt x="0" y="2332286"/>
                  <a:pt x="0" y="2332286"/>
                  <a:pt x="102" y="1859734"/>
                </a:cubicBezTo>
                <a:cubicBezTo>
                  <a:pt x="102" y="1859734"/>
                  <a:pt x="102" y="1859734"/>
                  <a:pt x="790" y="1859730"/>
                </a:cubicBezTo>
                <a:lnTo>
                  <a:pt x="1277" y="1859730"/>
                </a:lnTo>
                <a:lnTo>
                  <a:pt x="1277" y="734186"/>
                </a:lnTo>
                <a:lnTo>
                  <a:pt x="1278" y="734186"/>
                </a:lnTo>
                <a:lnTo>
                  <a:pt x="1278" y="1"/>
                </a:ln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Title 1">
            <a:extLst>
              <a:ext uri="{FF2B5EF4-FFF2-40B4-BE49-F238E27FC236}">
                <a16:creationId xmlns:a16="http://schemas.microsoft.com/office/drawing/2014/main" id="{012294CE-1368-BF63-28B5-C8EE4BCAFDFA}"/>
              </a:ext>
            </a:extLst>
          </p:cNvPr>
          <p:cNvSpPr>
            <a:spLocks noGrp="1"/>
          </p:cNvSpPr>
          <p:nvPr>
            <p:ph type="title"/>
          </p:nvPr>
        </p:nvSpPr>
        <p:spPr>
          <a:xfrm>
            <a:off x="493714" y="579438"/>
            <a:ext cx="5113896" cy="792162"/>
          </a:xfrm>
        </p:spPr>
        <p:txBody>
          <a:bodyPr anchor="t">
            <a:noAutofit/>
          </a:bodyPr>
          <a:lstStyle>
            <a:lvl1pPr>
              <a:lnSpc>
                <a:spcPct val="85000"/>
              </a:lnSpc>
              <a:defRPr/>
            </a:lvl1pPr>
          </a:lstStyle>
          <a:p>
            <a:r>
              <a:rPr lang="en-US"/>
              <a:t>Click to edit Master title style</a:t>
            </a:r>
          </a:p>
        </p:txBody>
      </p:sp>
      <p:sp>
        <p:nvSpPr>
          <p:cNvPr id="11" name="Text Placeholder 12">
            <a:extLst>
              <a:ext uri="{FF2B5EF4-FFF2-40B4-BE49-F238E27FC236}">
                <a16:creationId xmlns:a16="http://schemas.microsoft.com/office/drawing/2014/main" id="{7830E2A7-C8EE-61A4-A592-4A9C6E3D0B55}"/>
              </a:ext>
            </a:extLst>
          </p:cNvPr>
          <p:cNvSpPr>
            <a:spLocks noGrp="1"/>
          </p:cNvSpPr>
          <p:nvPr>
            <p:ph type="body" sz="quarter" idx="14"/>
          </p:nvPr>
        </p:nvSpPr>
        <p:spPr>
          <a:xfrm>
            <a:off x="6572250" y="1382889"/>
            <a:ext cx="5126366" cy="336374"/>
          </a:xfrm>
        </p:spPr>
        <p:txBody>
          <a:bodyPr anchor="t">
            <a:noAutofit/>
          </a:bodyPr>
          <a:lstStyle>
            <a:lvl1pPr marL="0" indent="0">
              <a:buNone/>
              <a:defRPr sz="2100">
                <a:solidFill>
                  <a:schemeClr val="bg1"/>
                </a:solidFill>
                <a:latin typeface="ES Build "/>
              </a:defRPr>
            </a:lvl1pPr>
          </a:lstStyle>
          <a:p>
            <a:pPr lvl="0"/>
            <a:r>
              <a:rPr lang="en-US"/>
              <a:t>Click to edit Master text styles</a:t>
            </a:r>
          </a:p>
        </p:txBody>
      </p:sp>
      <p:sp>
        <p:nvSpPr>
          <p:cNvPr id="14" name="Subtitle 2">
            <a:extLst>
              <a:ext uri="{FF2B5EF4-FFF2-40B4-BE49-F238E27FC236}">
                <a16:creationId xmlns:a16="http://schemas.microsoft.com/office/drawing/2014/main" id="{35BE395E-9385-3B06-C680-B8E8D2310E82}"/>
              </a:ext>
            </a:extLst>
          </p:cNvPr>
          <p:cNvSpPr>
            <a:spLocks noGrp="1"/>
          </p:cNvSpPr>
          <p:nvPr>
            <p:ph type="subTitle" idx="1"/>
          </p:nvPr>
        </p:nvSpPr>
        <p:spPr>
          <a:xfrm>
            <a:off x="493714" y="1371600"/>
            <a:ext cx="5113896" cy="347663"/>
          </a:xfrm>
        </p:spPr>
        <p:txBody>
          <a:bodyPr anchor="t">
            <a:noAutofit/>
          </a:bodyPr>
          <a:lstStyle>
            <a:lvl1pPr marL="0" indent="0" algn="l">
              <a:buNone/>
              <a:defRPr sz="21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Text Placeholder 11">
            <a:extLst>
              <a:ext uri="{FF2B5EF4-FFF2-40B4-BE49-F238E27FC236}">
                <a16:creationId xmlns:a16="http://schemas.microsoft.com/office/drawing/2014/main" id="{9639A052-9E04-CDDA-0ACE-A40FF9BC5EAF}"/>
              </a:ext>
            </a:extLst>
          </p:cNvPr>
          <p:cNvSpPr>
            <a:spLocks noGrp="1"/>
          </p:cNvSpPr>
          <p:nvPr>
            <p:ph type="body" sz="quarter" idx="16"/>
          </p:nvPr>
        </p:nvSpPr>
        <p:spPr>
          <a:xfrm>
            <a:off x="6572250" y="579439"/>
            <a:ext cx="5126365" cy="792162"/>
          </a:xfrm>
        </p:spPr>
        <p:txBody>
          <a:bodyPr anchor="t">
            <a:noAutofit/>
          </a:bodyPr>
          <a:lstStyle>
            <a:lvl1pPr marL="0" indent="0">
              <a:lnSpc>
                <a:spcPct val="85000"/>
              </a:lnSpc>
              <a:buNone/>
              <a:defRPr sz="3400">
                <a:solidFill>
                  <a:schemeClr val="bg1"/>
                </a:solidFill>
                <a:latin typeface="+mn-lt"/>
              </a:defRPr>
            </a:lvl1pPr>
          </a:lstStyle>
          <a:p>
            <a:pPr lvl="0"/>
            <a:r>
              <a:rPr lang="en-US"/>
              <a:t>Click to edit Master text styles</a:t>
            </a:r>
          </a:p>
        </p:txBody>
      </p:sp>
      <p:sp>
        <p:nvSpPr>
          <p:cNvPr id="16" name="Footer Placeholder 66">
            <a:extLst>
              <a:ext uri="{FF2B5EF4-FFF2-40B4-BE49-F238E27FC236}">
                <a16:creationId xmlns:a16="http://schemas.microsoft.com/office/drawing/2014/main" id="{A64D20B8-8B2F-AAA6-BEBC-31122038D8DB}"/>
              </a:ext>
            </a:extLst>
          </p:cNvPr>
          <p:cNvSpPr>
            <a:spLocks noGrp="1"/>
          </p:cNvSpPr>
          <p:nvPr>
            <p:ph type="ftr" sz="quarter" idx="3"/>
          </p:nvPr>
        </p:nvSpPr>
        <p:spPr>
          <a:xfrm>
            <a:off x="493290" y="6405456"/>
            <a:ext cx="5124874" cy="107722"/>
          </a:xfrm>
          <a:prstGeom prst="rect">
            <a:avLst/>
          </a:prstGeom>
        </p:spPr>
        <p:txBody>
          <a:bodyPr vert="horz" lIns="0" tIns="0" rIns="0" bIns="0" rtlCol="0" anchor="b"/>
          <a:lstStyle>
            <a:lvl1pPr algn="l">
              <a:defRPr sz="700">
                <a:solidFill>
                  <a:schemeClr val="tx2"/>
                </a:solidFill>
              </a:defRPr>
            </a:lvl1pPr>
          </a:lstStyle>
          <a:p>
            <a:endParaRPr lang="en-US"/>
          </a:p>
        </p:txBody>
      </p:sp>
      <p:sp>
        <p:nvSpPr>
          <p:cNvPr id="2" name="Content Placeholder 18">
            <a:extLst>
              <a:ext uri="{FF2B5EF4-FFF2-40B4-BE49-F238E27FC236}">
                <a16:creationId xmlns:a16="http://schemas.microsoft.com/office/drawing/2014/main" id="{A6940E88-647A-45CE-8088-D6C7C350228A}"/>
              </a:ext>
            </a:extLst>
          </p:cNvPr>
          <p:cNvSpPr>
            <a:spLocks noGrp="1"/>
          </p:cNvSpPr>
          <p:nvPr>
            <p:ph sz="quarter" idx="10"/>
          </p:nvPr>
        </p:nvSpPr>
        <p:spPr>
          <a:xfrm>
            <a:off x="493288" y="2397125"/>
            <a:ext cx="5124876" cy="3771900"/>
          </a:xfrm>
        </p:spPr>
        <p:txBody>
          <a:bodyPr/>
          <a:lstStyle>
            <a:lvl1pPr>
              <a:defRPr>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a:solidFill>
                  <a:schemeClr val="tx1"/>
                </a:solidFill>
              </a:defRPr>
            </a:lvl6pPr>
            <a:lvl7pPr>
              <a:defRPr>
                <a:solidFill>
                  <a:schemeClr val="tx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18">
            <a:extLst>
              <a:ext uri="{FF2B5EF4-FFF2-40B4-BE49-F238E27FC236}">
                <a16:creationId xmlns:a16="http://schemas.microsoft.com/office/drawing/2014/main" id="{A3D652E3-FD2B-9AC7-6022-BD78A2BF0B52}"/>
              </a:ext>
            </a:extLst>
          </p:cNvPr>
          <p:cNvSpPr>
            <a:spLocks noGrp="1"/>
          </p:cNvSpPr>
          <p:nvPr>
            <p:ph sz="quarter" idx="11"/>
          </p:nvPr>
        </p:nvSpPr>
        <p:spPr>
          <a:xfrm>
            <a:off x="6574140" y="2394727"/>
            <a:ext cx="5124475" cy="3771900"/>
          </a:xfrm>
        </p:spPr>
        <p:txBody>
          <a:bodyPr/>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Graphic 5">
            <a:extLst>
              <a:ext uri="{FF2B5EF4-FFF2-40B4-BE49-F238E27FC236}">
                <a16:creationId xmlns:a16="http://schemas.microsoft.com/office/drawing/2014/main" id="{F59D6CA1-A7A3-FA76-75AD-90AB5AD34B22}"/>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180146" y="6513177"/>
            <a:ext cx="516553" cy="157025"/>
          </a:xfrm>
          <a:prstGeom prst="rect">
            <a:avLst/>
          </a:prstGeom>
        </p:spPr>
      </p:pic>
    </p:spTree>
    <p:extLst>
      <p:ext uri="{BB962C8B-B14F-4D97-AF65-F5344CB8AC3E}">
        <p14:creationId xmlns:p14="http://schemas.microsoft.com/office/powerpoint/2010/main" val="1570487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mparison Sky Left">
    <p:spTree>
      <p:nvGrpSpPr>
        <p:cNvPr id="1" name=""/>
        <p:cNvGrpSpPr/>
        <p:nvPr/>
      </p:nvGrpSpPr>
      <p:grpSpPr>
        <a:xfrm>
          <a:off x="0" y="0"/>
          <a:ext cx="0" cy="0"/>
          <a:chOff x="0" y="0"/>
          <a:chExt cx="0" cy="0"/>
        </a:xfrm>
      </p:grpSpPr>
      <p:sp>
        <p:nvSpPr>
          <p:cNvPr id="311" name="Freeform: Shape 310">
            <a:extLst>
              <a:ext uri="{FF2B5EF4-FFF2-40B4-BE49-F238E27FC236}">
                <a16:creationId xmlns:a16="http://schemas.microsoft.com/office/drawing/2014/main" id="{FA3D5559-630B-68EB-88DB-BCC345505905}"/>
              </a:ext>
            </a:extLst>
          </p:cNvPr>
          <p:cNvSpPr/>
          <p:nvPr/>
        </p:nvSpPr>
        <p:spPr>
          <a:xfrm flipH="1">
            <a:off x="0" y="329967"/>
            <a:ext cx="6096000" cy="6528034"/>
          </a:xfrm>
          <a:custGeom>
            <a:avLst/>
            <a:gdLst>
              <a:gd name="connsiteX0" fmla="*/ 498361 w 6096000"/>
              <a:gd name="connsiteY0" fmla="*/ 0 h 6528034"/>
              <a:gd name="connsiteX1" fmla="*/ 2956322 w 6096000"/>
              <a:gd name="connsiteY1" fmla="*/ 0 h 6528034"/>
              <a:gd name="connsiteX2" fmla="*/ 2956322 w 6096000"/>
              <a:gd name="connsiteY2" fmla="*/ 1 h 6528034"/>
              <a:gd name="connsiteX3" fmla="*/ 3133467 w 6096000"/>
              <a:gd name="connsiteY3" fmla="*/ 1 h 6528034"/>
              <a:gd name="connsiteX4" fmla="*/ 5254219 w 6096000"/>
              <a:gd name="connsiteY4" fmla="*/ 1 h 6528034"/>
              <a:gd name="connsiteX5" fmla="*/ 5254219 w 6096000"/>
              <a:gd name="connsiteY5" fmla="*/ 2612 h 6528034"/>
              <a:gd name="connsiteX6" fmla="*/ 5334022 w 6096000"/>
              <a:gd name="connsiteY6" fmla="*/ 2594 h 6528034"/>
              <a:gd name="connsiteX7" fmla="*/ 5567834 w 6096000"/>
              <a:gd name="connsiteY7" fmla="*/ 100419 h 6528034"/>
              <a:gd name="connsiteX8" fmla="*/ 5998174 w 6096000"/>
              <a:gd name="connsiteY8" fmla="*/ 530758 h 6528034"/>
              <a:gd name="connsiteX9" fmla="*/ 6089287 w 6096000"/>
              <a:gd name="connsiteY9" fmla="*/ 699850 h 6528034"/>
              <a:gd name="connsiteX10" fmla="*/ 6092847 w 6096000"/>
              <a:gd name="connsiteY10" fmla="*/ 734186 h 6528034"/>
              <a:gd name="connsiteX11" fmla="*/ 6094720 w 6096000"/>
              <a:gd name="connsiteY11" fmla="*/ 734187 h 6528034"/>
              <a:gd name="connsiteX12" fmla="*/ 6094720 w 6096000"/>
              <a:gd name="connsiteY12" fmla="*/ 752239 h 6528034"/>
              <a:gd name="connsiteX13" fmla="*/ 6096000 w 6096000"/>
              <a:gd name="connsiteY13" fmla="*/ 764572 h 6528034"/>
              <a:gd name="connsiteX14" fmla="*/ 6095930 w 6096000"/>
              <a:gd name="connsiteY14" fmla="*/ 1081147 h 6528034"/>
              <a:gd name="connsiteX15" fmla="*/ 6095926 w 6096000"/>
              <a:gd name="connsiteY15" fmla="*/ 1105640 h 6528034"/>
              <a:gd name="connsiteX16" fmla="*/ 6096000 w 6096000"/>
              <a:gd name="connsiteY16" fmla="*/ 1106355 h 6528034"/>
              <a:gd name="connsiteX17" fmla="*/ 6095896 w 6096000"/>
              <a:gd name="connsiteY17" fmla="*/ 1578910 h 6528034"/>
              <a:gd name="connsiteX18" fmla="*/ 6095210 w 6096000"/>
              <a:gd name="connsiteY18" fmla="*/ 1578912 h 6528034"/>
              <a:gd name="connsiteX19" fmla="*/ 6094720 w 6096000"/>
              <a:gd name="connsiteY19" fmla="*/ 1578914 h 6528034"/>
              <a:gd name="connsiteX20" fmla="*/ 6094720 w 6096000"/>
              <a:gd name="connsiteY20" fmla="*/ 1676436 h 6528034"/>
              <a:gd name="connsiteX21" fmla="*/ 6094720 w 6096000"/>
              <a:gd name="connsiteY21" fmla="*/ 1939724 h 6528034"/>
              <a:gd name="connsiteX22" fmla="*/ 6094720 w 6096000"/>
              <a:gd name="connsiteY22" fmla="*/ 1957771 h 6528034"/>
              <a:gd name="connsiteX23" fmla="*/ 6096000 w 6096000"/>
              <a:gd name="connsiteY23" fmla="*/ 1970105 h 6528034"/>
              <a:gd name="connsiteX24" fmla="*/ 6095930 w 6096000"/>
              <a:gd name="connsiteY24" fmla="*/ 2286686 h 6528034"/>
              <a:gd name="connsiteX25" fmla="*/ 6095926 w 6096000"/>
              <a:gd name="connsiteY25" fmla="*/ 2311171 h 6528034"/>
              <a:gd name="connsiteX26" fmla="*/ 6095999 w 6096000"/>
              <a:gd name="connsiteY26" fmla="*/ 2311888 h 6528034"/>
              <a:gd name="connsiteX27" fmla="*/ 6095896 w 6096000"/>
              <a:gd name="connsiteY27" fmla="*/ 2784449 h 6528034"/>
              <a:gd name="connsiteX28" fmla="*/ 6095210 w 6096000"/>
              <a:gd name="connsiteY28" fmla="*/ 2784450 h 6528034"/>
              <a:gd name="connsiteX29" fmla="*/ 6094720 w 6096000"/>
              <a:gd name="connsiteY29" fmla="*/ 2784451 h 6528034"/>
              <a:gd name="connsiteX30" fmla="*/ 6094720 w 6096000"/>
              <a:gd name="connsiteY30" fmla="*/ 2881981 h 6528034"/>
              <a:gd name="connsiteX31" fmla="*/ 6094720 w 6096000"/>
              <a:gd name="connsiteY31" fmla="*/ 3094524 h 6528034"/>
              <a:gd name="connsiteX32" fmla="*/ 6094720 w 6096000"/>
              <a:gd name="connsiteY32" fmla="*/ 3223754 h 6528034"/>
              <a:gd name="connsiteX33" fmla="*/ 6094720 w 6096000"/>
              <a:gd name="connsiteY33" fmla="*/ 3316620 h 6528034"/>
              <a:gd name="connsiteX34" fmla="*/ 6094720 w 6096000"/>
              <a:gd name="connsiteY34" fmla="*/ 3436291 h 6528034"/>
              <a:gd name="connsiteX35" fmla="*/ 6094720 w 6096000"/>
              <a:gd name="connsiteY35" fmla="*/ 3524159 h 6528034"/>
              <a:gd name="connsiteX36" fmla="*/ 6094720 w 6096000"/>
              <a:gd name="connsiteY36" fmla="*/ 3612822 h 6528034"/>
              <a:gd name="connsiteX37" fmla="*/ 6096000 w 6096000"/>
              <a:gd name="connsiteY37" fmla="*/ 3625155 h 6528034"/>
              <a:gd name="connsiteX38" fmla="*/ 6095930 w 6096000"/>
              <a:gd name="connsiteY38" fmla="*/ 3941730 h 6528034"/>
              <a:gd name="connsiteX39" fmla="*/ 6095926 w 6096000"/>
              <a:gd name="connsiteY39" fmla="*/ 3966224 h 6528034"/>
              <a:gd name="connsiteX40" fmla="*/ 6096000 w 6096000"/>
              <a:gd name="connsiteY40" fmla="*/ 3966938 h 6528034"/>
              <a:gd name="connsiteX41" fmla="*/ 6095995 w 6096000"/>
              <a:gd name="connsiteY41" fmla="*/ 3991859 h 6528034"/>
              <a:gd name="connsiteX42" fmla="*/ 6095993 w 6096000"/>
              <a:gd name="connsiteY42" fmla="*/ 4001046 h 6528034"/>
              <a:gd name="connsiteX43" fmla="*/ 6095999 w 6096000"/>
              <a:gd name="connsiteY43" fmla="*/ 4001118 h 6528034"/>
              <a:gd name="connsiteX44" fmla="*/ 6095930 w 6096000"/>
              <a:gd name="connsiteY44" fmla="*/ 4317694 h 6528034"/>
              <a:gd name="connsiteX45" fmla="*/ 6095926 w 6096000"/>
              <a:gd name="connsiteY45" fmla="*/ 4342186 h 6528034"/>
              <a:gd name="connsiteX46" fmla="*/ 6096000 w 6096000"/>
              <a:gd name="connsiteY46" fmla="*/ 4342902 h 6528034"/>
              <a:gd name="connsiteX47" fmla="*/ 6095896 w 6096000"/>
              <a:gd name="connsiteY47" fmla="*/ 4815458 h 6528034"/>
              <a:gd name="connsiteX48" fmla="*/ 6095209 w 6096000"/>
              <a:gd name="connsiteY48" fmla="*/ 4815459 h 6528034"/>
              <a:gd name="connsiteX49" fmla="*/ 6094720 w 6096000"/>
              <a:gd name="connsiteY49" fmla="*/ 4815459 h 6528034"/>
              <a:gd name="connsiteX50" fmla="*/ 6094720 w 6096000"/>
              <a:gd name="connsiteY50" fmla="*/ 4901060 h 6528034"/>
              <a:gd name="connsiteX51" fmla="*/ 6094720 w 6096000"/>
              <a:gd name="connsiteY51" fmla="*/ 5109958 h 6528034"/>
              <a:gd name="connsiteX52" fmla="*/ 6094720 w 6096000"/>
              <a:gd name="connsiteY52" fmla="*/ 5202832 h 6528034"/>
              <a:gd name="connsiteX53" fmla="*/ 6094720 w 6096000"/>
              <a:gd name="connsiteY53" fmla="*/ 5242844 h 6528034"/>
              <a:gd name="connsiteX54" fmla="*/ 6094720 w 6096000"/>
              <a:gd name="connsiteY54" fmla="*/ 5544616 h 6528034"/>
              <a:gd name="connsiteX55" fmla="*/ 6094720 w 6096000"/>
              <a:gd name="connsiteY55" fmla="*/ 5884479 h 6528034"/>
              <a:gd name="connsiteX56" fmla="*/ 6094720 w 6096000"/>
              <a:gd name="connsiteY56" fmla="*/ 6186250 h 6528034"/>
              <a:gd name="connsiteX57" fmla="*/ 6094720 w 6096000"/>
              <a:gd name="connsiteY57" fmla="*/ 6226262 h 6528034"/>
              <a:gd name="connsiteX58" fmla="*/ 6094720 w 6096000"/>
              <a:gd name="connsiteY58" fmla="*/ 6528034 h 6528034"/>
              <a:gd name="connsiteX59" fmla="*/ 5774783 w 6096000"/>
              <a:gd name="connsiteY59" fmla="*/ 6528034 h 6528034"/>
              <a:gd name="connsiteX60" fmla="*/ 5597638 w 6096000"/>
              <a:gd name="connsiteY60" fmla="*/ 6528034 h 6528034"/>
              <a:gd name="connsiteX61" fmla="*/ 3636760 w 6096000"/>
              <a:gd name="connsiteY61" fmla="*/ 6528034 h 6528034"/>
              <a:gd name="connsiteX62" fmla="*/ 3459615 w 6096000"/>
              <a:gd name="connsiteY62" fmla="*/ 6528034 h 6528034"/>
              <a:gd name="connsiteX63" fmla="*/ 3139677 w 6096000"/>
              <a:gd name="connsiteY63" fmla="*/ 6528034 h 6528034"/>
              <a:gd name="connsiteX64" fmla="*/ 3139677 w 6096000"/>
              <a:gd name="connsiteY64" fmla="*/ 6528032 h 6528034"/>
              <a:gd name="connsiteX65" fmla="*/ 2962532 w 6096000"/>
              <a:gd name="connsiteY65" fmla="*/ 6528032 h 6528034"/>
              <a:gd name="connsiteX66" fmla="*/ 841782 w 6096000"/>
              <a:gd name="connsiteY66" fmla="*/ 6528032 h 6528034"/>
              <a:gd name="connsiteX67" fmla="*/ 841782 w 6096000"/>
              <a:gd name="connsiteY67" fmla="*/ 6527773 h 6528034"/>
              <a:gd name="connsiteX68" fmla="*/ 761978 w 6096000"/>
              <a:gd name="connsiteY68" fmla="*/ 6527791 h 6528034"/>
              <a:gd name="connsiteX69" fmla="*/ 528166 w 6096000"/>
              <a:gd name="connsiteY69" fmla="*/ 6429965 h 6528034"/>
              <a:gd name="connsiteX70" fmla="*/ 97826 w 6096000"/>
              <a:gd name="connsiteY70" fmla="*/ 5999627 h 6528034"/>
              <a:gd name="connsiteX71" fmla="*/ 2 w 6096000"/>
              <a:gd name="connsiteY71" fmla="*/ 5765813 h 6528034"/>
              <a:gd name="connsiteX72" fmla="*/ 57 w 6096000"/>
              <a:gd name="connsiteY72" fmla="*/ 5512346 h 6528034"/>
              <a:gd name="connsiteX73" fmla="*/ 67 w 6096000"/>
              <a:gd name="connsiteY73" fmla="*/ 5464670 h 6528034"/>
              <a:gd name="connsiteX74" fmla="*/ 2 w 6096000"/>
              <a:gd name="connsiteY74" fmla="*/ 5464039 h 6528034"/>
              <a:gd name="connsiteX75" fmla="*/ 7 w 6096000"/>
              <a:gd name="connsiteY75" fmla="*/ 5439119 h 6528034"/>
              <a:gd name="connsiteX76" fmla="*/ 10 w 6096000"/>
              <a:gd name="connsiteY76" fmla="*/ 5424128 h 6528034"/>
              <a:gd name="connsiteX77" fmla="*/ 0 w 6096000"/>
              <a:gd name="connsiteY77" fmla="*/ 5424029 h 6528034"/>
              <a:gd name="connsiteX78" fmla="*/ 55 w 6096000"/>
              <a:gd name="connsiteY78" fmla="*/ 5170563 h 6528034"/>
              <a:gd name="connsiteX79" fmla="*/ 66 w 6096000"/>
              <a:gd name="connsiteY79" fmla="*/ 5122889 h 6528034"/>
              <a:gd name="connsiteX80" fmla="*/ 0 w 6096000"/>
              <a:gd name="connsiteY80" fmla="*/ 5122257 h 6528034"/>
              <a:gd name="connsiteX81" fmla="*/ 103 w 6096000"/>
              <a:gd name="connsiteY81" fmla="*/ 4649702 h 6528034"/>
              <a:gd name="connsiteX82" fmla="*/ 790 w 6096000"/>
              <a:gd name="connsiteY82" fmla="*/ 4649701 h 6528034"/>
              <a:gd name="connsiteX83" fmla="*/ 1276 w 6096000"/>
              <a:gd name="connsiteY83" fmla="*/ 4649700 h 6528034"/>
              <a:gd name="connsiteX84" fmla="*/ 1277 w 6096000"/>
              <a:gd name="connsiteY84" fmla="*/ 3891898 h 6528034"/>
              <a:gd name="connsiteX85" fmla="*/ 1 w 6096000"/>
              <a:gd name="connsiteY85" fmla="*/ 3879598 h 6528034"/>
              <a:gd name="connsiteX86" fmla="*/ 70 w 6096000"/>
              <a:gd name="connsiteY86" fmla="*/ 3563023 h 6528034"/>
              <a:gd name="connsiteX87" fmla="*/ 76 w 6096000"/>
              <a:gd name="connsiteY87" fmla="*/ 3538548 h 6528034"/>
              <a:gd name="connsiteX88" fmla="*/ 0 w 6096000"/>
              <a:gd name="connsiteY88" fmla="*/ 3537818 h 6528034"/>
              <a:gd name="connsiteX89" fmla="*/ 103 w 6096000"/>
              <a:gd name="connsiteY89" fmla="*/ 3065277 h 6528034"/>
              <a:gd name="connsiteX90" fmla="*/ 791 w 6096000"/>
              <a:gd name="connsiteY90" fmla="*/ 3065276 h 6528034"/>
              <a:gd name="connsiteX91" fmla="*/ 1277 w 6096000"/>
              <a:gd name="connsiteY91" fmla="*/ 3065275 h 6528034"/>
              <a:gd name="connsiteX92" fmla="*/ 1277 w 6096000"/>
              <a:gd name="connsiteY92" fmla="*/ 2686371 h 6528034"/>
              <a:gd name="connsiteX93" fmla="*/ 2 w 6096000"/>
              <a:gd name="connsiteY93" fmla="*/ 2674072 h 6528034"/>
              <a:gd name="connsiteX94" fmla="*/ 70 w 6096000"/>
              <a:gd name="connsiteY94" fmla="*/ 2357496 h 6528034"/>
              <a:gd name="connsiteX95" fmla="*/ 75 w 6096000"/>
              <a:gd name="connsiteY95" fmla="*/ 2333023 h 6528034"/>
              <a:gd name="connsiteX96" fmla="*/ 0 w 6096000"/>
              <a:gd name="connsiteY96" fmla="*/ 2332286 h 6528034"/>
              <a:gd name="connsiteX97" fmla="*/ 102 w 6096000"/>
              <a:gd name="connsiteY97" fmla="*/ 1859734 h 6528034"/>
              <a:gd name="connsiteX98" fmla="*/ 790 w 6096000"/>
              <a:gd name="connsiteY98" fmla="*/ 1859730 h 6528034"/>
              <a:gd name="connsiteX99" fmla="*/ 1277 w 6096000"/>
              <a:gd name="connsiteY99" fmla="*/ 1859730 h 6528034"/>
              <a:gd name="connsiteX100" fmla="*/ 1277 w 6096000"/>
              <a:gd name="connsiteY100" fmla="*/ 734186 h 6528034"/>
              <a:gd name="connsiteX101" fmla="*/ 1278 w 6096000"/>
              <a:gd name="connsiteY101" fmla="*/ 734186 h 6528034"/>
              <a:gd name="connsiteX102" fmla="*/ 1278 w 6096000"/>
              <a:gd name="connsiteY102" fmla="*/ 1 h 652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6096000" h="6528034">
                <a:moveTo>
                  <a:pt x="498361" y="0"/>
                </a:moveTo>
                <a:lnTo>
                  <a:pt x="2956322" y="0"/>
                </a:lnTo>
                <a:lnTo>
                  <a:pt x="2956322" y="1"/>
                </a:lnTo>
                <a:lnTo>
                  <a:pt x="3133467" y="1"/>
                </a:lnTo>
                <a:lnTo>
                  <a:pt x="5254219" y="1"/>
                </a:lnTo>
                <a:lnTo>
                  <a:pt x="5254219" y="2612"/>
                </a:lnTo>
                <a:lnTo>
                  <a:pt x="5334022" y="2594"/>
                </a:lnTo>
                <a:cubicBezTo>
                  <a:pt x="5421676" y="3113"/>
                  <a:pt x="5505980" y="38567"/>
                  <a:pt x="5567834" y="100419"/>
                </a:cubicBezTo>
                <a:cubicBezTo>
                  <a:pt x="5567834" y="100419"/>
                  <a:pt x="5567834" y="100419"/>
                  <a:pt x="5998174" y="530758"/>
                </a:cubicBezTo>
                <a:cubicBezTo>
                  <a:pt x="6045058" y="577643"/>
                  <a:pt x="6076350" y="636415"/>
                  <a:pt x="6089287" y="699850"/>
                </a:cubicBezTo>
                <a:lnTo>
                  <a:pt x="6092847" y="734186"/>
                </a:lnTo>
                <a:lnTo>
                  <a:pt x="6094720" y="734187"/>
                </a:lnTo>
                <a:lnTo>
                  <a:pt x="6094720" y="752239"/>
                </a:lnTo>
                <a:lnTo>
                  <a:pt x="6096000" y="764572"/>
                </a:lnTo>
                <a:cubicBezTo>
                  <a:pt x="6096000" y="764572"/>
                  <a:pt x="6096000" y="764572"/>
                  <a:pt x="6095930" y="1081147"/>
                </a:cubicBezTo>
                <a:lnTo>
                  <a:pt x="6095926" y="1105640"/>
                </a:lnTo>
                <a:lnTo>
                  <a:pt x="6096000" y="1106355"/>
                </a:lnTo>
                <a:cubicBezTo>
                  <a:pt x="6096000" y="1106355"/>
                  <a:pt x="6096000" y="1106355"/>
                  <a:pt x="6095896" y="1578910"/>
                </a:cubicBezTo>
                <a:cubicBezTo>
                  <a:pt x="6095896" y="1578910"/>
                  <a:pt x="6095896" y="1578910"/>
                  <a:pt x="6095210" y="1578912"/>
                </a:cubicBezTo>
                <a:lnTo>
                  <a:pt x="6094720" y="1578914"/>
                </a:lnTo>
                <a:lnTo>
                  <a:pt x="6094720" y="1676436"/>
                </a:lnTo>
                <a:lnTo>
                  <a:pt x="6094720" y="1939724"/>
                </a:lnTo>
                <a:lnTo>
                  <a:pt x="6094720" y="1957771"/>
                </a:lnTo>
                <a:lnTo>
                  <a:pt x="6096000" y="1970105"/>
                </a:lnTo>
                <a:cubicBezTo>
                  <a:pt x="6096000" y="1970105"/>
                  <a:pt x="6096000" y="1970105"/>
                  <a:pt x="6095930" y="2286686"/>
                </a:cubicBezTo>
                <a:lnTo>
                  <a:pt x="6095926" y="2311171"/>
                </a:lnTo>
                <a:lnTo>
                  <a:pt x="6095999" y="2311888"/>
                </a:lnTo>
                <a:cubicBezTo>
                  <a:pt x="6095999" y="2311888"/>
                  <a:pt x="6095999" y="2311888"/>
                  <a:pt x="6095896" y="2784449"/>
                </a:cubicBezTo>
                <a:cubicBezTo>
                  <a:pt x="6095896" y="2784449"/>
                  <a:pt x="6095896" y="2784449"/>
                  <a:pt x="6095210" y="2784450"/>
                </a:cubicBezTo>
                <a:lnTo>
                  <a:pt x="6094720" y="2784451"/>
                </a:lnTo>
                <a:lnTo>
                  <a:pt x="6094720" y="2881981"/>
                </a:lnTo>
                <a:lnTo>
                  <a:pt x="6094720" y="3094524"/>
                </a:lnTo>
                <a:lnTo>
                  <a:pt x="6094720" y="3223754"/>
                </a:lnTo>
                <a:lnTo>
                  <a:pt x="6094720" y="3316620"/>
                </a:lnTo>
                <a:lnTo>
                  <a:pt x="6094720" y="3436291"/>
                </a:lnTo>
                <a:lnTo>
                  <a:pt x="6094720" y="3524159"/>
                </a:lnTo>
                <a:lnTo>
                  <a:pt x="6094720" y="3612822"/>
                </a:lnTo>
                <a:lnTo>
                  <a:pt x="6096000" y="3625155"/>
                </a:lnTo>
                <a:cubicBezTo>
                  <a:pt x="6096000" y="3625155"/>
                  <a:pt x="6096000" y="3625155"/>
                  <a:pt x="6095930" y="3941730"/>
                </a:cubicBezTo>
                <a:lnTo>
                  <a:pt x="6095926" y="3966224"/>
                </a:lnTo>
                <a:lnTo>
                  <a:pt x="6096000" y="3966938"/>
                </a:lnTo>
                <a:cubicBezTo>
                  <a:pt x="6096000" y="3966938"/>
                  <a:pt x="6096000" y="3966938"/>
                  <a:pt x="6095995" y="3991859"/>
                </a:cubicBezTo>
                <a:lnTo>
                  <a:pt x="6095993" y="4001046"/>
                </a:lnTo>
                <a:lnTo>
                  <a:pt x="6095999" y="4001118"/>
                </a:lnTo>
                <a:cubicBezTo>
                  <a:pt x="6095999" y="4001118"/>
                  <a:pt x="6095999" y="4001118"/>
                  <a:pt x="6095930" y="4317694"/>
                </a:cubicBezTo>
                <a:lnTo>
                  <a:pt x="6095926" y="4342186"/>
                </a:lnTo>
                <a:lnTo>
                  <a:pt x="6096000" y="4342902"/>
                </a:lnTo>
                <a:cubicBezTo>
                  <a:pt x="6096000" y="4342902"/>
                  <a:pt x="6096000" y="4342902"/>
                  <a:pt x="6095896" y="4815458"/>
                </a:cubicBezTo>
                <a:cubicBezTo>
                  <a:pt x="6095896" y="4815458"/>
                  <a:pt x="6095896" y="4815458"/>
                  <a:pt x="6095209" y="4815459"/>
                </a:cubicBezTo>
                <a:lnTo>
                  <a:pt x="6094720" y="4815459"/>
                </a:lnTo>
                <a:lnTo>
                  <a:pt x="6094720" y="4901060"/>
                </a:lnTo>
                <a:lnTo>
                  <a:pt x="6094720" y="5109958"/>
                </a:lnTo>
                <a:lnTo>
                  <a:pt x="6094720" y="5202832"/>
                </a:lnTo>
                <a:lnTo>
                  <a:pt x="6094720" y="5242844"/>
                </a:lnTo>
                <a:lnTo>
                  <a:pt x="6094720" y="5544616"/>
                </a:lnTo>
                <a:lnTo>
                  <a:pt x="6094720" y="5884479"/>
                </a:lnTo>
                <a:lnTo>
                  <a:pt x="6094720" y="6186250"/>
                </a:lnTo>
                <a:lnTo>
                  <a:pt x="6094720" y="6226262"/>
                </a:lnTo>
                <a:lnTo>
                  <a:pt x="6094720" y="6528034"/>
                </a:lnTo>
                <a:lnTo>
                  <a:pt x="5774783" y="6528034"/>
                </a:lnTo>
                <a:lnTo>
                  <a:pt x="5597638" y="6528034"/>
                </a:lnTo>
                <a:lnTo>
                  <a:pt x="3636760" y="6528034"/>
                </a:lnTo>
                <a:lnTo>
                  <a:pt x="3459615" y="6528034"/>
                </a:lnTo>
                <a:lnTo>
                  <a:pt x="3139677" y="6528034"/>
                </a:lnTo>
                <a:lnTo>
                  <a:pt x="3139677" y="6528032"/>
                </a:lnTo>
                <a:lnTo>
                  <a:pt x="2962532" y="6528032"/>
                </a:lnTo>
                <a:lnTo>
                  <a:pt x="841782" y="6528032"/>
                </a:lnTo>
                <a:lnTo>
                  <a:pt x="841782" y="6527773"/>
                </a:lnTo>
                <a:lnTo>
                  <a:pt x="761978" y="6527791"/>
                </a:lnTo>
                <a:cubicBezTo>
                  <a:pt x="674323" y="6527273"/>
                  <a:pt x="590019" y="6491819"/>
                  <a:pt x="528166" y="6429965"/>
                </a:cubicBezTo>
                <a:cubicBezTo>
                  <a:pt x="528166" y="6429965"/>
                  <a:pt x="528166" y="6429965"/>
                  <a:pt x="97826" y="5999627"/>
                </a:cubicBezTo>
                <a:cubicBezTo>
                  <a:pt x="35315" y="5937116"/>
                  <a:pt x="519" y="5853470"/>
                  <a:pt x="2" y="5765813"/>
                </a:cubicBezTo>
                <a:cubicBezTo>
                  <a:pt x="2" y="5765813"/>
                  <a:pt x="2" y="5765813"/>
                  <a:pt x="57" y="5512346"/>
                </a:cubicBezTo>
                <a:lnTo>
                  <a:pt x="67" y="5464670"/>
                </a:lnTo>
                <a:lnTo>
                  <a:pt x="2" y="5464039"/>
                </a:lnTo>
                <a:cubicBezTo>
                  <a:pt x="2" y="5464039"/>
                  <a:pt x="2" y="5464039"/>
                  <a:pt x="7" y="5439119"/>
                </a:cubicBezTo>
                <a:lnTo>
                  <a:pt x="10" y="5424128"/>
                </a:lnTo>
                <a:lnTo>
                  <a:pt x="0" y="5424029"/>
                </a:lnTo>
                <a:cubicBezTo>
                  <a:pt x="0" y="5424029"/>
                  <a:pt x="0" y="5424029"/>
                  <a:pt x="55" y="5170563"/>
                </a:cubicBezTo>
                <a:lnTo>
                  <a:pt x="66" y="5122889"/>
                </a:lnTo>
                <a:lnTo>
                  <a:pt x="0" y="5122257"/>
                </a:lnTo>
                <a:cubicBezTo>
                  <a:pt x="0" y="5122257"/>
                  <a:pt x="0" y="5122257"/>
                  <a:pt x="103" y="4649702"/>
                </a:cubicBezTo>
                <a:cubicBezTo>
                  <a:pt x="103" y="4649702"/>
                  <a:pt x="103" y="4649702"/>
                  <a:pt x="790" y="4649701"/>
                </a:cubicBezTo>
                <a:lnTo>
                  <a:pt x="1276" y="4649700"/>
                </a:lnTo>
                <a:lnTo>
                  <a:pt x="1277" y="3891898"/>
                </a:lnTo>
                <a:lnTo>
                  <a:pt x="1" y="3879598"/>
                </a:lnTo>
                <a:cubicBezTo>
                  <a:pt x="1" y="3879598"/>
                  <a:pt x="1" y="3879598"/>
                  <a:pt x="70" y="3563023"/>
                </a:cubicBezTo>
                <a:lnTo>
                  <a:pt x="76" y="3538548"/>
                </a:lnTo>
                <a:lnTo>
                  <a:pt x="0" y="3537818"/>
                </a:lnTo>
                <a:cubicBezTo>
                  <a:pt x="0" y="3537818"/>
                  <a:pt x="0" y="3537818"/>
                  <a:pt x="103" y="3065277"/>
                </a:cubicBezTo>
                <a:cubicBezTo>
                  <a:pt x="103" y="3065277"/>
                  <a:pt x="103" y="3065277"/>
                  <a:pt x="791" y="3065276"/>
                </a:cubicBezTo>
                <a:lnTo>
                  <a:pt x="1277" y="3065275"/>
                </a:lnTo>
                <a:lnTo>
                  <a:pt x="1277" y="2686371"/>
                </a:lnTo>
                <a:lnTo>
                  <a:pt x="2" y="2674072"/>
                </a:lnTo>
                <a:cubicBezTo>
                  <a:pt x="2" y="2674072"/>
                  <a:pt x="2" y="2674072"/>
                  <a:pt x="70" y="2357496"/>
                </a:cubicBezTo>
                <a:lnTo>
                  <a:pt x="75" y="2333023"/>
                </a:lnTo>
                <a:lnTo>
                  <a:pt x="0" y="2332286"/>
                </a:lnTo>
                <a:cubicBezTo>
                  <a:pt x="0" y="2332286"/>
                  <a:pt x="0" y="2332286"/>
                  <a:pt x="102" y="1859734"/>
                </a:cubicBezTo>
                <a:cubicBezTo>
                  <a:pt x="102" y="1859734"/>
                  <a:pt x="102" y="1859734"/>
                  <a:pt x="790" y="1859730"/>
                </a:cubicBezTo>
                <a:lnTo>
                  <a:pt x="1277" y="1859730"/>
                </a:lnTo>
                <a:lnTo>
                  <a:pt x="1277" y="734186"/>
                </a:lnTo>
                <a:lnTo>
                  <a:pt x="1278" y="734186"/>
                </a:lnTo>
                <a:lnTo>
                  <a:pt x="1278" y="1"/>
                </a:ln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Title 1">
            <a:extLst>
              <a:ext uri="{FF2B5EF4-FFF2-40B4-BE49-F238E27FC236}">
                <a16:creationId xmlns:a16="http://schemas.microsoft.com/office/drawing/2014/main" id="{012294CE-1368-BF63-28B5-C8EE4BCAFDFA}"/>
              </a:ext>
            </a:extLst>
          </p:cNvPr>
          <p:cNvSpPr>
            <a:spLocks noGrp="1"/>
          </p:cNvSpPr>
          <p:nvPr>
            <p:ph type="title"/>
          </p:nvPr>
        </p:nvSpPr>
        <p:spPr>
          <a:xfrm>
            <a:off x="493714" y="579438"/>
            <a:ext cx="5113896" cy="792162"/>
          </a:xfrm>
        </p:spPr>
        <p:txBody>
          <a:bodyPr anchor="t">
            <a:noAutofit/>
          </a:bodyPr>
          <a:lstStyle>
            <a:lvl1pPr>
              <a:lnSpc>
                <a:spcPct val="85000"/>
              </a:lnSpc>
              <a:defRPr>
                <a:solidFill>
                  <a:schemeClr val="bg1"/>
                </a:solidFill>
              </a:defRPr>
            </a:lvl1pPr>
          </a:lstStyle>
          <a:p>
            <a:r>
              <a:rPr lang="en-US"/>
              <a:t>Click to edit Master title style</a:t>
            </a:r>
          </a:p>
        </p:txBody>
      </p:sp>
      <p:sp>
        <p:nvSpPr>
          <p:cNvPr id="11" name="Text Placeholder 12">
            <a:extLst>
              <a:ext uri="{FF2B5EF4-FFF2-40B4-BE49-F238E27FC236}">
                <a16:creationId xmlns:a16="http://schemas.microsoft.com/office/drawing/2014/main" id="{7830E2A7-C8EE-61A4-A592-4A9C6E3D0B55}"/>
              </a:ext>
            </a:extLst>
          </p:cNvPr>
          <p:cNvSpPr>
            <a:spLocks noGrp="1"/>
          </p:cNvSpPr>
          <p:nvPr>
            <p:ph type="body" sz="quarter" idx="14"/>
          </p:nvPr>
        </p:nvSpPr>
        <p:spPr>
          <a:xfrm>
            <a:off x="6572250" y="1382889"/>
            <a:ext cx="5126366" cy="336374"/>
          </a:xfrm>
        </p:spPr>
        <p:txBody>
          <a:bodyPr anchor="t">
            <a:noAutofit/>
          </a:bodyPr>
          <a:lstStyle>
            <a:lvl1pPr marL="0" indent="0">
              <a:buNone/>
              <a:defRPr sz="2100">
                <a:solidFill>
                  <a:schemeClr val="tx1"/>
                </a:solidFill>
                <a:latin typeface="ES Build "/>
              </a:defRPr>
            </a:lvl1pPr>
          </a:lstStyle>
          <a:p>
            <a:pPr lvl="0"/>
            <a:r>
              <a:rPr lang="en-US"/>
              <a:t>Click to edit Master text styles</a:t>
            </a:r>
          </a:p>
        </p:txBody>
      </p:sp>
      <p:sp>
        <p:nvSpPr>
          <p:cNvPr id="14" name="Subtitle 2">
            <a:extLst>
              <a:ext uri="{FF2B5EF4-FFF2-40B4-BE49-F238E27FC236}">
                <a16:creationId xmlns:a16="http://schemas.microsoft.com/office/drawing/2014/main" id="{35BE395E-9385-3B06-C680-B8E8D2310E82}"/>
              </a:ext>
            </a:extLst>
          </p:cNvPr>
          <p:cNvSpPr>
            <a:spLocks noGrp="1"/>
          </p:cNvSpPr>
          <p:nvPr>
            <p:ph type="subTitle" idx="1"/>
          </p:nvPr>
        </p:nvSpPr>
        <p:spPr>
          <a:xfrm>
            <a:off x="493714" y="1371600"/>
            <a:ext cx="5113896" cy="347663"/>
          </a:xfrm>
        </p:spPr>
        <p:txBody>
          <a:bodyPr anchor="t">
            <a:noAutofit/>
          </a:bodyPr>
          <a:lstStyle>
            <a:lvl1pPr marL="0" indent="0" algn="l">
              <a:buNone/>
              <a:defRPr sz="2100">
                <a:solidFill>
                  <a:schemeClr val="bg1"/>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Text Placeholder 11">
            <a:extLst>
              <a:ext uri="{FF2B5EF4-FFF2-40B4-BE49-F238E27FC236}">
                <a16:creationId xmlns:a16="http://schemas.microsoft.com/office/drawing/2014/main" id="{9639A052-9E04-CDDA-0ACE-A40FF9BC5EAF}"/>
              </a:ext>
            </a:extLst>
          </p:cNvPr>
          <p:cNvSpPr>
            <a:spLocks noGrp="1"/>
          </p:cNvSpPr>
          <p:nvPr>
            <p:ph type="body" sz="quarter" idx="16"/>
          </p:nvPr>
        </p:nvSpPr>
        <p:spPr>
          <a:xfrm>
            <a:off x="6572250" y="579439"/>
            <a:ext cx="5126365" cy="792162"/>
          </a:xfrm>
        </p:spPr>
        <p:txBody>
          <a:bodyPr anchor="t">
            <a:noAutofit/>
          </a:bodyPr>
          <a:lstStyle>
            <a:lvl1pPr marL="0" indent="0">
              <a:lnSpc>
                <a:spcPct val="85000"/>
              </a:lnSpc>
              <a:buNone/>
              <a:defRPr sz="3400">
                <a:solidFill>
                  <a:schemeClr val="tx1"/>
                </a:solidFill>
                <a:latin typeface="+mn-lt"/>
              </a:defRPr>
            </a:lvl1pPr>
          </a:lstStyle>
          <a:p>
            <a:pPr lvl="0"/>
            <a:r>
              <a:rPr lang="en-US"/>
              <a:t>Click to edit Master text styles</a:t>
            </a:r>
          </a:p>
        </p:txBody>
      </p:sp>
      <p:sp>
        <p:nvSpPr>
          <p:cNvPr id="16" name="Footer Placeholder 66">
            <a:extLst>
              <a:ext uri="{FF2B5EF4-FFF2-40B4-BE49-F238E27FC236}">
                <a16:creationId xmlns:a16="http://schemas.microsoft.com/office/drawing/2014/main" id="{A64D20B8-8B2F-AAA6-BEBC-31122038D8DB}"/>
              </a:ext>
            </a:extLst>
          </p:cNvPr>
          <p:cNvSpPr>
            <a:spLocks noGrp="1"/>
          </p:cNvSpPr>
          <p:nvPr>
            <p:ph type="ftr" sz="quarter" idx="3"/>
          </p:nvPr>
        </p:nvSpPr>
        <p:spPr>
          <a:xfrm>
            <a:off x="493290" y="6405456"/>
            <a:ext cx="5124874" cy="107722"/>
          </a:xfrm>
          <a:prstGeom prst="rect">
            <a:avLst/>
          </a:prstGeom>
        </p:spPr>
        <p:txBody>
          <a:bodyPr vert="horz" lIns="0" tIns="0" rIns="0" bIns="0" rtlCol="0" anchor="b"/>
          <a:lstStyle>
            <a:lvl1pPr algn="l">
              <a:defRPr sz="700">
                <a:solidFill>
                  <a:schemeClr val="bg1"/>
                </a:solidFill>
              </a:defRPr>
            </a:lvl1pPr>
          </a:lstStyle>
          <a:p>
            <a:endParaRPr lang="en-US"/>
          </a:p>
        </p:txBody>
      </p:sp>
      <p:sp>
        <p:nvSpPr>
          <p:cNvPr id="5" name="Content Placeholder 18">
            <a:extLst>
              <a:ext uri="{FF2B5EF4-FFF2-40B4-BE49-F238E27FC236}">
                <a16:creationId xmlns:a16="http://schemas.microsoft.com/office/drawing/2014/main" id="{6735DCC0-BDFA-E189-82A7-CEDFC1F7AF1A}"/>
              </a:ext>
            </a:extLst>
          </p:cNvPr>
          <p:cNvSpPr>
            <a:spLocks noGrp="1"/>
          </p:cNvSpPr>
          <p:nvPr>
            <p:ph sz="quarter" idx="10"/>
          </p:nvPr>
        </p:nvSpPr>
        <p:spPr>
          <a:xfrm>
            <a:off x="493288" y="2397125"/>
            <a:ext cx="5124876" cy="3771900"/>
          </a:xfrm>
        </p:spPr>
        <p:txBody>
          <a:bodyPr/>
          <a:lstStyle>
            <a:lvl1pPr>
              <a:defRPr>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18">
            <a:extLst>
              <a:ext uri="{FF2B5EF4-FFF2-40B4-BE49-F238E27FC236}">
                <a16:creationId xmlns:a16="http://schemas.microsoft.com/office/drawing/2014/main" id="{9B7562FB-A9B5-0AA2-8AF5-9DCE7D26D1E7}"/>
              </a:ext>
            </a:extLst>
          </p:cNvPr>
          <p:cNvSpPr>
            <a:spLocks noGrp="1"/>
          </p:cNvSpPr>
          <p:nvPr>
            <p:ph sz="quarter" idx="11"/>
          </p:nvPr>
        </p:nvSpPr>
        <p:spPr>
          <a:xfrm>
            <a:off x="6574140" y="2394727"/>
            <a:ext cx="5124475" cy="3771900"/>
          </a:xfrm>
        </p:spPr>
        <p:txBody>
          <a:bodyPr/>
          <a:lstStyle>
            <a:lvl1pPr>
              <a:defRPr>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a:solidFill>
                  <a:schemeClr val="tx1"/>
                </a:solidFill>
              </a:defRPr>
            </a:lvl6pPr>
            <a:lvl7pPr>
              <a:defRPr>
                <a:solidFill>
                  <a:schemeClr val="tx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Box 1">
            <a:extLst>
              <a:ext uri="{FF2B5EF4-FFF2-40B4-BE49-F238E27FC236}">
                <a16:creationId xmlns:a16="http://schemas.microsoft.com/office/drawing/2014/main" id="{3F47BEF9-D57D-3F07-2F39-7F5470506193}"/>
              </a:ext>
            </a:extLst>
          </p:cNvPr>
          <p:cNvSpPr txBox="1"/>
          <p:nvPr userDrawn="1"/>
        </p:nvSpPr>
        <p:spPr>
          <a:xfrm>
            <a:off x="493288" y="6562481"/>
            <a:ext cx="5293842" cy="107722"/>
          </a:xfrm>
          <a:prstGeom prst="rect">
            <a:avLst/>
          </a:prstGeom>
          <a:noFill/>
        </p:spPr>
        <p:txBody>
          <a:bodyPr wrap="square" lIns="0" tIns="0" rIns="0" bIns="0">
            <a:spAutoFit/>
          </a:bodyPr>
          <a:lstStyle/>
          <a:p>
            <a:r>
              <a:rPr lang="en-US" sz="700">
                <a:solidFill>
                  <a:schemeClr val="bg1"/>
                </a:solidFill>
              </a:rPr>
              <a:t>© 2024 Veeam Software. Confidential information. All rights reserved. All trademarks are the property of their respective owners. </a:t>
            </a:r>
          </a:p>
        </p:txBody>
      </p:sp>
    </p:spTree>
    <p:extLst>
      <p:ext uri="{BB962C8B-B14F-4D97-AF65-F5344CB8AC3E}">
        <p14:creationId xmlns:p14="http://schemas.microsoft.com/office/powerpoint/2010/main" val="307289873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mparison Casia Right">
    <p:spTree>
      <p:nvGrpSpPr>
        <p:cNvPr id="1" name=""/>
        <p:cNvGrpSpPr/>
        <p:nvPr/>
      </p:nvGrpSpPr>
      <p:grpSpPr>
        <a:xfrm>
          <a:off x="0" y="0"/>
          <a:ext cx="0" cy="0"/>
          <a:chOff x="0" y="0"/>
          <a:chExt cx="0" cy="0"/>
        </a:xfrm>
      </p:grpSpPr>
      <p:sp>
        <p:nvSpPr>
          <p:cNvPr id="311" name="Freeform: Shape 310">
            <a:extLst>
              <a:ext uri="{FF2B5EF4-FFF2-40B4-BE49-F238E27FC236}">
                <a16:creationId xmlns:a16="http://schemas.microsoft.com/office/drawing/2014/main" id="{FA3D5559-630B-68EB-88DB-BCC345505905}"/>
              </a:ext>
            </a:extLst>
          </p:cNvPr>
          <p:cNvSpPr/>
          <p:nvPr/>
        </p:nvSpPr>
        <p:spPr>
          <a:xfrm>
            <a:off x="6096000" y="329967"/>
            <a:ext cx="6096000" cy="6528034"/>
          </a:xfrm>
          <a:custGeom>
            <a:avLst/>
            <a:gdLst>
              <a:gd name="connsiteX0" fmla="*/ 498361 w 6096000"/>
              <a:gd name="connsiteY0" fmla="*/ 0 h 6528034"/>
              <a:gd name="connsiteX1" fmla="*/ 2956322 w 6096000"/>
              <a:gd name="connsiteY1" fmla="*/ 0 h 6528034"/>
              <a:gd name="connsiteX2" fmla="*/ 2956322 w 6096000"/>
              <a:gd name="connsiteY2" fmla="*/ 1 h 6528034"/>
              <a:gd name="connsiteX3" fmla="*/ 3133467 w 6096000"/>
              <a:gd name="connsiteY3" fmla="*/ 1 h 6528034"/>
              <a:gd name="connsiteX4" fmla="*/ 5254219 w 6096000"/>
              <a:gd name="connsiteY4" fmla="*/ 1 h 6528034"/>
              <a:gd name="connsiteX5" fmla="*/ 5254219 w 6096000"/>
              <a:gd name="connsiteY5" fmla="*/ 2612 h 6528034"/>
              <a:gd name="connsiteX6" fmla="*/ 5334022 w 6096000"/>
              <a:gd name="connsiteY6" fmla="*/ 2594 h 6528034"/>
              <a:gd name="connsiteX7" fmla="*/ 5567834 w 6096000"/>
              <a:gd name="connsiteY7" fmla="*/ 100419 h 6528034"/>
              <a:gd name="connsiteX8" fmla="*/ 5998174 w 6096000"/>
              <a:gd name="connsiteY8" fmla="*/ 530758 h 6528034"/>
              <a:gd name="connsiteX9" fmla="*/ 6089287 w 6096000"/>
              <a:gd name="connsiteY9" fmla="*/ 699850 h 6528034"/>
              <a:gd name="connsiteX10" fmla="*/ 6092847 w 6096000"/>
              <a:gd name="connsiteY10" fmla="*/ 734186 h 6528034"/>
              <a:gd name="connsiteX11" fmla="*/ 6094720 w 6096000"/>
              <a:gd name="connsiteY11" fmla="*/ 734187 h 6528034"/>
              <a:gd name="connsiteX12" fmla="*/ 6094720 w 6096000"/>
              <a:gd name="connsiteY12" fmla="*/ 752239 h 6528034"/>
              <a:gd name="connsiteX13" fmla="*/ 6096000 w 6096000"/>
              <a:gd name="connsiteY13" fmla="*/ 764572 h 6528034"/>
              <a:gd name="connsiteX14" fmla="*/ 6095930 w 6096000"/>
              <a:gd name="connsiteY14" fmla="*/ 1081147 h 6528034"/>
              <a:gd name="connsiteX15" fmla="*/ 6095926 w 6096000"/>
              <a:gd name="connsiteY15" fmla="*/ 1105640 h 6528034"/>
              <a:gd name="connsiteX16" fmla="*/ 6096000 w 6096000"/>
              <a:gd name="connsiteY16" fmla="*/ 1106355 h 6528034"/>
              <a:gd name="connsiteX17" fmla="*/ 6095896 w 6096000"/>
              <a:gd name="connsiteY17" fmla="*/ 1578910 h 6528034"/>
              <a:gd name="connsiteX18" fmla="*/ 6095210 w 6096000"/>
              <a:gd name="connsiteY18" fmla="*/ 1578912 h 6528034"/>
              <a:gd name="connsiteX19" fmla="*/ 6094720 w 6096000"/>
              <a:gd name="connsiteY19" fmla="*/ 1578914 h 6528034"/>
              <a:gd name="connsiteX20" fmla="*/ 6094720 w 6096000"/>
              <a:gd name="connsiteY20" fmla="*/ 1676436 h 6528034"/>
              <a:gd name="connsiteX21" fmla="*/ 6094720 w 6096000"/>
              <a:gd name="connsiteY21" fmla="*/ 1939724 h 6528034"/>
              <a:gd name="connsiteX22" fmla="*/ 6094720 w 6096000"/>
              <a:gd name="connsiteY22" fmla="*/ 1957771 h 6528034"/>
              <a:gd name="connsiteX23" fmla="*/ 6096000 w 6096000"/>
              <a:gd name="connsiteY23" fmla="*/ 1970105 h 6528034"/>
              <a:gd name="connsiteX24" fmla="*/ 6095930 w 6096000"/>
              <a:gd name="connsiteY24" fmla="*/ 2286686 h 6528034"/>
              <a:gd name="connsiteX25" fmla="*/ 6095926 w 6096000"/>
              <a:gd name="connsiteY25" fmla="*/ 2311171 h 6528034"/>
              <a:gd name="connsiteX26" fmla="*/ 6095999 w 6096000"/>
              <a:gd name="connsiteY26" fmla="*/ 2311888 h 6528034"/>
              <a:gd name="connsiteX27" fmla="*/ 6095896 w 6096000"/>
              <a:gd name="connsiteY27" fmla="*/ 2784449 h 6528034"/>
              <a:gd name="connsiteX28" fmla="*/ 6095210 w 6096000"/>
              <a:gd name="connsiteY28" fmla="*/ 2784450 h 6528034"/>
              <a:gd name="connsiteX29" fmla="*/ 6094720 w 6096000"/>
              <a:gd name="connsiteY29" fmla="*/ 2784451 h 6528034"/>
              <a:gd name="connsiteX30" fmla="*/ 6094720 w 6096000"/>
              <a:gd name="connsiteY30" fmla="*/ 2881981 h 6528034"/>
              <a:gd name="connsiteX31" fmla="*/ 6094720 w 6096000"/>
              <a:gd name="connsiteY31" fmla="*/ 3094524 h 6528034"/>
              <a:gd name="connsiteX32" fmla="*/ 6094720 w 6096000"/>
              <a:gd name="connsiteY32" fmla="*/ 3223754 h 6528034"/>
              <a:gd name="connsiteX33" fmla="*/ 6094720 w 6096000"/>
              <a:gd name="connsiteY33" fmla="*/ 3316620 h 6528034"/>
              <a:gd name="connsiteX34" fmla="*/ 6094720 w 6096000"/>
              <a:gd name="connsiteY34" fmla="*/ 3436291 h 6528034"/>
              <a:gd name="connsiteX35" fmla="*/ 6094720 w 6096000"/>
              <a:gd name="connsiteY35" fmla="*/ 3524159 h 6528034"/>
              <a:gd name="connsiteX36" fmla="*/ 6094720 w 6096000"/>
              <a:gd name="connsiteY36" fmla="*/ 3612822 h 6528034"/>
              <a:gd name="connsiteX37" fmla="*/ 6096000 w 6096000"/>
              <a:gd name="connsiteY37" fmla="*/ 3625155 h 6528034"/>
              <a:gd name="connsiteX38" fmla="*/ 6095930 w 6096000"/>
              <a:gd name="connsiteY38" fmla="*/ 3941730 h 6528034"/>
              <a:gd name="connsiteX39" fmla="*/ 6095926 w 6096000"/>
              <a:gd name="connsiteY39" fmla="*/ 3966224 h 6528034"/>
              <a:gd name="connsiteX40" fmla="*/ 6096000 w 6096000"/>
              <a:gd name="connsiteY40" fmla="*/ 3966938 h 6528034"/>
              <a:gd name="connsiteX41" fmla="*/ 6095995 w 6096000"/>
              <a:gd name="connsiteY41" fmla="*/ 3991859 h 6528034"/>
              <a:gd name="connsiteX42" fmla="*/ 6095993 w 6096000"/>
              <a:gd name="connsiteY42" fmla="*/ 4001046 h 6528034"/>
              <a:gd name="connsiteX43" fmla="*/ 6095999 w 6096000"/>
              <a:gd name="connsiteY43" fmla="*/ 4001118 h 6528034"/>
              <a:gd name="connsiteX44" fmla="*/ 6095930 w 6096000"/>
              <a:gd name="connsiteY44" fmla="*/ 4317694 h 6528034"/>
              <a:gd name="connsiteX45" fmla="*/ 6095926 w 6096000"/>
              <a:gd name="connsiteY45" fmla="*/ 4342186 h 6528034"/>
              <a:gd name="connsiteX46" fmla="*/ 6096000 w 6096000"/>
              <a:gd name="connsiteY46" fmla="*/ 4342902 h 6528034"/>
              <a:gd name="connsiteX47" fmla="*/ 6095896 w 6096000"/>
              <a:gd name="connsiteY47" fmla="*/ 4815458 h 6528034"/>
              <a:gd name="connsiteX48" fmla="*/ 6095209 w 6096000"/>
              <a:gd name="connsiteY48" fmla="*/ 4815459 h 6528034"/>
              <a:gd name="connsiteX49" fmla="*/ 6094720 w 6096000"/>
              <a:gd name="connsiteY49" fmla="*/ 4815459 h 6528034"/>
              <a:gd name="connsiteX50" fmla="*/ 6094720 w 6096000"/>
              <a:gd name="connsiteY50" fmla="*/ 4901060 h 6528034"/>
              <a:gd name="connsiteX51" fmla="*/ 6094720 w 6096000"/>
              <a:gd name="connsiteY51" fmla="*/ 5109958 h 6528034"/>
              <a:gd name="connsiteX52" fmla="*/ 6094720 w 6096000"/>
              <a:gd name="connsiteY52" fmla="*/ 5202832 h 6528034"/>
              <a:gd name="connsiteX53" fmla="*/ 6094720 w 6096000"/>
              <a:gd name="connsiteY53" fmla="*/ 5242844 h 6528034"/>
              <a:gd name="connsiteX54" fmla="*/ 6094720 w 6096000"/>
              <a:gd name="connsiteY54" fmla="*/ 5544616 h 6528034"/>
              <a:gd name="connsiteX55" fmla="*/ 6094720 w 6096000"/>
              <a:gd name="connsiteY55" fmla="*/ 5884479 h 6528034"/>
              <a:gd name="connsiteX56" fmla="*/ 6094720 w 6096000"/>
              <a:gd name="connsiteY56" fmla="*/ 6186250 h 6528034"/>
              <a:gd name="connsiteX57" fmla="*/ 6094720 w 6096000"/>
              <a:gd name="connsiteY57" fmla="*/ 6226262 h 6528034"/>
              <a:gd name="connsiteX58" fmla="*/ 6094720 w 6096000"/>
              <a:gd name="connsiteY58" fmla="*/ 6528034 h 6528034"/>
              <a:gd name="connsiteX59" fmla="*/ 5774783 w 6096000"/>
              <a:gd name="connsiteY59" fmla="*/ 6528034 h 6528034"/>
              <a:gd name="connsiteX60" fmla="*/ 5597638 w 6096000"/>
              <a:gd name="connsiteY60" fmla="*/ 6528034 h 6528034"/>
              <a:gd name="connsiteX61" fmla="*/ 3636760 w 6096000"/>
              <a:gd name="connsiteY61" fmla="*/ 6528034 h 6528034"/>
              <a:gd name="connsiteX62" fmla="*/ 3459615 w 6096000"/>
              <a:gd name="connsiteY62" fmla="*/ 6528034 h 6528034"/>
              <a:gd name="connsiteX63" fmla="*/ 3139677 w 6096000"/>
              <a:gd name="connsiteY63" fmla="*/ 6528034 h 6528034"/>
              <a:gd name="connsiteX64" fmla="*/ 3139677 w 6096000"/>
              <a:gd name="connsiteY64" fmla="*/ 6528032 h 6528034"/>
              <a:gd name="connsiteX65" fmla="*/ 2962532 w 6096000"/>
              <a:gd name="connsiteY65" fmla="*/ 6528032 h 6528034"/>
              <a:gd name="connsiteX66" fmla="*/ 841782 w 6096000"/>
              <a:gd name="connsiteY66" fmla="*/ 6528032 h 6528034"/>
              <a:gd name="connsiteX67" fmla="*/ 841782 w 6096000"/>
              <a:gd name="connsiteY67" fmla="*/ 6527773 h 6528034"/>
              <a:gd name="connsiteX68" fmla="*/ 761978 w 6096000"/>
              <a:gd name="connsiteY68" fmla="*/ 6527791 h 6528034"/>
              <a:gd name="connsiteX69" fmla="*/ 528166 w 6096000"/>
              <a:gd name="connsiteY69" fmla="*/ 6429965 h 6528034"/>
              <a:gd name="connsiteX70" fmla="*/ 97826 w 6096000"/>
              <a:gd name="connsiteY70" fmla="*/ 5999627 h 6528034"/>
              <a:gd name="connsiteX71" fmla="*/ 2 w 6096000"/>
              <a:gd name="connsiteY71" fmla="*/ 5765813 h 6528034"/>
              <a:gd name="connsiteX72" fmla="*/ 57 w 6096000"/>
              <a:gd name="connsiteY72" fmla="*/ 5512346 h 6528034"/>
              <a:gd name="connsiteX73" fmla="*/ 67 w 6096000"/>
              <a:gd name="connsiteY73" fmla="*/ 5464670 h 6528034"/>
              <a:gd name="connsiteX74" fmla="*/ 2 w 6096000"/>
              <a:gd name="connsiteY74" fmla="*/ 5464039 h 6528034"/>
              <a:gd name="connsiteX75" fmla="*/ 7 w 6096000"/>
              <a:gd name="connsiteY75" fmla="*/ 5439119 h 6528034"/>
              <a:gd name="connsiteX76" fmla="*/ 10 w 6096000"/>
              <a:gd name="connsiteY76" fmla="*/ 5424128 h 6528034"/>
              <a:gd name="connsiteX77" fmla="*/ 0 w 6096000"/>
              <a:gd name="connsiteY77" fmla="*/ 5424029 h 6528034"/>
              <a:gd name="connsiteX78" fmla="*/ 55 w 6096000"/>
              <a:gd name="connsiteY78" fmla="*/ 5170563 h 6528034"/>
              <a:gd name="connsiteX79" fmla="*/ 66 w 6096000"/>
              <a:gd name="connsiteY79" fmla="*/ 5122889 h 6528034"/>
              <a:gd name="connsiteX80" fmla="*/ 0 w 6096000"/>
              <a:gd name="connsiteY80" fmla="*/ 5122257 h 6528034"/>
              <a:gd name="connsiteX81" fmla="*/ 103 w 6096000"/>
              <a:gd name="connsiteY81" fmla="*/ 4649702 h 6528034"/>
              <a:gd name="connsiteX82" fmla="*/ 790 w 6096000"/>
              <a:gd name="connsiteY82" fmla="*/ 4649701 h 6528034"/>
              <a:gd name="connsiteX83" fmla="*/ 1276 w 6096000"/>
              <a:gd name="connsiteY83" fmla="*/ 4649700 h 6528034"/>
              <a:gd name="connsiteX84" fmla="*/ 1277 w 6096000"/>
              <a:gd name="connsiteY84" fmla="*/ 3891898 h 6528034"/>
              <a:gd name="connsiteX85" fmla="*/ 1 w 6096000"/>
              <a:gd name="connsiteY85" fmla="*/ 3879598 h 6528034"/>
              <a:gd name="connsiteX86" fmla="*/ 70 w 6096000"/>
              <a:gd name="connsiteY86" fmla="*/ 3563023 h 6528034"/>
              <a:gd name="connsiteX87" fmla="*/ 76 w 6096000"/>
              <a:gd name="connsiteY87" fmla="*/ 3538548 h 6528034"/>
              <a:gd name="connsiteX88" fmla="*/ 0 w 6096000"/>
              <a:gd name="connsiteY88" fmla="*/ 3537818 h 6528034"/>
              <a:gd name="connsiteX89" fmla="*/ 103 w 6096000"/>
              <a:gd name="connsiteY89" fmla="*/ 3065277 h 6528034"/>
              <a:gd name="connsiteX90" fmla="*/ 791 w 6096000"/>
              <a:gd name="connsiteY90" fmla="*/ 3065276 h 6528034"/>
              <a:gd name="connsiteX91" fmla="*/ 1277 w 6096000"/>
              <a:gd name="connsiteY91" fmla="*/ 3065275 h 6528034"/>
              <a:gd name="connsiteX92" fmla="*/ 1277 w 6096000"/>
              <a:gd name="connsiteY92" fmla="*/ 2686371 h 6528034"/>
              <a:gd name="connsiteX93" fmla="*/ 2 w 6096000"/>
              <a:gd name="connsiteY93" fmla="*/ 2674072 h 6528034"/>
              <a:gd name="connsiteX94" fmla="*/ 70 w 6096000"/>
              <a:gd name="connsiteY94" fmla="*/ 2357496 h 6528034"/>
              <a:gd name="connsiteX95" fmla="*/ 75 w 6096000"/>
              <a:gd name="connsiteY95" fmla="*/ 2333023 h 6528034"/>
              <a:gd name="connsiteX96" fmla="*/ 0 w 6096000"/>
              <a:gd name="connsiteY96" fmla="*/ 2332286 h 6528034"/>
              <a:gd name="connsiteX97" fmla="*/ 102 w 6096000"/>
              <a:gd name="connsiteY97" fmla="*/ 1859734 h 6528034"/>
              <a:gd name="connsiteX98" fmla="*/ 790 w 6096000"/>
              <a:gd name="connsiteY98" fmla="*/ 1859730 h 6528034"/>
              <a:gd name="connsiteX99" fmla="*/ 1277 w 6096000"/>
              <a:gd name="connsiteY99" fmla="*/ 1859730 h 6528034"/>
              <a:gd name="connsiteX100" fmla="*/ 1277 w 6096000"/>
              <a:gd name="connsiteY100" fmla="*/ 734186 h 6528034"/>
              <a:gd name="connsiteX101" fmla="*/ 1278 w 6096000"/>
              <a:gd name="connsiteY101" fmla="*/ 734186 h 6528034"/>
              <a:gd name="connsiteX102" fmla="*/ 1278 w 6096000"/>
              <a:gd name="connsiteY102" fmla="*/ 1 h 652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6096000" h="6528034">
                <a:moveTo>
                  <a:pt x="498361" y="0"/>
                </a:moveTo>
                <a:lnTo>
                  <a:pt x="2956322" y="0"/>
                </a:lnTo>
                <a:lnTo>
                  <a:pt x="2956322" y="1"/>
                </a:lnTo>
                <a:lnTo>
                  <a:pt x="3133467" y="1"/>
                </a:lnTo>
                <a:lnTo>
                  <a:pt x="5254219" y="1"/>
                </a:lnTo>
                <a:lnTo>
                  <a:pt x="5254219" y="2612"/>
                </a:lnTo>
                <a:lnTo>
                  <a:pt x="5334022" y="2594"/>
                </a:lnTo>
                <a:cubicBezTo>
                  <a:pt x="5421676" y="3113"/>
                  <a:pt x="5505980" y="38567"/>
                  <a:pt x="5567834" y="100419"/>
                </a:cubicBezTo>
                <a:cubicBezTo>
                  <a:pt x="5567834" y="100419"/>
                  <a:pt x="5567834" y="100419"/>
                  <a:pt x="5998174" y="530758"/>
                </a:cubicBezTo>
                <a:cubicBezTo>
                  <a:pt x="6045058" y="577643"/>
                  <a:pt x="6076350" y="636415"/>
                  <a:pt x="6089287" y="699850"/>
                </a:cubicBezTo>
                <a:lnTo>
                  <a:pt x="6092847" y="734186"/>
                </a:lnTo>
                <a:lnTo>
                  <a:pt x="6094720" y="734187"/>
                </a:lnTo>
                <a:lnTo>
                  <a:pt x="6094720" y="752239"/>
                </a:lnTo>
                <a:lnTo>
                  <a:pt x="6096000" y="764572"/>
                </a:lnTo>
                <a:cubicBezTo>
                  <a:pt x="6096000" y="764572"/>
                  <a:pt x="6096000" y="764572"/>
                  <a:pt x="6095930" y="1081147"/>
                </a:cubicBezTo>
                <a:lnTo>
                  <a:pt x="6095926" y="1105640"/>
                </a:lnTo>
                <a:lnTo>
                  <a:pt x="6096000" y="1106355"/>
                </a:lnTo>
                <a:cubicBezTo>
                  <a:pt x="6096000" y="1106355"/>
                  <a:pt x="6096000" y="1106355"/>
                  <a:pt x="6095896" y="1578910"/>
                </a:cubicBezTo>
                <a:cubicBezTo>
                  <a:pt x="6095896" y="1578910"/>
                  <a:pt x="6095896" y="1578910"/>
                  <a:pt x="6095210" y="1578912"/>
                </a:cubicBezTo>
                <a:lnTo>
                  <a:pt x="6094720" y="1578914"/>
                </a:lnTo>
                <a:lnTo>
                  <a:pt x="6094720" y="1676436"/>
                </a:lnTo>
                <a:lnTo>
                  <a:pt x="6094720" y="1939724"/>
                </a:lnTo>
                <a:lnTo>
                  <a:pt x="6094720" y="1957771"/>
                </a:lnTo>
                <a:lnTo>
                  <a:pt x="6096000" y="1970105"/>
                </a:lnTo>
                <a:cubicBezTo>
                  <a:pt x="6096000" y="1970105"/>
                  <a:pt x="6096000" y="1970105"/>
                  <a:pt x="6095930" y="2286686"/>
                </a:cubicBezTo>
                <a:lnTo>
                  <a:pt x="6095926" y="2311171"/>
                </a:lnTo>
                <a:lnTo>
                  <a:pt x="6095999" y="2311888"/>
                </a:lnTo>
                <a:cubicBezTo>
                  <a:pt x="6095999" y="2311888"/>
                  <a:pt x="6095999" y="2311888"/>
                  <a:pt x="6095896" y="2784449"/>
                </a:cubicBezTo>
                <a:cubicBezTo>
                  <a:pt x="6095896" y="2784449"/>
                  <a:pt x="6095896" y="2784449"/>
                  <a:pt x="6095210" y="2784450"/>
                </a:cubicBezTo>
                <a:lnTo>
                  <a:pt x="6094720" y="2784451"/>
                </a:lnTo>
                <a:lnTo>
                  <a:pt x="6094720" y="2881981"/>
                </a:lnTo>
                <a:lnTo>
                  <a:pt x="6094720" y="3094524"/>
                </a:lnTo>
                <a:lnTo>
                  <a:pt x="6094720" y="3223754"/>
                </a:lnTo>
                <a:lnTo>
                  <a:pt x="6094720" y="3316620"/>
                </a:lnTo>
                <a:lnTo>
                  <a:pt x="6094720" y="3436291"/>
                </a:lnTo>
                <a:lnTo>
                  <a:pt x="6094720" y="3524159"/>
                </a:lnTo>
                <a:lnTo>
                  <a:pt x="6094720" y="3612822"/>
                </a:lnTo>
                <a:lnTo>
                  <a:pt x="6096000" y="3625155"/>
                </a:lnTo>
                <a:cubicBezTo>
                  <a:pt x="6096000" y="3625155"/>
                  <a:pt x="6096000" y="3625155"/>
                  <a:pt x="6095930" y="3941730"/>
                </a:cubicBezTo>
                <a:lnTo>
                  <a:pt x="6095926" y="3966224"/>
                </a:lnTo>
                <a:lnTo>
                  <a:pt x="6096000" y="3966938"/>
                </a:lnTo>
                <a:cubicBezTo>
                  <a:pt x="6096000" y="3966938"/>
                  <a:pt x="6096000" y="3966938"/>
                  <a:pt x="6095995" y="3991859"/>
                </a:cubicBezTo>
                <a:lnTo>
                  <a:pt x="6095993" y="4001046"/>
                </a:lnTo>
                <a:lnTo>
                  <a:pt x="6095999" y="4001118"/>
                </a:lnTo>
                <a:cubicBezTo>
                  <a:pt x="6095999" y="4001118"/>
                  <a:pt x="6095999" y="4001118"/>
                  <a:pt x="6095930" y="4317694"/>
                </a:cubicBezTo>
                <a:lnTo>
                  <a:pt x="6095926" y="4342186"/>
                </a:lnTo>
                <a:lnTo>
                  <a:pt x="6096000" y="4342902"/>
                </a:lnTo>
                <a:cubicBezTo>
                  <a:pt x="6096000" y="4342902"/>
                  <a:pt x="6096000" y="4342902"/>
                  <a:pt x="6095896" y="4815458"/>
                </a:cubicBezTo>
                <a:cubicBezTo>
                  <a:pt x="6095896" y="4815458"/>
                  <a:pt x="6095896" y="4815458"/>
                  <a:pt x="6095209" y="4815459"/>
                </a:cubicBezTo>
                <a:lnTo>
                  <a:pt x="6094720" y="4815459"/>
                </a:lnTo>
                <a:lnTo>
                  <a:pt x="6094720" y="4901060"/>
                </a:lnTo>
                <a:lnTo>
                  <a:pt x="6094720" y="5109958"/>
                </a:lnTo>
                <a:lnTo>
                  <a:pt x="6094720" y="5202832"/>
                </a:lnTo>
                <a:lnTo>
                  <a:pt x="6094720" y="5242844"/>
                </a:lnTo>
                <a:lnTo>
                  <a:pt x="6094720" y="5544616"/>
                </a:lnTo>
                <a:lnTo>
                  <a:pt x="6094720" y="5884479"/>
                </a:lnTo>
                <a:lnTo>
                  <a:pt x="6094720" y="6186250"/>
                </a:lnTo>
                <a:lnTo>
                  <a:pt x="6094720" y="6226262"/>
                </a:lnTo>
                <a:lnTo>
                  <a:pt x="6094720" y="6528034"/>
                </a:lnTo>
                <a:lnTo>
                  <a:pt x="5774783" y="6528034"/>
                </a:lnTo>
                <a:lnTo>
                  <a:pt x="5597638" y="6528034"/>
                </a:lnTo>
                <a:lnTo>
                  <a:pt x="3636760" y="6528034"/>
                </a:lnTo>
                <a:lnTo>
                  <a:pt x="3459615" y="6528034"/>
                </a:lnTo>
                <a:lnTo>
                  <a:pt x="3139677" y="6528034"/>
                </a:lnTo>
                <a:lnTo>
                  <a:pt x="3139677" y="6528032"/>
                </a:lnTo>
                <a:lnTo>
                  <a:pt x="2962532" y="6528032"/>
                </a:lnTo>
                <a:lnTo>
                  <a:pt x="841782" y="6528032"/>
                </a:lnTo>
                <a:lnTo>
                  <a:pt x="841782" y="6527773"/>
                </a:lnTo>
                <a:lnTo>
                  <a:pt x="761978" y="6527791"/>
                </a:lnTo>
                <a:cubicBezTo>
                  <a:pt x="674323" y="6527273"/>
                  <a:pt x="590019" y="6491819"/>
                  <a:pt x="528166" y="6429965"/>
                </a:cubicBezTo>
                <a:cubicBezTo>
                  <a:pt x="528166" y="6429965"/>
                  <a:pt x="528166" y="6429965"/>
                  <a:pt x="97826" y="5999627"/>
                </a:cubicBezTo>
                <a:cubicBezTo>
                  <a:pt x="35315" y="5937116"/>
                  <a:pt x="519" y="5853470"/>
                  <a:pt x="2" y="5765813"/>
                </a:cubicBezTo>
                <a:cubicBezTo>
                  <a:pt x="2" y="5765813"/>
                  <a:pt x="2" y="5765813"/>
                  <a:pt x="57" y="5512346"/>
                </a:cubicBezTo>
                <a:lnTo>
                  <a:pt x="67" y="5464670"/>
                </a:lnTo>
                <a:lnTo>
                  <a:pt x="2" y="5464039"/>
                </a:lnTo>
                <a:cubicBezTo>
                  <a:pt x="2" y="5464039"/>
                  <a:pt x="2" y="5464039"/>
                  <a:pt x="7" y="5439119"/>
                </a:cubicBezTo>
                <a:lnTo>
                  <a:pt x="10" y="5424128"/>
                </a:lnTo>
                <a:lnTo>
                  <a:pt x="0" y="5424029"/>
                </a:lnTo>
                <a:cubicBezTo>
                  <a:pt x="0" y="5424029"/>
                  <a:pt x="0" y="5424029"/>
                  <a:pt x="55" y="5170563"/>
                </a:cubicBezTo>
                <a:lnTo>
                  <a:pt x="66" y="5122889"/>
                </a:lnTo>
                <a:lnTo>
                  <a:pt x="0" y="5122257"/>
                </a:lnTo>
                <a:cubicBezTo>
                  <a:pt x="0" y="5122257"/>
                  <a:pt x="0" y="5122257"/>
                  <a:pt x="103" y="4649702"/>
                </a:cubicBezTo>
                <a:cubicBezTo>
                  <a:pt x="103" y="4649702"/>
                  <a:pt x="103" y="4649702"/>
                  <a:pt x="790" y="4649701"/>
                </a:cubicBezTo>
                <a:lnTo>
                  <a:pt x="1276" y="4649700"/>
                </a:lnTo>
                <a:lnTo>
                  <a:pt x="1277" y="3891898"/>
                </a:lnTo>
                <a:lnTo>
                  <a:pt x="1" y="3879598"/>
                </a:lnTo>
                <a:cubicBezTo>
                  <a:pt x="1" y="3879598"/>
                  <a:pt x="1" y="3879598"/>
                  <a:pt x="70" y="3563023"/>
                </a:cubicBezTo>
                <a:lnTo>
                  <a:pt x="76" y="3538548"/>
                </a:lnTo>
                <a:lnTo>
                  <a:pt x="0" y="3537818"/>
                </a:lnTo>
                <a:cubicBezTo>
                  <a:pt x="0" y="3537818"/>
                  <a:pt x="0" y="3537818"/>
                  <a:pt x="103" y="3065277"/>
                </a:cubicBezTo>
                <a:cubicBezTo>
                  <a:pt x="103" y="3065277"/>
                  <a:pt x="103" y="3065277"/>
                  <a:pt x="791" y="3065276"/>
                </a:cubicBezTo>
                <a:lnTo>
                  <a:pt x="1277" y="3065275"/>
                </a:lnTo>
                <a:lnTo>
                  <a:pt x="1277" y="2686371"/>
                </a:lnTo>
                <a:lnTo>
                  <a:pt x="2" y="2674072"/>
                </a:lnTo>
                <a:cubicBezTo>
                  <a:pt x="2" y="2674072"/>
                  <a:pt x="2" y="2674072"/>
                  <a:pt x="70" y="2357496"/>
                </a:cubicBezTo>
                <a:lnTo>
                  <a:pt x="75" y="2333023"/>
                </a:lnTo>
                <a:lnTo>
                  <a:pt x="0" y="2332286"/>
                </a:lnTo>
                <a:cubicBezTo>
                  <a:pt x="0" y="2332286"/>
                  <a:pt x="0" y="2332286"/>
                  <a:pt x="102" y="1859734"/>
                </a:cubicBezTo>
                <a:cubicBezTo>
                  <a:pt x="102" y="1859734"/>
                  <a:pt x="102" y="1859734"/>
                  <a:pt x="790" y="1859730"/>
                </a:cubicBezTo>
                <a:lnTo>
                  <a:pt x="1277" y="1859730"/>
                </a:lnTo>
                <a:lnTo>
                  <a:pt x="1277" y="734186"/>
                </a:lnTo>
                <a:lnTo>
                  <a:pt x="1278" y="734186"/>
                </a:lnTo>
                <a:lnTo>
                  <a:pt x="1278" y="1"/>
                </a:lnTo>
                <a:close/>
              </a:path>
            </a:pathLst>
          </a:custGeom>
          <a:solidFill>
            <a:srgbClr val="8E71F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Title 1">
            <a:extLst>
              <a:ext uri="{FF2B5EF4-FFF2-40B4-BE49-F238E27FC236}">
                <a16:creationId xmlns:a16="http://schemas.microsoft.com/office/drawing/2014/main" id="{1A491785-6F57-E13E-C4A7-A9AD6FFD4437}"/>
              </a:ext>
            </a:extLst>
          </p:cNvPr>
          <p:cNvSpPr>
            <a:spLocks noGrp="1"/>
          </p:cNvSpPr>
          <p:nvPr>
            <p:ph type="title"/>
          </p:nvPr>
        </p:nvSpPr>
        <p:spPr>
          <a:xfrm>
            <a:off x="493714" y="579438"/>
            <a:ext cx="5113896" cy="792162"/>
          </a:xfrm>
        </p:spPr>
        <p:txBody>
          <a:bodyPr anchor="t">
            <a:noAutofit/>
          </a:bodyPr>
          <a:lstStyle>
            <a:lvl1pPr>
              <a:lnSpc>
                <a:spcPct val="85000"/>
              </a:lnSpc>
              <a:defRPr/>
            </a:lvl1pPr>
          </a:lstStyle>
          <a:p>
            <a:r>
              <a:rPr lang="en-US"/>
              <a:t>Click to edit Master title style</a:t>
            </a:r>
          </a:p>
        </p:txBody>
      </p:sp>
      <p:sp>
        <p:nvSpPr>
          <p:cNvPr id="11" name="Text Placeholder 12">
            <a:extLst>
              <a:ext uri="{FF2B5EF4-FFF2-40B4-BE49-F238E27FC236}">
                <a16:creationId xmlns:a16="http://schemas.microsoft.com/office/drawing/2014/main" id="{D8B2789D-2F50-D72A-8229-CAE0C730F666}"/>
              </a:ext>
            </a:extLst>
          </p:cNvPr>
          <p:cNvSpPr>
            <a:spLocks noGrp="1"/>
          </p:cNvSpPr>
          <p:nvPr>
            <p:ph type="body" sz="quarter" idx="14"/>
          </p:nvPr>
        </p:nvSpPr>
        <p:spPr>
          <a:xfrm>
            <a:off x="6572250" y="1382889"/>
            <a:ext cx="5126366" cy="336374"/>
          </a:xfrm>
        </p:spPr>
        <p:txBody>
          <a:bodyPr anchor="t">
            <a:noAutofit/>
          </a:bodyPr>
          <a:lstStyle>
            <a:lvl1pPr marL="0" indent="0">
              <a:buNone/>
              <a:defRPr sz="2100">
                <a:solidFill>
                  <a:schemeClr val="bg1"/>
                </a:solidFill>
                <a:latin typeface="ES Build "/>
              </a:defRPr>
            </a:lvl1pPr>
          </a:lstStyle>
          <a:p>
            <a:pPr lvl="0"/>
            <a:r>
              <a:rPr lang="en-US"/>
              <a:t>Click to edit Master text styles</a:t>
            </a:r>
          </a:p>
        </p:txBody>
      </p:sp>
      <p:sp>
        <p:nvSpPr>
          <p:cNvPr id="14" name="Subtitle 2">
            <a:extLst>
              <a:ext uri="{FF2B5EF4-FFF2-40B4-BE49-F238E27FC236}">
                <a16:creationId xmlns:a16="http://schemas.microsoft.com/office/drawing/2014/main" id="{8CBAEA92-7477-E04A-CD5D-66402974327D}"/>
              </a:ext>
            </a:extLst>
          </p:cNvPr>
          <p:cNvSpPr>
            <a:spLocks noGrp="1"/>
          </p:cNvSpPr>
          <p:nvPr>
            <p:ph type="subTitle" idx="1"/>
          </p:nvPr>
        </p:nvSpPr>
        <p:spPr>
          <a:xfrm>
            <a:off x="493714" y="1371600"/>
            <a:ext cx="5113896" cy="347663"/>
          </a:xfrm>
        </p:spPr>
        <p:txBody>
          <a:bodyPr anchor="t">
            <a:noAutofit/>
          </a:bodyPr>
          <a:lstStyle>
            <a:lvl1pPr marL="0" indent="0" algn="l">
              <a:buNone/>
              <a:defRPr sz="2100">
                <a:solidFill>
                  <a:schemeClr val="tx1"/>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Text Placeholder 11">
            <a:extLst>
              <a:ext uri="{FF2B5EF4-FFF2-40B4-BE49-F238E27FC236}">
                <a16:creationId xmlns:a16="http://schemas.microsoft.com/office/drawing/2014/main" id="{34E41C82-70F8-4AFF-FDEC-3AA38C0B794F}"/>
              </a:ext>
            </a:extLst>
          </p:cNvPr>
          <p:cNvSpPr>
            <a:spLocks noGrp="1"/>
          </p:cNvSpPr>
          <p:nvPr>
            <p:ph type="body" sz="quarter" idx="16"/>
          </p:nvPr>
        </p:nvSpPr>
        <p:spPr>
          <a:xfrm>
            <a:off x="6572250" y="579439"/>
            <a:ext cx="5126365" cy="792162"/>
          </a:xfrm>
        </p:spPr>
        <p:txBody>
          <a:bodyPr anchor="t">
            <a:noAutofit/>
          </a:bodyPr>
          <a:lstStyle>
            <a:lvl1pPr marL="0" indent="0">
              <a:lnSpc>
                <a:spcPct val="85000"/>
              </a:lnSpc>
              <a:buNone/>
              <a:defRPr sz="3400">
                <a:solidFill>
                  <a:schemeClr val="bg1"/>
                </a:solidFill>
                <a:latin typeface="+mn-lt"/>
              </a:defRPr>
            </a:lvl1pPr>
          </a:lstStyle>
          <a:p>
            <a:pPr lvl="0"/>
            <a:r>
              <a:rPr lang="en-US"/>
              <a:t>Click to edit Master text styles</a:t>
            </a:r>
          </a:p>
        </p:txBody>
      </p:sp>
      <p:sp>
        <p:nvSpPr>
          <p:cNvPr id="16" name="Footer Placeholder 66">
            <a:extLst>
              <a:ext uri="{FF2B5EF4-FFF2-40B4-BE49-F238E27FC236}">
                <a16:creationId xmlns:a16="http://schemas.microsoft.com/office/drawing/2014/main" id="{7C55B1E5-0112-9125-02B5-998F8C45A153}"/>
              </a:ext>
            </a:extLst>
          </p:cNvPr>
          <p:cNvSpPr>
            <a:spLocks noGrp="1"/>
          </p:cNvSpPr>
          <p:nvPr>
            <p:ph type="ftr" sz="quarter" idx="3"/>
          </p:nvPr>
        </p:nvSpPr>
        <p:spPr>
          <a:xfrm>
            <a:off x="493290" y="6405456"/>
            <a:ext cx="5124874" cy="107722"/>
          </a:xfrm>
          <a:prstGeom prst="rect">
            <a:avLst/>
          </a:prstGeom>
        </p:spPr>
        <p:txBody>
          <a:bodyPr vert="horz" lIns="0" tIns="0" rIns="0" bIns="0" rtlCol="0" anchor="b"/>
          <a:lstStyle>
            <a:lvl1pPr algn="l">
              <a:defRPr sz="700">
                <a:solidFill>
                  <a:schemeClr val="tx2"/>
                </a:solidFill>
              </a:defRPr>
            </a:lvl1pPr>
          </a:lstStyle>
          <a:p>
            <a:endParaRPr lang="en-US"/>
          </a:p>
        </p:txBody>
      </p:sp>
      <p:sp>
        <p:nvSpPr>
          <p:cNvPr id="2" name="Content Placeholder 18">
            <a:extLst>
              <a:ext uri="{FF2B5EF4-FFF2-40B4-BE49-F238E27FC236}">
                <a16:creationId xmlns:a16="http://schemas.microsoft.com/office/drawing/2014/main" id="{FF37D647-62F1-024B-07D9-8DBAD2392F57}"/>
              </a:ext>
            </a:extLst>
          </p:cNvPr>
          <p:cNvSpPr>
            <a:spLocks noGrp="1"/>
          </p:cNvSpPr>
          <p:nvPr>
            <p:ph sz="quarter" idx="10"/>
          </p:nvPr>
        </p:nvSpPr>
        <p:spPr>
          <a:xfrm>
            <a:off x="493288" y="2397125"/>
            <a:ext cx="5124876" cy="3771900"/>
          </a:xfrm>
        </p:spPr>
        <p:txBody>
          <a:bodyPr/>
          <a:lstStyle>
            <a:lvl1pPr>
              <a:defRPr>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a:solidFill>
                  <a:schemeClr val="tx1"/>
                </a:solidFill>
              </a:defRPr>
            </a:lvl6pPr>
            <a:lvl7pPr>
              <a:defRPr>
                <a:solidFill>
                  <a:schemeClr val="tx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18">
            <a:extLst>
              <a:ext uri="{FF2B5EF4-FFF2-40B4-BE49-F238E27FC236}">
                <a16:creationId xmlns:a16="http://schemas.microsoft.com/office/drawing/2014/main" id="{B7CB7762-181F-D4B2-7B20-F7D6955DC1B4}"/>
              </a:ext>
            </a:extLst>
          </p:cNvPr>
          <p:cNvSpPr>
            <a:spLocks noGrp="1"/>
          </p:cNvSpPr>
          <p:nvPr>
            <p:ph sz="quarter" idx="11"/>
          </p:nvPr>
        </p:nvSpPr>
        <p:spPr>
          <a:xfrm>
            <a:off x="6574140" y="2394727"/>
            <a:ext cx="5124475" cy="3771900"/>
          </a:xfrm>
        </p:spPr>
        <p:txBody>
          <a:bodyPr/>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Graphic 3">
            <a:extLst>
              <a:ext uri="{FF2B5EF4-FFF2-40B4-BE49-F238E27FC236}">
                <a16:creationId xmlns:a16="http://schemas.microsoft.com/office/drawing/2014/main" id="{DB4B41DA-6D67-E315-71AF-0A1BDAD0D403}"/>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180146" y="6513177"/>
            <a:ext cx="516553" cy="157025"/>
          </a:xfrm>
          <a:prstGeom prst="rect">
            <a:avLst/>
          </a:prstGeom>
        </p:spPr>
      </p:pic>
    </p:spTree>
    <p:extLst>
      <p:ext uri="{BB962C8B-B14F-4D97-AF65-F5344CB8AC3E}">
        <p14:creationId xmlns:p14="http://schemas.microsoft.com/office/powerpoint/2010/main" val="113828501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mparison Casia Left">
    <p:spTree>
      <p:nvGrpSpPr>
        <p:cNvPr id="1" name=""/>
        <p:cNvGrpSpPr/>
        <p:nvPr/>
      </p:nvGrpSpPr>
      <p:grpSpPr>
        <a:xfrm>
          <a:off x="0" y="0"/>
          <a:ext cx="0" cy="0"/>
          <a:chOff x="0" y="0"/>
          <a:chExt cx="0" cy="0"/>
        </a:xfrm>
      </p:grpSpPr>
      <p:sp>
        <p:nvSpPr>
          <p:cNvPr id="311" name="Freeform: Shape 310">
            <a:extLst>
              <a:ext uri="{FF2B5EF4-FFF2-40B4-BE49-F238E27FC236}">
                <a16:creationId xmlns:a16="http://schemas.microsoft.com/office/drawing/2014/main" id="{FA3D5559-630B-68EB-88DB-BCC345505905}"/>
              </a:ext>
            </a:extLst>
          </p:cNvPr>
          <p:cNvSpPr/>
          <p:nvPr/>
        </p:nvSpPr>
        <p:spPr>
          <a:xfrm flipH="1">
            <a:off x="0" y="329967"/>
            <a:ext cx="6096000" cy="6528034"/>
          </a:xfrm>
          <a:custGeom>
            <a:avLst/>
            <a:gdLst>
              <a:gd name="connsiteX0" fmla="*/ 498361 w 6096000"/>
              <a:gd name="connsiteY0" fmla="*/ 0 h 6528034"/>
              <a:gd name="connsiteX1" fmla="*/ 2956322 w 6096000"/>
              <a:gd name="connsiteY1" fmla="*/ 0 h 6528034"/>
              <a:gd name="connsiteX2" fmla="*/ 2956322 w 6096000"/>
              <a:gd name="connsiteY2" fmla="*/ 1 h 6528034"/>
              <a:gd name="connsiteX3" fmla="*/ 3133467 w 6096000"/>
              <a:gd name="connsiteY3" fmla="*/ 1 h 6528034"/>
              <a:gd name="connsiteX4" fmla="*/ 5254219 w 6096000"/>
              <a:gd name="connsiteY4" fmla="*/ 1 h 6528034"/>
              <a:gd name="connsiteX5" fmla="*/ 5254219 w 6096000"/>
              <a:gd name="connsiteY5" fmla="*/ 2612 h 6528034"/>
              <a:gd name="connsiteX6" fmla="*/ 5334022 w 6096000"/>
              <a:gd name="connsiteY6" fmla="*/ 2594 h 6528034"/>
              <a:gd name="connsiteX7" fmla="*/ 5567834 w 6096000"/>
              <a:gd name="connsiteY7" fmla="*/ 100419 h 6528034"/>
              <a:gd name="connsiteX8" fmla="*/ 5998174 w 6096000"/>
              <a:gd name="connsiteY8" fmla="*/ 530758 h 6528034"/>
              <a:gd name="connsiteX9" fmla="*/ 6089287 w 6096000"/>
              <a:gd name="connsiteY9" fmla="*/ 699850 h 6528034"/>
              <a:gd name="connsiteX10" fmla="*/ 6092847 w 6096000"/>
              <a:gd name="connsiteY10" fmla="*/ 734186 h 6528034"/>
              <a:gd name="connsiteX11" fmla="*/ 6094720 w 6096000"/>
              <a:gd name="connsiteY11" fmla="*/ 734187 h 6528034"/>
              <a:gd name="connsiteX12" fmla="*/ 6094720 w 6096000"/>
              <a:gd name="connsiteY12" fmla="*/ 752239 h 6528034"/>
              <a:gd name="connsiteX13" fmla="*/ 6096000 w 6096000"/>
              <a:gd name="connsiteY13" fmla="*/ 764572 h 6528034"/>
              <a:gd name="connsiteX14" fmla="*/ 6095930 w 6096000"/>
              <a:gd name="connsiteY14" fmla="*/ 1081147 h 6528034"/>
              <a:gd name="connsiteX15" fmla="*/ 6095926 w 6096000"/>
              <a:gd name="connsiteY15" fmla="*/ 1105640 h 6528034"/>
              <a:gd name="connsiteX16" fmla="*/ 6096000 w 6096000"/>
              <a:gd name="connsiteY16" fmla="*/ 1106355 h 6528034"/>
              <a:gd name="connsiteX17" fmla="*/ 6095896 w 6096000"/>
              <a:gd name="connsiteY17" fmla="*/ 1578910 h 6528034"/>
              <a:gd name="connsiteX18" fmla="*/ 6095210 w 6096000"/>
              <a:gd name="connsiteY18" fmla="*/ 1578912 h 6528034"/>
              <a:gd name="connsiteX19" fmla="*/ 6094720 w 6096000"/>
              <a:gd name="connsiteY19" fmla="*/ 1578914 h 6528034"/>
              <a:gd name="connsiteX20" fmla="*/ 6094720 w 6096000"/>
              <a:gd name="connsiteY20" fmla="*/ 1676436 h 6528034"/>
              <a:gd name="connsiteX21" fmla="*/ 6094720 w 6096000"/>
              <a:gd name="connsiteY21" fmla="*/ 1939724 h 6528034"/>
              <a:gd name="connsiteX22" fmla="*/ 6094720 w 6096000"/>
              <a:gd name="connsiteY22" fmla="*/ 1957771 h 6528034"/>
              <a:gd name="connsiteX23" fmla="*/ 6096000 w 6096000"/>
              <a:gd name="connsiteY23" fmla="*/ 1970105 h 6528034"/>
              <a:gd name="connsiteX24" fmla="*/ 6095930 w 6096000"/>
              <a:gd name="connsiteY24" fmla="*/ 2286686 h 6528034"/>
              <a:gd name="connsiteX25" fmla="*/ 6095926 w 6096000"/>
              <a:gd name="connsiteY25" fmla="*/ 2311171 h 6528034"/>
              <a:gd name="connsiteX26" fmla="*/ 6095999 w 6096000"/>
              <a:gd name="connsiteY26" fmla="*/ 2311888 h 6528034"/>
              <a:gd name="connsiteX27" fmla="*/ 6095896 w 6096000"/>
              <a:gd name="connsiteY27" fmla="*/ 2784449 h 6528034"/>
              <a:gd name="connsiteX28" fmla="*/ 6095210 w 6096000"/>
              <a:gd name="connsiteY28" fmla="*/ 2784450 h 6528034"/>
              <a:gd name="connsiteX29" fmla="*/ 6094720 w 6096000"/>
              <a:gd name="connsiteY29" fmla="*/ 2784451 h 6528034"/>
              <a:gd name="connsiteX30" fmla="*/ 6094720 w 6096000"/>
              <a:gd name="connsiteY30" fmla="*/ 2881981 h 6528034"/>
              <a:gd name="connsiteX31" fmla="*/ 6094720 w 6096000"/>
              <a:gd name="connsiteY31" fmla="*/ 3094524 h 6528034"/>
              <a:gd name="connsiteX32" fmla="*/ 6094720 w 6096000"/>
              <a:gd name="connsiteY32" fmla="*/ 3223754 h 6528034"/>
              <a:gd name="connsiteX33" fmla="*/ 6094720 w 6096000"/>
              <a:gd name="connsiteY33" fmla="*/ 3316620 h 6528034"/>
              <a:gd name="connsiteX34" fmla="*/ 6094720 w 6096000"/>
              <a:gd name="connsiteY34" fmla="*/ 3436291 h 6528034"/>
              <a:gd name="connsiteX35" fmla="*/ 6094720 w 6096000"/>
              <a:gd name="connsiteY35" fmla="*/ 3524159 h 6528034"/>
              <a:gd name="connsiteX36" fmla="*/ 6094720 w 6096000"/>
              <a:gd name="connsiteY36" fmla="*/ 3612822 h 6528034"/>
              <a:gd name="connsiteX37" fmla="*/ 6096000 w 6096000"/>
              <a:gd name="connsiteY37" fmla="*/ 3625155 h 6528034"/>
              <a:gd name="connsiteX38" fmla="*/ 6095930 w 6096000"/>
              <a:gd name="connsiteY38" fmla="*/ 3941730 h 6528034"/>
              <a:gd name="connsiteX39" fmla="*/ 6095926 w 6096000"/>
              <a:gd name="connsiteY39" fmla="*/ 3966224 h 6528034"/>
              <a:gd name="connsiteX40" fmla="*/ 6096000 w 6096000"/>
              <a:gd name="connsiteY40" fmla="*/ 3966938 h 6528034"/>
              <a:gd name="connsiteX41" fmla="*/ 6095995 w 6096000"/>
              <a:gd name="connsiteY41" fmla="*/ 3991859 h 6528034"/>
              <a:gd name="connsiteX42" fmla="*/ 6095993 w 6096000"/>
              <a:gd name="connsiteY42" fmla="*/ 4001046 h 6528034"/>
              <a:gd name="connsiteX43" fmla="*/ 6095999 w 6096000"/>
              <a:gd name="connsiteY43" fmla="*/ 4001118 h 6528034"/>
              <a:gd name="connsiteX44" fmla="*/ 6095930 w 6096000"/>
              <a:gd name="connsiteY44" fmla="*/ 4317694 h 6528034"/>
              <a:gd name="connsiteX45" fmla="*/ 6095926 w 6096000"/>
              <a:gd name="connsiteY45" fmla="*/ 4342186 h 6528034"/>
              <a:gd name="connsiteX46" fmla="*/ 6096000 w 6096000"/>
              <a:gd name="connsiteY46" fmla="*/ 4342902 h 6528034"/>
              <a:gd name="connsiteX47" fmla="*/ 6095896 w 6096000"/>
              <a:gd name="connsiteY47" fmla="*/ 4815458 h 6528034"/>
              <a:gd name="connsiteX48" fmla="*/ 6095209 w 6096000"/>
              <a:gd name="connsiteY48" fmla="*/ 4815459 h 6528034"/>
              <a:gd name="connsiteX49" fmla="*/ 6094720 w 6096000"/>
              <a:gd name="connsiteY49" fmla="*/ 4815459 h 6528034"/>
              <a:gd name="connsiteX50" fmla="*/ 6094720 w 6096000"/>
              <a:gd name="connsiteY50" fmla="*/ 4901060 h 6528034"/>
              <a:gd name="connsiteX51" fmla="*/ 6094720 w 6096000"/>
              <a:gd name="connsiteY51" fmla="*/ 5109958 h 6528034"/>
              <a:gd name="connsiteX52" fmla="*/ 6094720 w 6096000"/>
              <a:gd name="connsiteY52" fmla="*/ 5202832 h 6528034"/>
              <a:gd name="connsiteX53" fmla="*/ 6094720 w 6096000"/>
              <a:gd name="connsiteY53" fmla="*/ 5242844 h 6528034"/>
              <a:gd name="connsiteX54" fmla="*/ 6094720 w 6096000"/>
              <a:gd name="connsiteY54" fmla="*/ 5544616 h 6528034"/>
              <a:gd name="connsiteX55" fmla="*/ 6094720 w 6096000"/>
              <a:gd name="connsiteY55" fmla="*/ 5884479 h 6528034"/>
              <a:gd name="connsiteX56" fmla="*/ 6094720 w 6096000"/>
              <a:gd name="connsiteY56" fmla="*/ 6186250 h 6528034"/>
              <a:gd name="connsiteX57" fmla="*/ 6094720 w 6096000"/>
              <a:gd name="connsiteY57" fmla="*/ 6226262 h 6528034"/>
              <a:gd name="connsiteX58" fmla="*/ 6094720 w 6096000"/>
              <a:gd name="connsiteY58" fmla="*/ 6528034 h 6528034"/>
              <a:gd name="connsiteX59" fmla="*/ 5774783 w 6096000"/>
              <a:gd name="connsiteY59" fmla="*/ 6528034 h 6528034"/>
              <a:gd name="connsiteX60" fmla="*/ 5597638 w 6096000"/>
              <a:gd name="connsiteY60" fmla="*/ 6528034 h 6528034"/>
              <a:gd name="connsiteX61" fmla="*/ 3636760 w 6096000"/>
              <a:gd name="connsiteY61" fmla="*/ 6528034 h 6528034"/>
              <a:gd name="connsiteX62" fmla="*/ 3459615 w 6096000"/>
              <a:gd name="connsiteY62" fmla="*/ 6528034 h 6528034"/>
              <a:gd name="connsiteX63" fmla="*/ 3139677 w 6096000"/>
              <a:gd name="connsiteY63" fmla="*/ 6528034 h 6528034"/>
              <a:gd name="connsiteX64" fmla="*/ 3139677 w 6096000"/>
              <a:gd name="connsiteY64" fmla="*/ 6528032 h 6528034"/>
              <a:gd name="connsiteX65" fmla="*/ 2962532 w 6096000"/>
              <a:gd name="connsiteY65" fmla="*/ 6528032 h 6528034"/>
              <a:gd name="connsiteX66" fmla="*/ 841782 w 6096000"/>
              <a:gd name="connsiteY66" fmla="*/ 6528032 h 6528034"/>
              <a:gd name="connsiteX67" fmla="*/ 841782 w 6096000"/>
              <a:gd name="connsiteY67" fmla="*/ 6527773 h 6528034"/>
              <a:gd name="connsiteX68" fmla="*/ 761978 w 6096000"/>
              <a:gd name="connsiteY68" fmla="*/ 6527791 h 6528034"/>
              <a:gd name="connsiteX69" fmla="*/ 528166 w 6096000"/>
              <a:gd name="connsiteY69" fmla="*/ 6429965 h 6528034"/>
              <a:gd name="connsiteX70" fmla="*/ 97826 w 6096000"/>
              <a:gd name="connsiteY70" fmla="*/ 5999627 h 6528034"/>
              <a:gd name="connsiteX71" fmla="*/ 2 w 6096000"/>
              <a:gd name="connsiteY71" fmla="*/ 5765813 h 6528034"/>
              <a:gd name="connsiteX72" fmla="*/ 57 w 6096000"/>
              <a:gd name="connsiteY72" fmla="*/ 5512346 h 6528034"/>
              <a:gd name="connsiteX73" fmla="*/ 67 w 6096000"/>
              <a:gd name="connsiteY73" fmla="*/ 5464670 h 6528034"/>
              <a:gd name="connsiteX74" fmla="*/ 2 w 6096000"/>
              <a:gd name="connsiteY74" fmla="*/ 5464039 h 6528034"/>
              <a:gd name="connsiteX75" fmla="*/ 7 w 6096000"/>
              <a:gd name="connsiteY75" fmla="*/ 5439119 h 6528034"/>
              <a:gd name="connsiteX76" fmla="*/ 10 w 6096000"/>
              <a:gd name="connsiteY76" fmla="*/ 5424128 h 6528034"/>
              <a:gd name="connsiteX77" fmla="*/ 0 w 6096000"/>
              <a:gd name="connsiteY77" fmla="*/ 5424029 h 6528034"/>
              <a:gd name="connsiteX78" fmla="*/ 55 w 6096000"/>
              <a:gd name="connsiteY78" fmla="*/ 5170563 h 6528034"/>
              <a:gd name="connsiteX79" fmla="*/ 66 w 6096000"/>
              <a:gd name="connsiteY79" fmla="*/ 5122889 h 6528034"/>
              <a:gd name="connsiteX80" fmla="*/ 0 w 6096000"/>
              <a:gd name="connsiteY80" fmla="*/ 5122257 h 6528034"/>
              <a:gd name="connsiteX81" fmla="*/ 103 w 6096000"/>
              <a:gd name="connsiteY81" fmla="*/ 4649702 h 6528034"/>
              <a:gd name="connsiteX82" fmla="*/ 790 w 6096000"/>
              <a:gd name="connsiteY82" fmla="*/ 4649701 h 6528034"/>
              <a:gd name="connsiteX83" fmla="*/ 1276 w 6096000"/>
              <a:gd name="connsiteY83" fmla="*/ 4649700 h 6528034"/>
              <a:gd name="connsiteX84" fmla="*/ 1277 w 6096000"/>
              <a:gd name="connsiteY84" fmla="*/ 3891898 h 6528034"/>
              <a:gd name="connsiteX85" fmla="*/ 1 w 6096000"/>
              <a:gd name="connsiteY85" fmla="*/ 3879598 h 6528034"/>
              <a:gd name="connsiteX86" fmla="*/ 70 w 6096000"/>
              <a:gd name="connsiteY86" fmla="*/ 3563023 h 6528034"/>
              <a:gd name="connsiteX87" fmla="*/ 76 w 6096000"/>
              <a:gd name="connsiteY87" fmla="*/ 3538548 h 6528034"/>
              <a:gd name="connsiteX88" fmla="*/ 0 w 6096000"/>
              <a:gd name="connsiteY88" fmla="*/ 3537818 h 6528034"/>
              <a:gd name="connsiteX89" fmla="*/ 103 w 6096000"/>
              <a:gd name="connsiteY89" fmla="*/ 3065277 h 6528034"/>
              <a:gd name="connsiteX90" fmla="*/ 791 w 6096000"/>
              <a:gd name="connsiteY90" fmla="*/ 3065276 h 6528034"/>
              <a:gd name="connsiteX91" fmla="*/ 1277 w 6096000"/>
              <a:gd name="connsiteY91" fmla="*/ 3065275 h 6528034"/>
              <a:gd name="connsiteX92" fmla="*/ 1277 w 6096000"/>
              <a:gd name="connsiteY92" fmla="*/ 2686371 h 6528034"/>
              <a:gd name="connsiteX93" fmla="*/ 2 w 6096000"/>
              <a:gd name="connsiteY93" fmla="*/ 2674072 h 6528034"/>
              <a:gd name="connsiteX94" fmla="*/ 70 w 6096000"/>
              <a:gd name="connsiteY94" fmla="*/ 2357496 h 6528034"/>
              <a:gd name="connsiteX95" fmla="*/ 75 w 6096000"/>
              <a:gd name="connsiteY95" fmla="*/ 2333023 h 6528034"/>
              <a:gd name="connsiteX96" fmla="*/ 0 w 6096000"/>
              <a:gd name="connsiteY96" fmla="*/ 2332286 h 6528034"/>
              <a:gd name="connsiteX97" fmla="*/ 102 w 6096000"/>
              <a:gd name="connsiteY97" fmla="*/ 1859734 h 6528034"/>
              <a:gd name="connsiteX98" fmla="*/ 790 w 6096000"/>
              <a:gd name="connsiteY98" fmla="*/ 1859730 h 6528034"/>
              <a:gd name="connsiteX99" fmla="*/ 1277 w 6096000"/>
              <a:gd name="connsiteY99" fmla="*/ 1859730 h 6528034"/>
              <a:gd name="connsiteX100" fmla="*/ 1277 w 6096000"/>
              <a:gd name="connsiteY100" fmla="*/ 734186 h 6528034"/>
              <a:gd name="connsiteX101" fmla="*/ 1278 w 6096000"/>
              <a:gd name="connsiteY101" fmla="*/ 734186 h 6528034"/>
              <a:gd name="connsiteX102" fmla="*/ 1278 w 6096000"/>
              <a:gd name="connsiteY102" fmla="*/ 1 h 652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6096000" h="6528034">
                <a:moveTo>
                  <a:pt x="498361" y="0"/>
                </a:moveTo>
                <a:lnTo>
                  <a:pt x="2956322" y="0"/>
                </a:lnTo>
                <a:lnTo>
                  <a:pt x="2956322" y="1"/>
                </a:lnTo>
                <a:lnTo>
                  <a:pt x="3133467" y="1"/>
                </a:lnTo>
                <a:lnTo>
                  <a:pt x="5254219" y="1"/>
                </a:lnTo>
                <a:lnTo>
                  <a:pt x="5254219" y="2612"/>
                </a:lnTo>
                <a:lnTo>
                  <a:pt x="5334022" y="2594"/>
                </a:lnTo>
                <a:cubicBezTo>
                  <a:pt x="5421676" y="3113"/>
                  <a:pt x="5505980" y="38567"/>
                  <a:pt x="5567834" y="100419"/>
                </a:cubicBezTo>
                <a:cubicBezTo>
                  <a:pt x="5567834" y="100419"/>
                  <a:pt x="5567834" y="100419"/>
                  <a:pt x="5998174" y="530758"/>
                </a:cubicBezTo>
                <a:cubicBezTo>
                  <a:pt x="6045058" y="577643"/>
                  <a:pt x="6076350" y="636415"/>
                  <a:pt x="6089287" y="699850"/>
                </a:cubicBezTo>
                <a:lnTo>
                  <a:pt x="6092847" y="734186"/>
                </a:lnTo>
                <a:lnTo>
                  <a:pt x="6094720" y="734187"/>
                </a:lnTo>
                <a:lnTo>
                  <a:pt x="6094720" y="752239"/>
                </a:lnTo>
                <a:lnTo>
                  <a:pt x="6096000" y="764572"/>
                </a:lnTo>
                <a:cubicBezTo>
                  <a:pt x="6096000" y="764572"/>
                  <a:pt x="6096000" y="764572"/>
                  <a:pt x="6095930" y="1081147"/>
                </a:cubicBezTo>
                <a:lnTo>
                  <a:pt x="6095926" y="1105640"/>
                </a:lnTo>
                <a:lnTo>
                  <a:pt x="6096000" y="1106355"/>
                </a:lnTo>
                <a:cubicBezTo>
                  <a:pt x="6096000" y="1106355"/>
                  <a:pt x="6096000" y="1106355"/>
                  <a:pt x="6095896" y="1578910"/>
                </a:cubicBezTo>
                <a:cubicBezTo>
                  <a:pt x="6095896" y="1578910"/>
                  <a:pt x="6095896" y="1578910"/>
                  <a:pt x="6095210" y="1578912"/>
                </a:cubicBezTo>
                <a:lnTo>
                  <a:pt x="6094720" y="1578914"/>
                </a:lnTo>
                <a:lnTo>
                  <a:pt x="6094720" y="1676436"/>
                </a:lnTo>
                <a:lnTo>
                  <a:pt x="6094720" y="1939724"/>
                </a:lnTo>
                <a:lnTo>
                  <a:pt x="6094720" y="1957771"/>
                </a:lnTo>
                <a:lnTo>
                  <a:pt x="6096000" y="1970105"/>
                </a:lnTo>
                <a:cubicBezTo>
                  <a:pt x="6096000" y="1970105"/>
                  <a:pt x="6096000" y="1970105"/>
                  <a:pt x="6095930" y="2286686"/>
                </a:cubicBezTo>
                <a:lnTo>
                  <a:pt x="6095926" y="2311171"/>
                </a:lnTo>
                <a:lnTo>
                  <a:pt x="6095999" y="2311888"/>
                </a:lnTo>
                <a:cubicBezTo>
                  <a:pt x="6095999" y="2311888"/>
                  <a:pt x="6095999" y="2311888"/>
                  <a:pt x="6095896" y="2784449"/>
                </a:cubicBezTo>
                <a:cubicBezTo>
                  <a:pt x="6095896" y="2784449"/>
                  <a:pt x="6095896" y="2784449"/>
                  <a:pt x="6095210" y="2784450"/>
                </a:cubicBezTo>
                <a:lnTo>
                  <a:pt x="6094720" y="2784451"/>
                </a:lnTo>
                <a:lnTo>
                  <a:pt x="6094720" y="2881981"/>
                </a:lnTo>
                <a:lnTo>
                  <a:pt x="6094720" y="3094524"/>
                </a:lnTo>
                <a:lnTo>
                  <a:pt x="6094720" y="3223754"/>
                </a:lnTo>
                <a:lnTo>
                  <a:pt x="6094720" y="3316620"/>
                </a:lnTo>
                <a:lnTo>
                  <a:pt x="6094720" y="3436291"/>
                </a:lnTo>
                <a:lnTo>
                  <a:pt x="6094720" y="3524159"/>
                </a:lnTo>
                <a:lnTo>
                  <a:pt x="6094720" y="3612822"/>
                </a:lnTo>
                <a:lnTo>
                  <a:pt x="6096000" y="3625155"/>
                </a:lnTo>
                <a:cubicBezTo>
                  <a:pt x="6096000" y="3625155"/>
                  <a:pt x="6096000" y="3625155"/>
                  <a:pt x="6095930" y="3941730"/>
                </a:cubicBezTo>
                <a:lnTo>
                  <a:pt x="6095926" y="3966224"/>
                </a:lnTo>
                <a:lnTo>
                  <a:pt x="6096000" y="3966938"/>
                </a:lnTo>
                <a:cubicBezTo>
                  <a:pt x="6096000" y="3966938"/>
                  <a:pt x="6096000" y="3966938"/>
                  <a:pt x="6095995" y="3991859"/>
                </a:cubicBezTo>
                <a:lnTo>
                  <a:pt x="6095993" y="4001046"/>
                </a:lnTo>
                <a:lnTo>
                  <a:pt x="6095999" y="4001118"/>
                </a:lnTo>
                <a:cubicBezTo>
                  <a:pt x="6095999" y="4001118"/>
                  <a:pt x="6095999" y="4001118"/>
                  <a:pt x="6095930" y="4317694"/>
                </a:cubicBezTo>
                <a:lnTo>
                  <a:pt x="6095926" y="4342186"/>
                </a:lnTo>
                <a:lnTo>
                  <a:pt x="6096000" y="4342902"/>
                </a:lnTo>
                <a:cubicBezTo>
                  <a:pt x="6096000" y="4342902"/>
                  <a:pt x="6096000" y="4342902"/>
                  <a:pt x="6095896" y="4815458"/>
                </a:cubicBezTo>
                <a:cubicBezTo>
                  <a:pt x="6095896" y="4815458"/>
                  <a:pt x="6095896" y="4815458"/>
                  <a:pt x="6095209" y="4815459"/>
                </a:cubicBezTo>
                <a:lnTo>
                  <a:pt x="6094720" y="4815459"/>
                </a:lnTo>
                <a:lnTo>
                  <a:pt x="6094720" y="4901060"/>
                </a:lnTo>
                <a:lnTo>
                  <a:pt x="6094720" y="5109958"/>
                </a:lnTo>
                <a:lnTo>
                  <a:pt x="6094720" y="5202832"/>
                </a:lnTo>
                <a:lnTo>
                  <a:pt x="6094720" y="5242844"/>
                </a:lnTo>
                <a:lnTo>
                  <a:pt x="6094720" y="5544616"/>
                </a:lnTo>
                <a:lnTo>
                  <a:pt x="6094720" y="5884479"/>
                </a:lnTo>
                <a:lnTo>
                  <a:pt x="6094720" y="6186250"/>
                </a:lnTo>
                <a:lnTo>
                  <a:pt x="6094720" y="6226262"/>
                </a:lnTo>
                <a:lnTo>
                  <a:pt x="6094720" y="6528034"/>
                </a:lnTo>
                <a:lnTo>
                  <a:pt x="5774783" y="6528034"/>
                </a:lnTo>
                <a:lnTo>
                  <a:pt x="5597638" y="6528034"/>
                </a:lnTo>
                <a:lnTo>
                  <a:pt x="3636760" y="6528034"/>
                </a:lnTo>
                <a:lnTo>
                  <a:pt x="3459615" y="6528034"/>
                </a:lnTo>
                <a:lnTo>
                  <a:pt x="3139677" y="6528034"/>
                </a:lnTo>
                <a:lnTo>
                  <a:pt x="3139677" y="6528032"/>
                </a:lnTo>
                <a:lnTo>
                  <a:pt x="2962532" y="6528032"/>
                </a:lnTo>
                <a:lnTo>
                  <a:pt x="841782" y="6528032"/>
                </a:lnTo>
                <a:lnTo>
                  <a:pt x="841782" y="6527773"/>
                </a:lnTo>
                <a:lnTo>
                  <a:pt x="761978" y="6527791"/>
                </a:lnTo>
                <a:cubicBezTo>
                  <a:pt x="674323" y="6527273"/>
                  <a:pt x="590019" y="6491819"/>
                  <a:pt x="528166" y="6429965"/>
                </a:cubicBezTo>
                <a:cubicBezTo>
                  <a:pt x="528166" y="6429965"/>
                  <a:pt x="528166" y="6429965"/>
                  <a:pt x="97826" y="5999627"/>
                </a:cubicBezTo>
                <a:cubicBezTo>
                  <a:pt x="35315" y="5937116"/>
                  <a:pt x="519" y="5853470"/>
                  <a:pt x="2" y="5765813"/>
                </a:cubicBezTo>
                <a:cubicBezTo>
                  <a:pt x="2" y="5765813"/>
                  <a:pt x="2" y="5765813"/>
                  <a:pt x="57" y="5512346"/>
                </a:cubicBezTo>
                <a:lnTo>
                  <a:pt x="67" y="5464670"/>
                </a:lnTo>
                <a:lnTo>
                  <a:pt x="2" y="5464039"/>
                </a:lnTo>
                <a:cubicBezTo>
                  <a:pt x="2" y="5464039"/>
                  <a:pt x="2" y="5464039"/>
                  <a:pt x="7" y="5439119"/>
                </a:cubicBezTo>
                <a:lnTo>
                  <a:pt x="10" y="5424128"/>
                </a:lnTo>
                <a:lnTo>
                  <a:pt x="0" y="5424029"/>
                </a:lnTo>
                <a:cubicBezTo>
                  <a:pt x="0" y="5424029"/>
                  <a:pt x="0" y="5424029"/>
                  <a:pt x="55" y="5170563"/>
                </a:cubicBezTo>
                <a:lnTo>
                  <a:pt x="66" y="5122889"/>
                </a:lnTo>
                <a:lnTo>
                  <a:pt x="0" y="5122257"/>
                </a:lnTo>
                <a:cubicBezTo>
                  <a:pt x="0" y="5122257"/>
                  <a:pt x="0" y="5122257"/>
                  <a:pt x="103" y="4649702"/>
                </a:cubicBezTo>
                <a:cubicBezTo>
                  <a:pt x="103" y="4649702"/>
                  <a:pt x="103" y="4649702"/>
                  <a:pt x="790" y="4649701"/>
                </a:cubicBezTo>
                <a:lnTo>
                  <a:pt x="1276" y="4649700"/>
                </a:lnTo>
                <a:lnTo>
                  <a:pt x="1277" y="3891898"/>
                </a:lnTo>
                <a:lnTo>
                  <a:pt x="1" y="3879598"/>
                </a:lnTo>
                <a:cubicBezTo>
                  <a:pt x="1" y="3879598"/>
                  <a:pt x="1" y="3879598"/>
                  <a:pt x="70" y="3563023"/>
                </a:cubicBezTo>
                <a:lnTo>
                  <a:pt x="76" y="3538548"/>
                </a:lnTo>
                <a:lnTo>
                  <a:pt x="0" y="3537818"/>
                </a:lnTo>
                <a:cubicBezTo>
                  <a:pt x="0" y="3537818"/>
                  <a:pt x="0" y="3537818"/>
                  <a:pt x="103" y="3065277"/>
                </a:cubicBezTo>
                <a:cubicBezTo>
                  <a:pt x="103" y="3065277"/>
                  <a:pt x="103" y="3065277"/>
                  <a:pt x="791" y="3065276"/>
                </a:cubicBezTo>
                <a:lnTo>
                  <a:pt x="1277" y="3065275"/>
                </a:lnTo>
                <a:lnTo>
                  <a:pt x="1277" y="2686371"/>
                </a:lnTo>
                <a:lnTo>
                  <a:pt x="2" y="2674072"/>
                </a:lnTo>
                <a:cubicBezTo>
                  <a:pt x="2" y="2674072"/>
                  <a:pt x="2" y="2674072"/>
                  <a:pt x="70" y="2357496"/>
                </a:cubicBezTo>
                <a:lnTo>
                  <a:pt x="75" y="2333023"/>
                </a:lnTo>
                <a:lnTo>
                  <a:pt x="0" y="2332286"/>
                </a:lnTo>
                <a:cubicBezTo>
                  <a:pt x="0" y="2332286"/>
                  <a:pt x="0" y="2332286"/>
                  <a:pt x="102" y="1859734"/>
                </a:cubicBezTo>
                <a:cubicBezTo>
                  <a:pt x="102" y="1859734"/>
                  <a:pt x="102" y="1859734"/>
                  <a:pt x="790" y="1859730"/>
                </a:cubicBezTo>
                <a:lnTo>
                  <a:pt x="1277" y="1859730"/>
                </a:lnTo>
                <a:lnTo>
                  <a:pt x="1277" y="734186"/>
                </a:lnTo>
                <a:lnTo>
                  <a:pt x="1278" y="734186"/>
                </a:lnTo>
                <a:lnTo>
                  <a:pt x="1278" y="1"/>
                </a:lnTo>
                <a:close/>
              </a:path>
            </a:pathLst>
          </a:custGeom>
          <a:solidFill>
            <a:srgbClr val="8E71F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Title 1">
            <a:extLst>
              <a:ext uri="{FF2B5EF4-FFF2-40B4-BE49-F238E27FC236}">
                <a16:creationId xmlns:a16="http://schemas.microsoft.com/office/drawing/2014/main" id="{1A491785-6F57-E13E-C4A7-A9AD6FFD4437}"/>
              </a:ext>
            </a:extLst>
          </p:cNvPr>
          <p:cNvSpPr>
            <a:spLocks noGrp="1"/>
          </p:cNvSpPr>
          <p:nvPr>
            <p:ph type="title"/>
          </p:nvPr>
        </p:nvSpPr>
        <p:spPr>
          <a:xfrm>
            <a:off x="493714" y="579438"/>
            <a:ext cx="5113896" cy="792162"/>
          </a:xfrm>
        </p:spPr>
        <p:txBody>
          <a:bodyPr anchor="t">
            <a:noAutofit/>
          </a:bodyPr>
          <a:lstStyle>
            <a:lvl1pPr>
              <a:lnSpc>
                <a:spcPct val="85000"/>
              </a:lnSpc>
              <a:defRPr>
                <a:solidFill>
                  <a:schemeClr val="bg1"/>
                </a:solidFill>
              </a:defRPr>
            </a:lvl1pPr>
          </a:lstStyle>
          <a:p>
            <a:r>
              <a:rPr lang="en-US"/>
              <a:t>Click to edit Master title style</a:t>
            </a:r>
          </a:p>
        </p:txBody>
      </p:sp>
      <p:sp>
        <p:nvSpPr>
          <p:cNvPr id="11" name="Text Placeholder 12">
            <a:extLst>
              <a:ext uri="{FF2B5EF4-FFF2-40B4-BE49-F238E27FC236}">
                <a16:creationId xmlns:a16="http://schemas.microsoft.com/office/drawing/2014/main" id="{D8B2789D-2F50-D72A-8229-CAE0C730F666}"/>
              </a:ext>
            </a:extLst>
          </p:cNvPr>
          <p:cNvSpPr>
            <a:spLocks noGrp="1"/>
          </p:cNvSpPr>
          <p:nvPr>
            <p:ph type="body" sz="quarter" idx="14"/>
          </p:nvPr>
        </p:nvSpPr>
        <p:spPr>
          <a:xfrm>
            <a:off x="6572250" y="1382889"/>
            <a:ext cx="5126366" cy="336374"/>
          </a:xfrm>
        </p:spPr>
        <p:txBody>
          <a:bodyPr anchor="t">
            <a:noAutofit/>
          </a:bodyPr>
          <a:lstStyle>
            <a:lvl1pPr marL="0" indent="0">
              <a:buNone/>
              <a:defRPr sz="2100">
                <a:solidFill>
                  <a:schemeClr val="tx1"/>
                </a:solidFill>
                <a:latin typeface="ES Build "/>
              </a:defRPr>
            </a:lvl1pPr>
          </a:lstStyle>
          <a:p>
            <a:pPr lvl="0"/>
            <a:r>
              <a:rPr lang="en-US"/>
              <a:t>Click to edit Master text styles</a:t>
            </a:r>
          </a:p>
        </p:txBody>
      </p:sp>
      <p:sp>
        <p:nvSpPr>
          <p:cNvPr id="14" name="Subtitle 2">
            <a:extLst>
              <a:ext uri="{FF2B5EF4-FFF2-40B4-BE49-F238E27FC236}">
                <a16:creationId xmlns:a16="http://schemas.microsoft.com/office/drawing/2014/main" id="{8CBAEA92-7477-E04A-CD5D-66402974327D}"/>
              </a:ext>
            </a:extLst>
          </p:cNvPr>
          <p:cNvSpPr>
            <a:spLocks noGrp="1"/>
          </p:cNvSpPr>
          <p:nvPr>
            <p:ph type="subTitle" idx="1"/>
          </p:nvPr>
        </p:nvSpPr>
        <p:spPr>
          <a:xfrm>
            <a:off x="493714" y="1371600"/>
            <a:ext cx="5113896" cy="347663"/>
          </a:xfrm>
        </p:spPr>
        <p:txBody>
          <a:bodyPr anchor="t">
            <a:noAutofit/>
          </a:bodyPr>
          <a:lstStyle>
            <a:lvl1pPr marL="0" indent="0" algn="l">
              <a:buNone/>
              <a:defRPr sz="2100">
                <a:solidFill>
                  <a:schemeClr val="bg1"/>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Text Placeholder 11">
            <a:extLst>
              <a:ext uri="{FF2B5EF4-FFF2-40B4-BE49-F238E27FC236}">
                <a16:creationId xmlns:a16="http://schemas.microsoft.com/office/drawing/2014/main" id="{34E41C82-70F8-4AFF-FDEC-3AA38C0B794F}"/>
              </a:ext>
            </a:extLst>
          </p:cNvPr>
          <p:cNvSpPr>
            <a:spLocks noGrp="1"/>
          </p:cNvSpPr>
          <p:nvPr>
            <p:ph type="body" sz="quarter" idx="16"/>
          </p:nvPr>
        </p:nvSpPr>
        <p:spPr>
          <a:xfrm>
            <a:off x="6572250" y="579439"/>
            <a:ext cx="5126365" cy="792162"/>
          </a:xfrm>
        </p:spPr>
        <p:txBody>
          <a:bodyPr anchor="t">
            <a:noAutofit/>
          </a:bodyPr>
          <a:lstStyle>
            <a:lvl1pPr marL="0" indent="0">
              <a:lnSpc>
                <a:spcPct val="85000"/>
              </a:lnSpc>
              <a:buNone/>
              <a:defRPr sz="3400">
                <a:solidFill>
                  <a:schemeClr val="tx1"/>
                </a:solidFill>
                <a:latin typeface="+mn-lt"/>
              </a:defRPr>
            </a:lvl1pPr>
          </a:lstStyle>
          <a:p>
            <a:pPr lvl="0"/>
            <a:r>
              <a:rPr lang="en-US"/>
              <a:t>Click to edit Master text styles</a:t>
            </a:r>
          </a:p>
        </p:txBody>
      </p:sp>
      <p:sp>
        <p:nvSpPr>
          <p:cNvPr id="16" name="Footer Placeholder 66">
            <a:extLst>
              <a:ext uri="{FF2B5EF4-FFF2-40B4-BE49-F238E27FC236}">
                <a16:creationId xmlns:a16="http://schemas.microsoft.com/office/drawing/2014/main" id="{7C55B1E5-0112-9125-02B5-998F8C45A153}"/>
              </a:ext>
            </a:extLst>
          </p:cNvPr>
          <p:cNvSpPr>
            <a:spLocks noGrp="1"/>
          </p:cNvSpPr>
          <p:nvPr>
            <p:ph type="ftr" sz="quarter" idx="3"/>
          </p:nvPr>
        </p:nvSpPr>
        <p:spPr>
          <a:xfrm>
            <a:off x="493290" y="6405456"/>
            <a:ext cx="5124874" cy="107722"/>
          </a:xfrm>
          <a:prstGeom prst="rect">
            <a:avLst/>
          </a:prstGeom>
        </p:spPr>
        <p:txBody>
          <a:bodyPr vert="horz" lIns="0" tIns="0" rIns="0" bIns="0" rtlCol="0" anchor="b"/>
          <a:lstStyle>
            <a:lvl1pPr algn="l">
              <a:defRPr sz="700">
                <a:solidFill>
                  <a:schemeClr val="bg1"/>
                </a:solidFill>
              </a:defRPr>
            </a:lvl1pPr>
          </a:lstStyle>
          <a:p>
            <a:endParaRPr lang="en-US"/>
          </a:p>
        </p:txBody>
      </p:sp>
      <p:sp>
        <p:nvSpPr>
          <p:cNvPr id="2" name="TextBox 1">
            <a:extLst>
              <a:ext uri="{FF2B5EF4-FFF2-40B4-BE49-F238E27FC236}">
                <a16:creationId xmlns:a16="http://schemas.microsoft.com/office/drawing/2014/main" id="{8454D21C-2C46-70F2-3FBF-97F25ECB8680}"/>
              </a:ext>
            </a:extLst>
          </p:cNvPr>
          <p:cNvSpPr txBox="1"/>
          <p:nvPr userDrawn="1"/>
        </p:nvSpPr>
        <p:spPr>
          <a:xfrm>
            <a:off x="493288" y="6562481"/>
            <a:ext cx="5293842" cy="107722"/>
          </a:xfrm>
          <a:prstGeom prst="rect">
            <a:avLst/>
          </a:prstGeom>
          <a:noFill/>
        </p:spPr>
        <p:txBody>
          <a:bodyPr wrap="square" lIns="0" tIns="0" rIns="0" bIns="0">
            <a:spAutoFit/>
          </a:bodyPr>
          <a:lstStyle/>
          <a:p>
            <a:r>
              <a:rPr lang="en-US" sz="700">
                <a:solidFill>
                  <a:schemeClr val="bg1"/>
                </a:solidFill>
              </a:rPr>
              <a:t>© 2024 Veeam Software. Confidential information. All rights reserved. All trademarks are the property of their respective owners. </a:t>
            </a:r>
          </a:p>
        </p:txBody>
      </p:sp>
      <p:sp>
        <p:nvSpPr>
          <p:cNvPr id="3" name="Content Placeholder 18">
            <a:extLst>
              <a:ext uri="{FF2B5EF4-FFF2-40B4-BE49-F238E27FC236}">
                <a16:creationId xmlns:a16="http://schemas.microsoft.com/office/drawing/2014/main" id="{944D7E10-9F5C-BF3B-3354-EA8AE045538E}"/>
              </a:ext>
            </a:extLst>
          </p:cNvPr>
          <p:cNvSpPr>
            <a:spLocks noGrp="1"/>
          </p:cNvSpPr>
          <p:nvPr>
            <p:ph sz="quarter" idx="10"/>
          </p:nvPr>
        </p:nvSpPr>
        <p:spPr>
          <a:xfrm>
            <a:off x="493288" y="2397125"/>
            <a:ext cx="5124876" cy="3771900"/>
          </a:xfrm>
        </p:spPr>
        <p:txBody>
          <a:bodyPr/>
          <a:lstStyle>
            <a:lvl1pPr>
              <a:defRPr>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18">
            <a:extLst>
              <a:ext uri="{FF2B5EF4-FFF2-40B4-BE49-F238E27FC236}">
                <a16:creationId xmlns:a16="http://schemas.microsoft.com/office/drawing/2014/main" id="{FB92400D-2194-A0DD-85DB-36AE2DE042B3}"/>
              </a:ext>
            </a:extLst>
          </p:cNvPr>
          <p:cNvSpPr>
            <a:spLocks noGrp="1"/>
          </p:cNvSpPr>
          <p:nvPr>
            <p:ph sz="quarter" idx="11"/>
          </p:nvPr>
        </p:nvSpPr>
        <p:spPr>
          <a:xfrm>
            <a:off x="6574140" y="2394727"/>
            <a:ext cx="5124475" cy="3771900"/>
          </a:xfrm>
        </p:spPr>
        <p:txBody>
          <a:bodyPr/>
          <a:lstStyle>
            <a:lvl1pPr>
              <a:defRPr>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a:solidFill>
                  <a:schemeClr val="tx1"/>
                </a:solidFill>
              </a:defRPr>
            </a:lvl6pPr>
            <a:lvl7pPr>
              <a:defRPr>
                <a:solidFill>
                  <a:schemeClr val="tx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32074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genda Viridis Gradient">
    <p:bg>
      <p:bgPr>
        <a:solidFill>
          <a:schemeClr val="bg1"/>
        </a:solidFill>
        <a:effectLst/>
      </p:bgPr>
    </p:bg>
    <p:spTree>
      <p:nvGrpSpPr>
        <p:cNvPr id="1" name=""/>
        <p:cNvGrpSpPr/>
        <p:nvPr/>
      </p:nvGrpSpPr>
      <p:grpSpPr>
        <a:xfrm>
          <a:off x="0" y="0"/>
          <a:ext cx="0" cy="0"/>
          <a:chOff x="0" y="0"/>
          <a:chExt cx="0" cy="0"/>
        </a:xfrm>
      </p:grpSpPr>
      <p:pic>
        <p:nvPicPr>
          <p:cNvPr id="17" name="Picture 16" descr="A green and white background&#10;&#10;Description automatically generated">
            <a:extLst>
              <a:ext uri="{FF2B5EF4-FFF2-40B4-BE49-F238E27FC236}">
                <a16:creationId xmlns:a16="http://schemas.microsoft.com/office/drawing/2014/main" id="{D9D8ABDB-B374-C08D-1423-39142E878E3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1974"/>
            <a:ext cx="6094100" cy="6856026"/>
          </a:xfrm>
          <a:prstGeom prst="rect">
            <a:avLst/>
          </a:prstGeom>
        </p:spPr>
      </p:pic>
      <p:sp>
        <p:nvSpPr>
          <p:cNvPr id="2" name="Title 1">
            <a:extLst>
              <a:ext uri="{FF2B5EF4-FFF2-40B4-BE49-F238E27FC236}">
                <a16:creationId xmlns:a16="http://schemas.microsoft.com/office/drawing/2014/main" id="{C7106D83-86C1-03BA-6A3C-29169056A500}"/>
              </a:ext>
            </a:extLst>
          </p:cNvPr>
          <p:cNvSpPr>
            <a:spLocks noGrp="1"/>
          </p:cNvSpPr>
          <p:nvPr>
            <p:ph type="title" hasCustomPrompt="1"/>
          </p:nvPr>
        </p:nvSpPr>
        <p:spPr>
          <a:xfrm>
            <a:off x="849312" y="2467915"/>
            <a:ext cx="4430065" cy="1232645"/>
          </a:xfrm>
        </p:spPr>
        <p:txBody>
          <a:bodyPr wrap="square" anchor="ctr">
            <a:noAutofit/>
          </a:bodyPr>
          <a:lstStyle>
            <a:lvl1pPr algn="l">
              <a:defRPr sz="8900" spc="-300">
                <a:solidFill>
                  <a:schemeClr val="accent1"/>
                </a:solidFill>
                <a:latin typeface="+mj-lt"/>
              </a:defRPr>
            </a:lvl1pPr>
          </a:lstStyle>
          <a:p>
            <a:r>
              <a:rPr lang="en-US"/>
              <a:t>Agenda</a:t>
            </a:r>
          </a:p>
        </p:txBody>
      </p:sp>
      <p:sp>
        <p:nvSpPr>
          <p:cNvPr id="9" name="Text Placeholder 8">
            <a:extLst>
              <a:ext uri="{FF2B5EF4-FFF2-40B4-BE49-F238E27FC236}">
                <a16:creationId xmlns:a16="http://schemas.microsoft.com/office/drawing/2014/main" id="{7D0C2672-616F-7E48-D192-190D79314B2A}"/>
              </a:ext>
            </a:extLst>
          </p:cNvPr>
          <p:cNvSpPr>
            <a:spLocks noGrp="1"/>
          </p:cNvSpPr>
          <p:nvPr>
            <p:ph type="body" sz="quarter" idx="13" hasCustomPrompt="1"/>
          </p:nvPr>
        </p:nvSpPr>
        <p:spPr>
          <a:xfrm>
            <a:off x="6572251" y="696686"/>
            <a:ext cx="5121312" cy="5464628"/>
          </a:xfrm>
          <a:prstGeom prst="rect">
            <a:avLst/>
          </a:prstGeom>
        </p:spPr>
        <p:txBody>
          <a:bodyPr anchor="ctr">
            <a:noAutofit/>
          </a:bodyPr>
          <a:lstStyle>
            <a:lvl1pPr marL="0" indent="0">
              <a:lnSpc>
                <a:spcPct val="87000"/>
              </a:lnSpc>
              <a:spcBef>
                <a:spcPts val="900"/>
              </a:spcBef>
              <a:spcAft>
                <a:spcPts val="900"/>
              </a:spcAft>
              <a:buClr>
                <a:srgbClr val="8E71F4"/>
              </a:buClr>
              <a:buFont typeface="ES Build Neutral" pitchFamily="50" charset="0"/>
              <a:buChar char="​"/>
              <a:defRPr sz="3400">
                <a:solidFill>
                  <a:schemeClr val="tx1"/>
                </a:solidFill>
              </a:defRPr>
            </a:lvl1pPr>
            <a:lvl2pPr marL="7938" indent="-7938">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vl6pPr marL="27432" indent="0">
              <a:lnSpc>
                <a:spcPct val="67000"/>
              </a:lnSpc>
              <a:spcBef>
                <a:spcPts val="600"/>
              </a:spcBef>
              <a:spcAft>
                <a:spcPts val="0"/>
              </a:spcAft>
              <a:buFont typeface="ES Build Neutral" pitchFamily="50" charset="0"/>
              <a:buChar char="​"/>
              <a:tabLst/>
              <a:defRPr sz="1200" b="0">
                <a:solidFill>
                  <a:schemeClr val="tx1"/>
                </a:solidFill>
              </a:defRPr>
            </a:lvl6pPr>
            <a:lvl7pPr marL="0" indent="0">
              <a:spcBef>
                <a:spcPts val="1500"/>
              </a:spcBef>
              <a:spcAft>
                <a:spcPts val="0"/>
              </a:spcAft>
              <a:defRPr sz="4400" spc="0" baseline="0">
                <a:solidFill>
                  <a:schemeClr val="tx1"/>
                </a:solidFill>
                <a:latin typeface="ES Build "/>
              </a:defRPr>
            </a:lvl7pPr>
            <a:lvl8pPr marL="27432">
              <a:spcBef>
                <a:spcPts val="0"/>
              </a:spcBef>
              <a:defRPr sz="1600" spc="0">
                <a:solidFill>
                  <a:srgbClr val="8E71F4"/>
                </a:solidFill>
                <a:latin typeface="+mn-lt"/>
              </a:defRPr>
            </a:lvl8pPr>
            <a:lvl9pPr>
              <a:defRPr>
                <a:solidFill>
                  <a:schemeClr val="bg1"/>
                </a:solidFill>
              </a:defRPr>
            </a:lvl9pPr>
          </a:lstStyle>
          <a:p>
            <a:pPr lvl="6"/>
            <a:r>
              <a:rPr lang="en-US"/>
              <a:t>Edit text</a:t>
            </a:r>
          </a:p>
          <a:p>
            <a:pPr lvl="7"/>
            <a:r>
              <a:rPr lang="en-US"/>
              <a:t>Edit text</a:t>
            </a:r>
          </a:p>
          <a:p>
            <a:pPr lvl="5"/>
            <a:r>
              <a:rPr lang="en-US"/>
              <a:t>Edit text</a:t>
            </a:r>
          </a:p>
        </p:txBody>
      </p:sp>
      <p:sp>
        <p:nvSpPr>
          <p:cNvPr id="12" name="object 2">
            <a:extLst>
              <a:ext uri="{FF2B5EF4-FFF2-40B4-BE49-F238E27FC236}">
                <a16:creationId xmlns:a16="http://schemas.microsoft.com/office/drawing/2014/main" id="{EC7EF173-7EEC-F83D-97C8-B7439C2204DB}"/>
              </a:ext>
            </a:extLst>
          </p:cNvPr>
          <p:cNvSpPr/>
          <p:nvPr userDrawn="1"/>
        </p:nvSpPr>
        <p:spPr>
          <a:xfrm>
            <a:off x="542689" y="2076112"/>
            <a:ext cx="543873" cy="543873"/>
          </a:xfrm>
          <a:custGeom>
            <a:avLst/>
            <a:gdLst/>
            <a:ahLst/>
            <a:cxnLst/>
            <a:rect l="l" t="t" r="r" b="b"/>
            <a:pathLst>
              <a:path w="828675" h="828675">
                <a:moveTo>
                  <a:pt x="828121" y="0"/>
                </a:moveTo>
                <a:lnTo>
                  <a:pt x="511712" y="565"/>
                </a:lnTo>
                <a:lnTo>
                  <a:pt x="468206" y="4936"/>
                </a:lnTo>
                <a:lnTo>
                  <a:pt x="426776" y="17574"/>
                </a:lnTo>
                <a:lnTo>
                  <a:pt x="388579" y="37999"/>
                </a:lnTo>
                <a:lnTo>
                  <a:pt x="354774" y="65736"/>
                </a:lnTo>
                <a:lnTo>
                  <a:pt x="65736" y="354774"/>
                </a:lnTo>
                <a:lnTo>
                  <a:pt x="38004" y="388579"/>
                </a:lnTo>
                <a:lnTo>
                  <a:pt x="17577" y="426774"/>
                </a:lnTo>
                <a:lnTo>
                  <a:pt x="4938" y="468201"/>
                </a:lnTo>
                <a:lnTo>
                  <a:pt x="565" y="511701"/>
                </a:lnTo>
                <a:lnTo>
                  <a:pt x="0" y="828110"/>
                </a:lnTo>
                <a:lnTo>
                  <a:pt x="235553" y="828110"/>
                </a:lnTo>
                <a:lnTo>
                  <a:pt x="236087" y="280776"/>
                </a:lnTo>
                <a:lnTo>
                  <a:pt x="239616" y="263356"/>
                </a:lnTo>
                <a:lnTo>
                  <a:pt x="249213" y="249132"/>
                </a:lnTo>
                <a:lnTo>
                  <a:pt x="263438" y="239540"/>
                </a:lnTo>
                <a:lnTo>
                  <a:pt x="280850" y="236013"/>
                </a:lnTo>
                <a:lnTo>
                  <a:pt x="828121" y="235553"/>
                </a:lnTo>
                <a:lnTo>
                  <a:pt x="828121" y="0"/>
                </a:lnTo>
                <a:close/>
              </a:path>
            </a:pathLst>
          </a:custGeom>
          <a:solidFill>
            <a:schemeClr val="bg1"/>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4F5860"/>
              </a:solidFill>
              <a:effectLst/>
              <a:uLnTx/>
              <a:uFillTx/>
            </a:endParaRPr>
          </a:p>
        </p:txBody>
      </p:sp>
      <p:sp>
        <p:nvSpPr>
          <p:cNvPr id="3" name="TextBox 2">
            <a:extLst>
              <a:ext uri="{FF2B5EF4-FFF2-40B4-BE49-F238E27FC236}">
                <a16:creationId xmlns:a16="http://schemas.microsoft.com/office/drawing/2014/main" id="{33F39891-E607-D810-0433-4C2419FE8987}"/>
              </a:ext>
            </a:extLst>
          </p:cNvPr>
          <p:cNvSpPr txBox="1"/>
          <p:nvPr userDrawn="1"/>
        </p:nvSpPr>
        <p:spPr>
          <a:xfrm>
            <a:off x="524142" y="6562481"/>
            <a:ext cx="5293842" cy="107722"/>
          </a:xfrm>
          <a:prstGeom prst="rect">
            <a:avLst/>
          </a:prstGeom>
          <a:noFill/>
        </p:spPr>
        <p:txBody>
          <a:bodyPr wrap="square" lIns="0" tIns="0" rIns="0" bIns="0">
            <a:spAutoFit/>
          </a:bodyPr>
          <a:lstStyle/>
          <a:p>
            <a:r>
              <a:rPr lang="en-US" sz="700">
                <a:solidFill>
                  <a:schemeClr val="bg2"/>
                </a:solidFill>
              </a:rPr>
              <a:t>© 2024 Veeam Software. Confidential information. All rights reserved. All trademarks are the property of their respective owners. </a:t>
            </a:r>
          </a:p>
        </p:txBody>
      </p:sp>
    </p:spTree>
    <p:extLst>
      <p:ext uri="{BB962C8B-B14F-4D97-AF65-F5344CB8AC3E}">
        <p14:creationId xmlns:p14="http://schemas.microsoft.com/office/powerpoint/2010/main" val="240710275"/>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mparison Azure Right">
    <p:spTree>
      <p:nvGrpSpPr>
        <p:cNvPr id="1" name=""/>
        <p:cNvGrpSpPr/>
        <p:nvPr/>
      </p:nvGrpSpPr>
      <p:grpSpPr>
        <a:xfrm>
          <a:off x="0" y="0"/>
          <a:ext cx="0" cy="0"/>
          <a:chOff x="0" y="0"/>
          <a:chExt cx="0" cy="0"/>
        </a:xfrm>
      </p:grpSpPr>
      <p:sp>
        <p:nvSpPr>
          <p:cNvPr id="311" name="Freeform: Shape 310">
            <a:extLst>
              <a:ext uri="{FF2B5EF4-FFF2-40B4-BE49-F238E27FC236}">
                <a16:creationId xmlns:a16="http://schemas.microsoft.com/office/drawing/2014/main" id="{FA3D5559-630B-68EB-88DB-BCC345505905}"/>
              </a:ext>
            </a:extLst>
          </p:cNvPr>
          <p:cNvSpPr/>
          <p:nvPr/>
        </p:nvSpPr>
        <p:spPr>
          <a:xfrm>
            <a:off x="6096000" y="329967"/>
            <a:ext cx="6096000" cy="6528034"/>
          </a:xfrm>
          <a:custGeom>
            <a:avLst/>
            <a:gdLst>
              <a:gd name="connsiteX0" fmla="*/ 498361 w 6096000"/>
              <a:gd name="connsiteY0" fmla="*/ 0 h 6528034"/>
              <a:gd name="connsiteX1" fmla="*/ 2956322 w 6096000"/>
              <a:gd name="connsiteY1" fmla="*/ 0 h 6528034"/>
              <a:gd name="connsiteX2" fmla="*/ 2956322 w 6096000"/>
              <a:gd name="connsiteY2" fmla="*/ 1 h 6528034"/>
              <a:gd name="connsiteX3" fmla="*/ 3133467 w 6096000"/>
              <a:gd name="connsiteY3" fmla="*/ 1 h 6528034"/>
              <a:gd name="connsiteX4" fmla="*/ 5254219 w 6096000"/>
              <a:gd name="connsiteY4" fmla="*/ 1 h 6528034"/>
              <a:gd name="connsiteX5" fmla="*/ 5254219 w 6096000"/>
              <a:gd name="connsiteY5" fmla="*/ 2612 h 6528034"/>
              <a:gd name="connsiteX6" fmla="*/ 5334022 w 6096000"/>
              <a:gd name="connsiteY6" fmla="*/ 2594 h 6528034"/>
              <a:gd name="connsiteX7" fmla="*/ 5567834 w 6096000"/>
              <a:gd name="connsiteY7" fmla="*/ 100419 h 6528034"/>
              <a:gd name="connsiteX8" fmla="*/ 5998174 w 6096000"/>
              <a:gd name="connsiteY8" fmla="*/ 530758 h 6528034"/>
              <a:gd name="connsiteX9" fmla="*/ 6089287 w 6096000"/>
              <a:gd name="connsiteY9" fmla="*/ 699850 h 6528034"/>
              <a:gd name="connsiteX10" fmla="*/ 6092847 w 6096000"/>
              <a:gd name="connsiteY10" fmla="*/ 734186 h 6528034"/>
              <a:gd name="connsiteX11" fmla="*/ 6094720 w 6096000"/>
              <a:gd name="connsiteY11" fmla="*/ 734187 h 6528034"/>
              <a:gd name="connsiteX12" fmla="*/ 6094720 w 6096000"/>
              <a:gd name="connsiteY12" fmla="*/ 752239 h 6528034"/>
              <a:gd name="connsiteX13" fmla="*/ 6096000 w 6096000"/>
              <a:gd name="connsiteY13" fmla="*/ 764572 h 6528034"/>
              <a:gd name="connsiteX14" fmla="*/ 6095930 w 6096000"/>
              <a:gd name="connsiteY14" fmla="*/ 1081147 h 6528034"/>
              <a:gd name="connsiteX15" fmla="*/ 6095926 w 6096000"/>
              <a:gd name="connsiteY15" fmla="*/ 1105640 h 6528034"/>
              <a:gd name="connsiteX16" fmla="*/ 6096000 w 6096000"/>
              <a:gd name="connsiteY16" fmla="*/ 1106355 h 6528034"/>
              <a:gd name="connsiteX17" fmla="*/ 6095896 w 6096000"/>
              <a:gd name="connsiteY17" fmla="*/ 1578910 h 6528034"/>
              <a:gd name="connsiteX18" fmla="*/ 6095210 w 6096000"/>
              <a:gd name="connsiteY18" fmla="*/ 1578912 h 6528034"/>
              <a:gd name="connsiteX19" fmla="*/ 6094720 w 6096000"/>
              <a:gd name="connsiteY19" fmla="*/ 1578914 h 6528034"/>
              <a:gd name="connsiteX20" fmla="*/ 6094720 w 6096000"/>
              <a:gd name="connsiteY20" fmla="*/ 1676436 h 6528034"/>
              <a:gd name="connsiteX21" fmla="*/ 6094720 w 6096000"/>
              <a:gd name="connsiteY21" fmla="*/ 1939724 h 6528034"/>
              <a:gd name="connsiteX22" fmla="*/ 6094720 w 6096000"/>
              <a:gd name="connsiteY22" fmla="*/ 1957771 h 6528034"/>
              <a:gd name="connsiteX23" fmla="*/ 6096000 w 6096000"/>
              <a:gd name="connsiteY23" fmla="*/ 1970105 h 6528034"/>
              <a:gd name="connsiteX24" fmla="*/ 6095930 w 6096000"/>
              <a:gd name="connsiteY24" fmla="*/ 2286686 h 6528034"/>
              <a:gd name="connsiteX25" fmla="*/ 6095926 w 6096000"/>
              <a:gd name="connsiteY25" fmla="*/ 2311171 h 6528034"/>
              <a:gd name="connsiteX26" fmla="*/ 6095999 w 6096000"/>
              <a:gd name="connsiteY26" fmla="*/ 2311888 h 6528034"/>
              <a:gd name="connsiteX27" fmla="*/ 6095896 w 6096000"/>
              <a:gd name="connsiteY27" fmla="*/ 2784449 h 6528034"/>
              <a:gd name="connsiteX28" fmla="*/ 6095210 w 6096000"/>
              <a:gd name="connsiteY28" fmla="*/ 2784450 h 6528034"/>
              <a:gd name="connsiteX29" fmla="*/ 6094720 w 6096000"/>
              <a:gd name="connsiteY29" fmla="*/ 2784451 h 6528034"/>
              <a:gd name="connsiteX30" fmla="*/ 6094720 w 6096000"/>
              <a:gd name="connsiteY30" fmla="*/ 2881981 h 6528034"/>
              <a:gd name="connsiteX31" fmla="*/ 6094720 w 6096000"/>
              <a:gd name="connsiteY31" fmla="*/ 3094524 h 6528034"/>
              <a:gd name="connsiteX32" fmla="*/ 6094720 w 6096000"/>
              <a:gd name="connsiteY32" fmla="*/ 3223754 h 6528034"/>
              <a:gd name="connsiteX33" fmla="*/ 6094720 w 6096000"/>
              <a:gd name="connsiteY33" fmla="*/ 3316620 h 6528034"/>
              <a:gd name="connsiteX34" fmla="*/ 6094720 w 6096000"/>
              <a:gd name="connsiteY34" fmla="*/ 3436291 h 6528034"/>
              <a:gd name="connsiteX35" fmla="*/ 6094720 w 6096000"/>
              <a:gd name="connsiteY35" fmla="*/ 3524159 h 6528034"/>
              <a:gd name="connsiteX36" fmla="*/ 6094720 w 6096000"/>
              <a:gd name="connsiteY36" fmla="*/ 3612822 h 6528034"/>
              <a:gd name="connsiteX37" fmla="*/ 6096000 w 6096000"/>
              <a:gd name="connsiteY37" fmla="*/ 3625155 h 6528034"/>
              <a:gd name="connsiteX38" fmla="*/ 6095930 w 6096000"/>
              <a:gd name="connsiteY38" fmla="*/ 3941730 h 6528034"/>
              <a:gd name="connsiteX39" fmla="*/ 6095926 w 6096000"/>
              <a:gd name="connsiteY39" fmla="*/ 3966224 h 6528034"/>
              <a:gd name="connsiteX40" fmla="*/ 6096000 w 6096000"/>
              <a:gd name="connsiteY40" fmla="*/ 3966938 h 6528034"/>
              <a:gd name="connsiteX41" fmla="*/ 6095995 w 6096000"/>
              <a:gd name="connsiteY41" fmla="*/ 3991859 h 6528034"/>
              <a:gd name="connsiteX42" fmla="*/ 6095993 w 6096000"/>
              <a:gd name="connsiteY42" fmla="*/ 4001046 h 6528034"/>
              <a:gd name="connsiteX43" fmla="*/ 6095999 w 6096000"/>
              <a:gd name="connsiteY43" fmla="*/ 4001118 h 6528034"/>
              <a:gd name="connsiteX44" fmla="*/ 6095930 w 6096000"/>
              <a:gd name="connsiteY44" fmla="*/ 4317694 h 6528034"/>
              <a:gd name="connsiteX45" fmla="*/ 6095926 w 6096000"/>
              <a:gd name="connsiteY45" fmla="*/ 4342186 h 6528034"/>
              <a:gd name="connsiteX46" fmla="*/ 6096000 w 6096000"/>
              <a:gd name="connsiteY46" fmla="*/ 4342902 h 6528034"/>
              <a:gd name="connsiteX47" fmla="*/ 6095896 w 6096000"/>
              <a:gd name="connsiteY47" fmla="*/ 4815458 h 6528034"/>
              <a:gd name="connsiteX48" fmla="*/ 6095209 w 6096000"/>
              <a:gd name="connsiteY48" fmla="*/ 4815459 h 6528034"/>
              <a:gd name="connsiteX49" fmla="*/ 6094720 w 6096000"/>
              <a:gd name="connsiteY49" fmla="*/ 4815459 h 6528034"/>
              <a:gd name="connsiteX50" fmla="*/ 6094720 w 6096000"/>
              <a:gd name="connsiteY50" fmla="*/ 4901060 h 6528034"/>
              <a:gd name="connsiteX51" fmla="*/ 6094720 w 6096000"/>
              <a:gd name="connsiteY51" fmla="*/ 5109958 h 6528034"/>
              <a:gd name="connsiteX52" fmla="*/ 6094720 w 6096000"/>
              <a:gd name="connsiteY52" fmla="*/ 5202832 h 6528034"/>
              <a:gd name="connsiteX53" fmla="*/ 6094720 w 6096000"/>
              <a:gd name="connsiteY53" fmla="*/ 5242844 h 6528034"/>
              <a:gd name="connsiteX54" fmla="*/ 6094720 w 6096000"/>
              <a:gd name="connsiteY54" fmla="*/ 5544616 h 6528034"/>
              <a:gd name="connsiteX55" fmla="*/ 6094720 w 6096000"/>
              <a:gd name="connsiteY55" fmla="*/ 5884479 h 6528034"/>
              <a:gd name="connsiteX56" fmla="*/ 6094720 w 6096000"/>
              <a:gd name="connsiteY56" fmla="*/ 6186250 h 6528034"/>
              <a:gd name="connsiteX57" fmla="*/ 6094720 w 6096000"/>
              <a:gd name="connsiteY57" fmla="*/ 6226262 h 6528034"/>
              <a:gd name="connsiteX58" fmla="*/ 6094720 w 6096000"/>
              <a:gd name="connsiteY58" fmla="*/ 6528034 h 6528034"/>
              <a:gd name="connsiteX59" fmla="*/ 5774783 w 6096000"/>
              <a:gd name="connsiteY59" fmla="*/ 6528034 h 6528034"/>
              <a:gd name="connsiteX60" fmla="*/ 5597638 w 6096000"/>
              <a:gd name="connsiteY60" fmla="*/ 6528034 h 6528034"/>
              <a:gd name="connsiteX61" fmla="*/ 3636760 w 6096000"/>
              <a:gd name="connsiteY61" fmla="*/ 6528034 h 6528034"/>
              <a:gd name="connsiteX62" fmla="*/ 3459615 w 6096000"/>
              <a:gd name="connsiteY62" fmla="*/ 6528034 h 6528034"/>
              <a:gd name="connsiteX63" fmla="*/ 3139677 w 6096000"/>
              <a:gd name="connsiteY63" fmla="*/ 6528034 h 6528034"/>
              <a:gd name="connsiteX64" fmla="*/ 3139677 w 6096000"/>
              <a:gd name="connsiteY64" fmla="*/ 6528032 h 6528034"/>
              <a:gd name="connsiteX65" fmla="*/ 2962532 w 6096000"/>
              <a:gd name="connsiteY65" fmla="*/ 6528032 h 6528034"/>
              <a:gd name="connsiteX66" fmla="*/ 841782 w 6096000"/>
              <a:gd name="connsiteY66" fmla="*/ 6528032 h 6528034"/>
              <a:gd name="connsiteX67" fmla="*/ 841782 w 6096000"/>
              <a:gd name="connsiteY67" fmla="*/ 6527773 h 6528034"/>
              <a:gd name="connsiteX68" fmla="*/ 761978 w 6096000"/>
              <a:gd name="connsiteY68" fmla="*/ 6527791 h 6528034"/>
              <a:gd name="connsiteX69" fmla="*/ 528166 w 6096000"/>
              <a:gd name="connsiteY69" fmla="*/ 6429965 h 6528034"/>
              <a:gd name="connsiteX70" fmla="*/ 97826 w 6096000"/>
              <a:gd name="connsiteY70" fmla="*/ 5999627 h 6528034"/>
              <a:gd name="connsiteX71" fmla="*/ 2 w 6096000"/>
              <a:gd name="connsiteY71" fmla="*/ 5765813 h 6528034"/>
              <a:gd name="connsiteX72" fmla="*/ 57 w 6096000"/>
              <a:gd name="connsiteY72" fmla="*/ 5512346 h 6528034"/>
              <a:gd name="connsiteX73" fmla="*/ 67 w 6096000"/>
              <a:gd name="connsiteY73" fmla="*/ 5464670 h 6528034"/>
              <a:gd name="connsiteX74" fmla="*/ 2 w 6096000"/>
              <a:gd name="connsiteY74" fmla="*/ 5464039 h 6528034"/>
              <a:gd name="connsiteX75" fmla="*/ 7 w 6096000"/>
              <a:gd name="connsiteY75" fmla="*/ 5439119 h 6528034"/>
              <a:gd name="connsiteX76" fmla="*/ 10 w 6096000"/>
              <a:gd name="connsiteY76" fmla="*/ 5424128 h 6528034"/>
              <a:gd name="connsiteX77" fmla="*/ 0 w 6096000"/>
              <a:gd name="connsiteY77" fmla="*/ 5424029 h 6528034"/>
              <a:gd name="connsiteX78" fmla="*/ 55 w 6096000"/>
              <a:gd name="connsiteY78" fmla="*/ 5170563 h 6528034"/>
              <a:gd name="connsiteX79" fmla="*/ 66 w 6096000"/>
              <a:gd name="connsiteY79" fmla="*/ 5122889 h 6528034"/>
              <a:gd name="connsiteX80" fmla="*/ 0 w 6096000"/>
              <a:gd name="connsiteY80" fmla="*/ 5122257 h 6528034"/>
              <a:gd name="connsiteX81" fmla="*/ 103 w 6096000"/>
              <a:gd name="connsiteY81" fmla="*/ 4649702 h 6528034"/>
              <a:gd name="connsiteX82" fmla="*/ 790 w 6096000"/>
              <a:gd name="connsiteY82" fmla="*/ 4649701 h 6528034"/>
              <a:gd name="connsiteX83" fmla="*/ 1276 w 6096000"/>
              <a:gd name="connsiteY83" fmla="*/ 4649700 h 6528034"/>
              <a:gd name="connsiteX84" fmla="*/ 1277 w 6096000"/>
              <a:gd name="connsiteY84" fmla="*/ 3891898 h 6528034"/>
              <a:gd name="connsiteX85" fmla="*/ 1 w 6096000"/>
              <a:gd name="connsiteY85" fmla="*/ 3879598 h 6528034"/>
              <a:gd name="connsiteX86" fmla="*/ 70 w 6096000"/>
              <a:gd name="connsiteY86" fmla="*/ 3563023 h 6528034"/>
              <a:gd name="connsiteX87" fmla="*/ 76 w 6096000"/>
              <a:gd name="connsiteY87" fmla="*/ 3538548 h 6528034"/>
              <a:gd name="connsiteX88" fmla="*/ 0 w 6096000"/>
              <a:gd name="connsiteY88" fmla="*/ 3537818 h 6528034"/>
              <a:gd name="connsiteX89" fmla="*/ 103 w 6096000"/>
              <a:gd name="connsiteY89" fmla="*/ 3065277 h 6528034"/>
              <a:gd name="connsiteX90" fmla="*/ 791 w 6096000"/>
              <a:gd name="connsiteY90" fmla="*/ 3065276 h 6528034"/>
              <a:gd name="connsiteX91" fmla="*/ 1277 w 6096000"/>
              <a:gd name="connsiteY91" fmla="*/ 3065275 h 6528034"/>
              <a:gd name="connsiteX92" fmla="*/ 1277 w 6096000"/>
              <a:gd name="connsiteY92" fmla="*/ 2686371 h 6528034"/>
              <a:gd name="connsiteX93" fmla="*/ 2 w 6096000"/>
              <a:gd name="connsiteY93" fmla="*/ 2674072 h 6528034"/>
              <a:gd name="connsiteX94" fmla="*/ 70 w 6096000"/>
              <a:gd name="connsiteY94" fmla="*/ 2357496 h 6528034"/>
              <a:gd name="connsiteX95" fmla="*/ 75 w 6096000"/>
              <a:gd name="connsiteY95" fmla="*/ 2333023 h 6528034"/>
              <a:gd name="connsiteX96" fmla="*/ 0 w 6096000"/>
              <a:gd name="connsiteY96" fmla="*/ 2332286 h 6528034"/>
              <a:gd name="connsiteX97" fmla="*/ 102 w 6096000"/>
              <a:gd name="connsiteY97" fmla="*/ 1859734 h 6528034"/>
              <a:gd name="connsiteX98" fmla="*/ 790 w 6096000"/>
              <a:gd name="connsiteY98" fmla="*/ 1859730 h 6528034"/>
              <a:gd name="connsiteX99" fmla="*/ 1277 w 6096000"/>
              <a:gd name="connsiteY99" fmla="*/ 1859730 h 6528034"/>
              <a:gd name="connsiteX100" fmla="*/ 1277 w 6096000"/>
              <a:gd name="connsiteY100" fmla="*/ 734186 h 6528034"/>
              <a:gd name="connsiteX101" fmla="*/ 1278 w 6096000"/>
              <a:gd name="connsiteY101" fmla="*/ 734186 h 6528034"/>
              <a:gd name="connsiteX102" fmla="*/ 1278 w 6096000"/>
              <a:gd name="connsiteY102" fmla="*/ 1 h 652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6096000" h="6528034">
                <a:moveTo>
                  <a:pt x="498361" y="0"/>
                </a:moveTo>
                <a:lnTo>
                  <a:pt x="2956322" y="0"/>
                </a:lnTo>
                <a:lnTo>
                  <a:pt x="2956322" y="1"/>
                </a:lnTo>
                <a:lnTo>
                  <a:pt x="3133467" y="1"/>
                </a:lnTo>
                <a:lnTo>
                  <a:pt x="5254219" y="1"/>
                </a:lnTo>
                <a:lnTo>
                  <a:pt x="5254219" y="2612"/>
                </a:lnTo>
                <a:lnTo>
                  <a:pt x="5334022" y="2594"/>
                </a:lnTo>
                <a:cubicBezTo>
                  <a:pt x="5421676" y="3113"/>
                  <a:pt x="5505980" y="38567"/>
                  <a:pt x="5567834" y="100419"/>
                </a:cubicBezTo>
                <a:cubicBezTo>
                  <a:pt x="5567834" y="100419"/>
                  <a:pt x="5567834" y="100419"/>
                  <a:pt x="5998174" y="530758"/>
                </a:cubicBezTo>
                <a:cubicBezTo>
                  <a:pt x="6045058" y="577643"/>
                  <a:pt x="6076350" y="636415"/>
                  <a:pt x="6089287" y="699850"/>
                </a:cubicBezTo>
                <a:lnTo>
                  <a:pt x="6092847" y="734186"/>
                </a:lnTo>
                <a:lnTo>
                  <a:pt x="6094720" y="734187"/>
                </a:lnTo>
                <a:lnTo>
                  <a:pt x="6094720" y="752239"/>
                </a:lnTo>
                <a:lnTo>
                  <a:pt x="6096000" y="764572"/>
                </a:lnTo>
                <a:cubicBezTo>
                  <a:pt x="6096000" y="764572"/>
                  <a:pt x="6096000" y="764572"/>
                  <a:pt x="6095930" y="1081147"/>
                </a:cubicBezTo>
                <a:lnTo>
                  <a:pt x="6095926" y="1105640"/>
                </a:lnTo>
                <a:lnTo>
                  <a:pt x="6096000" y="1106355"/>
                </a:lnTo>
                <a:cubicBezTo>
                  <a:pt x="6096000" y="1106355"/>
                  <a:pt x="6096000" y="1106355"/>
                  <a:pt x="6095896" y="1578910"/>
                </a:cubicBezTo>
                <a:cubicBezTo>
                  <a:pt x="6095896" y="1578910"/>
                  <a:pt x="6095896" y="1578910"/>
                  <a:pt x="6095210" y="1578912"/>
                </a:cubicBezTo>
                <a:lnTo>
                  <a:pt x="6094720" y="1578914"/>
                </a:lnTo>
                <a:lnTo>
                  <a:pt x="6094720" y="1676436"/>
                </a:lnTo>
                <a:lnTo>
                  <a:pt x="6094720" y="1939724"/>
                </a:lnTo>
                <a:lnTo>
                  <a:pt x="6094720" y="1957771"/>
                </a:lnTo>
                <a:lnTo>
                  <a:pt x="6096000" y="1970105"/>
                </a:lnTo>
                <a:cubicBezTo>
                  <a:pt x="6096000" y="1970105"/>
                  <a:pt x="6096000" y="1970105"/>
                  <a:pt x="6095930" y="2286686"/>
                </a:cubicBezTo>
                <a:lnTo>
                  <a:pt x="6095926" y="2311171"/>
                </a:lnTo>
                <a:lnTo>
                  <a:pt x="6095999" y="2311888"/>
                </a:lnTo>
                <a:cubicBezTo>
                  <a:pt x="6095999" y="2311888"/>
                  <a:pt x="6095999" y="2311888"/>
                  <a:pt x="6095896" y="2784449"/>
                </a:cubicBezTo>
                <a:cubicBezTo>
                  <a:pt x="6095896" y="2784449"/>
                  <a:pt x="6095896" y="2784449"/>
                  <a:pt x="6095210" y="2784450"/>
                </a:cubicBezTo>
                <a:lnTo>
                  <a:pt x="6094720" y="2784451"/>
                </a:lnTo>
                <a:lnTo>
                  <a:pt x="6094720" y="2881981"/>
                </a:lnTo>
                <a:lnTo>
                  <a:pt x="6094720" y="3094524"/>
                </a:lnTo>
                <a:lnTo>
                  <a:pt x="6094720" y="3223754"/>
                </a:lnTo>
                <a:lnTo>
                  <a:pt x="6094720" y="3316620"/>
                </a:lnTo>
                <a:lnTo>
                  <a:pt x="6094720" y="3436291"/>
                </a:lnTo>
                <a:lnTo>
                  <a:pt x="6094720" y="3524159"/>
                </a:lnTo>
                <a:lnTo>
                  <a:pt x="6094720" y="3612822"/>
                </a:lnTo>
                <a:lnTo>
                  <a:pt x="6096000" y="3625155"/>
                </a:lnTo>
                <a:cubicBezTo>
                  <a:pt x="6096000" y="3625155"/>
                  <a:pt x="6096000" y="3625155"/>
                  <a:pt x="6095930" y="3941730"/>
                </a:cubicBezTo>
                <a:lnTo>
                  <a:pt x="6095926" y="3966224"/>
                </a:lnTo>
                <a:lnTo>
                  <a:pt x="6096000" y="3966938"/>
                </a:lnTo>
                <a:cubicBezTo>
                  <a:pt x="6096000" y="3966938"/>
                  <a:pt x="6096000" y="3966938"/>
                  <a:pt x="6095995" y="3991859"/>
                </a:cubicBezTo>
                <a:lnTo>
                  <a:pt x="6095993" y="4001046"/>
                </a:lnTo>
                <a:lnTo>
                  <a:pt x="6095999" y="4001118"/>
                </a:lnTo>
                <a:cubicBezTo>
                  <a:pt x="6095999" y="4001118"/>
                  <a:pt x="6095999" y="4001118"/>
                  <a:pt x="6095930" y="4317694"/>
                </a:cubicBezTo>
                <a:lnTo>
                  <a:pt x="6095926" y="4342186"/>
                </a:lnTo>
                <a:lnTo>
                  <a:pt x="6096000" y="4342902"/>
                </a:lnTo>
                <a:cubicBezTo>
                  <a:pt x="6096000" y="4342902"/>
                  <a:pt x="6096000" y="4342902"/>
                  <a:pt x="6095896" y="4815458"/>
                </a:cubicBezTo>
                <a:cubicBezTo>
                  <a:pt x="6095896" y="4815458"/>
                  <a:pt x="6095896" y="4815458"/>
                  <a:pt x="6095209" y="4815459"/>
                </a:cubicBezTo>
                <a:lnTo>
                  <a:pt x="6094720" y="4815459"/>
                </a:lnTo>
                <a:lnTo>
                  <a:pt x="6094720" y="4901060"/>
                </a:lnTo>
                <a:lnTo>
                  <a:pt x="6094720" y="5109958"/>
                </a:lnTo>
                <a:lnTo>
                  <a:pt x="6094720" y="5202832"/>
                </a:lnTo>
                <a:lnTo>
                  <a:pt x="6094720" y="5242844"/>
                </a:lnTo>
                <a:lnTo>
                  <a:pt x="6094720" y="5544616"/>
                </a:lnTo>
                <a:lnTo>
                  <a:pt x="6094720" y="5884479"/>
                </a:lnTo>
                <a:lnTo>
                  <a:pt x="6094720" y="6186250"/>
                </a:lnTo>
                <a:lnTo>
                  <a:pt x="6094720" y="6226262"/>
                </a:lnTo>
                <a:lnTo>
                  <a:pt x="6094720" y="6528034"/>
                </a:lnTo>
                <a:lnTo>
                  <a:pt x="5774783" y="6528034"/>
                </a:lnTo>
                <a:lnTo>
                  <a:pt x="5597638" y="6528034"/>
                </a:lnTo>
                <a:lnTo>
                  <a:pt x="3636760" y="6528034"/>
                </a:lnTo>
                <a:lnTo>
                  <a:pt x="3459615" y="6528034"/>
                </a:lnTo>
                <a:lnTo>
                  <a:pt x="3139677" y="6528034"/>
                </a:lnTo>
                <a:lnTo>
                  <a:pt x="3139677" y="6528032"/>
                </a:lnTo>
                <a:lnTo>
                  <a:pt x="2962532" y="6528032"/>
                </a:lnTo>
                <a:lnTo>
                  <a:pt x="841782" y="6528032"/>
                </a:lnTo>
                <a:lnTo>
                  <a:pt x="841782" y="6527773"/>
                </a:lnTo>
                <a:lnTo>
                  <a:pt x="761978" y="6527791"/>
                </a:lnTo>
                <a:cubicBezTo>
                  <a:pt x="674323" y="6527273"/>
                  <a:pt x="590019" y="6491819"/>
                  <a:pt x="528166" y="6429965"/>
                </a:cubicBezTo>
                <a:cubicBezTo>
                  <a:pt x="528166" y="6429965"/>
                  <a:pt x="528166" y="6429965"/>
                  <a:pt x="97826" y="5999627"/>
                </a:cubicBezTo>
                <a:cubicBezTo>
                  <a:pt x="35315" y="5937116"/>
                  <a:pt x="519" y="5853470"/>
                  <a:pt x="2" y="5765813"/>
                </a:cubicBezTo>
                <a:cubicBezTo>
                  <a:pt x="2" y="5765813"/>
                  <a:pt x="2" y="5765813"/>
                  <a:pt x="57" y="5512346"/>
                </a:cubicBezTo>
                <a:lnTo>
                  <a:pt x="67" y="5464670"/>
                </a:lnTo>
                <a:lnTo>
                  <a:pt x="2" y="5464039"/>
                </a:lnTo>
                <a:cubicBezTo>
                  <a:pt x="2" y="5464039"/>
                  <a:pt x="2" y="5464039"/>
                  <a:pt x="7" y="5439119"/>
                </a:cubicBezTo>
                <a:lnTo>
                  <a:pt x="10" y="5424128"/>
                </a:lnTo>
                <a:lnTo>
                  <a:pt x="0" y="5424029"/>
                </a:lnTo>
                <a:cubicBezTo>
                  <a:pt x="0" y="5424029"/>
                  <a:pt x="0" y="5424029"/>
                  <a:pt x="55" y="5170563"/>
                </a:cubicBezTo>
                <a:lnTo>
                  <a:pt x="66" y="5122889"/>
                </a:lnTo>
                <a:lnTo>
                  <a:pt x="0" y="5122257"/>
                </a:lnTo>
                <a:cubicBezTo>
                  <a:pt x="0" y="5122257"/>
                  <a:pt x="0" y="5122257"/>
                  <a:pt x="103" y="4649702"/>
                </a:cubicBezTo>
                <a:cubicBezTo>
                  <a:pt x="103" y="4649702"/>
                  <a:pt x="103" y="4649702"/>
                  <a:pt x="790" y="4649701"/>
                </a:cubicBezTo>
                <a:lnTo>
                  <a:pt x="1276" y="4649700"/>
                </a:lnTo>
                <a:lnTo>
                  <a:pt x="1277" y="3891898"/>
                </a:lnTo>
                <a:lnTo>
                  <a:pt x="1" y="3879598"/>
                </a:lnTo>
                <a:cubicBezTo>
                  <a:pt x="1" y="3879598"/>
                  <a:pt x="1" y="3879598"/>
                  <a:pt x="70" y="3563023"/>
                </a:cubicBezTo>
                <a:lnTo>
                  <a:pt x="76" y="3538548"/>
                </a:lnTo>
                <a:lnTo>
                  <a:pt x="0" y="3537818"/>
                </a:lnTo>
                <a:cubicBezTo>
                  <a:pt x="0" y="3537818"/>
                  <a:pt x="0" y="3537818"/>
                  <a:pt x="103" y="3065277"/>
                </a:cubicBezTo>
                <a:cubicBezTo>
                  <a:pt x="103" y="3065277"/>
                  <a:pt x="103" y="3065277"/>
                  <a:pt x="791" y="3065276"/>
                </a:cubicBezTo>
                <a:lnTo>
                  <a:pt x="1277" y="3065275"/>
                </a:lnTo>
                <a:lnTo>
                  <a:pt x="1277" y="2686371"/>
                </a:lnTo>
                <a:lnTo>
                  <a:pt x="2" y="2674072"/>
                </a:lnTo>
                <a:cubicBezTo>
                  <a:pt x="2" y="2674072"/>
                  <a:pt x="2" y="2674072"/>
                  <a:pt x="70" y="2357496"/>
                </a:cubicBezTo>
                <a:lnTo>
                  <a:pt x="75" y="2333023"/>
                </a:lnTo>
                <a:lnTo>
                  <a:pt x="0" y="2332286"/>
                </a:lnTo>
                <a:cubicBezTo>
                  <a:pt x="0" y="2332286"/>
                  <a:pt x="0" y="2332286"/>
                  <a:pt x="102" y="1859734"/>
                </a:cubicBezTo>
                <a:cubicBezTo>
                  <a:pt x="102" y="1859734"/>
                  <a:pt x="102" y="1859734"/>
                  <a:pt x="790" y="1859730"/>
                </a:cubicBezTo>
                <a:lnTo>
                  <a:pt x="1277" y="1859730"/>
                </a:lnTo>
                <a:lnTo>
                  <a:pt x="1277" y="734186"/>
                </a:lnTo>
                <a:lnTo>
                  <a:pt x="1278" y="734186"/>
                </a:lnTo>
                <a:lnTo>
                  <a:pt x="1278" y="1"/>
                </a:ln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Title 1">
            <a:extLst>
              <a:ext uri="{FF2B5EF4-FFF2-40B4-BE49-F238E27FC236}">
                <a16:creationId xmlns:a16="http://schemas.microsoft.com/office/drawing/2014/main" id="{951EE247-A1E4-4614-0D9D-D5DECA82587F}"/>
              </a:ext>
            </a:extLst>
          </p:cNvPr>
          <p:cNvSpPr>
            <a:spLocks noGrp="1"/>
          </p:cNvSpPr>
          <p:nvPr>
            <p:ph type="title"/>
          </p:nvPr>
        </p:nvSpPr>
        <p:spPr>
          <a:xfrm>
            <a:off x="493714" y="579438"/>
            <a:ext cx="5113896" cy="792162"/>
          </a:xfrm>
        </p:spPr>
        <p:txBody>
          <a:bodyPr anchor="t">
            <a:noAutofit/>
          </a:bodyPr>
          <a:lstStyle>
            <a:lvl1pPr>
              <a:lnSpc>
                <a:spcPct val="85000"/>
              </a:lnSpc>
              <a:defRPr/>
            </a:lvl1pPr>
          </a:lstStyle>
          <a:p>
            <a:r>
              <a:rPr lang="en-US"/>
              <a:t>Click to edit Master title style</a:t>
            </a:r>
          </a:p>
        </p:txBody>
      </p:sp>
      <p:sp>
        <p:nvSpPr>
          <p:cNvPr id="11" name="Text Placeholder 12">
            <a:extLst>
              <a:ext uri="{FF2B5EF4-FFF2-40B4-BE49-F238E27FC236}">
                <a16:creationId xmlns:a16="http://schemas.microsoft.com/office/drawing/2014/main" id="{C4642B5E-8C94-17D3-F93F-3840B02EA831}"/>
              </a:ext>
            </a:extLst>
          </p:cNvPr>
          <p:cNvSpPr>
            <a:spLocks noGrp="1"/>
          </p:cNvSpPr>
          <p:nvPr>
            <p:ph type="body" sz="quarter" idx="14"/>
          </p:nvPr>
        </p:nvSpPr>
        <p:spPr>
          <a:xfrm>
            <a:off x="6572250" y="1382889"/>
            <a:ext cx="5126366" cy="336374"/>
          </a:xfrm>
        </p:spPr>
        <p:txBody>
          <a:bodyPr anchor="t">
            <a:noAutofit/>
          </a:bodyPr>
          <a:lstStyle>
            <a:lvl1pPr marL="0" indent="0">
              <a:buNone/>
              <a:defRPr sz="2100">
                <a:solidFill>
                  <a:schemeClr val="bg1"/>
                </a:solidFill>
                <a:latin typeface="ES Build "/>
              </a:defRPr>
            </a:lvl1pPr>
          </a:lstStyle>
          <a:p>
            <a:pPr lvl="0"/>
            <a:r>
              <a:rPr lang="en-US"/>
              <a:t>Click to edit Master text styles</a:t>
            </a:r>
          </a:p>
        </p:txBody>
      </p:sp>
      <p:sp>
        <p:nvSpPr>
          <p:cNvPr id="14" name="Subtitle 2">
            <a:extLst>
              <a:ext uri="{FF2B5EF4-FFF2-40B4-BE49-F238E27FC236}">
                <a16:creationId xmlns:a16="http://schemas.microsoft.com/office/drawing/2014/main" id="{3007A138-C620-C216-81D8-D8E61813A097}"/>
              </a:ext>
            </a:extLst>
          </p:cNvPr>
          <p:cNvSpPr>
            <a:spLocks noGrp="1"/>
          </p:cNvSpPr>
          <p:nvPr>
            <p:ph type="subTitle" idx="1"/>
          </p:nvPr>
        </p:nvSpPr>
        <p:spPr>
          <a:xfrm>
            <a:off x="493714" y="1371600"/>
            <a:ext cx="5113896" cy="347663"/>
          </a:xfrm>
        </p:spPr>
        <p:txBody>
          <a:bodyPr anchor="t">
            <a:noAutofit/>
          </a:bodyPr>
          <a:lstStyle>
            <a:lvl1pPr marL="0" indent="0" algn="l">
              <a:buNone/>
              <a:defRPr sz="21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Text Placeholder 11">
            <a:extLst>
              <a:ext uri="{FF2B5EF4-FFF2-40B4-BE49-F238E27FC236}">
                <a16:creationId xmlns:a16="http://schemas.microsoft.com/office/drawing/2014/main" id="{CB80F05A-F7DA-DFAD-C0FF-D23A8B833D91}"/>
              </a:ext>
            </a:extLst>
          </p:cNvPr>
          <p:cNvSpPr>
            <a:spLocks noGrp="1"/>
          </p:cNvSpPr>
          <p:nvPr>
            <p:ph type="body" sz="quarter" idx="16"/>
          </p:nvPr>
        </p:nvSpPr>
        <p:spPr>
          <a:xfrm>
            <a:off x="6572250" y="579439"/>
            <a:ext cx="5126365" cy="792162"/>
          </a:xfrm>
        </p:spPr>
        <p:txBody>
          <a:bodyPr anchor="t">
            <a:noAutofit/>
          </a:bodyPr>
          <a:lstStyle>
            <a:lvl1pPr marL="0" indent="0">
              <a:lnSpc>
                <a:spcPct val="85000"/>
              </a:lnSpc>
              <a:buNone/>
              <a:defRPr sz="3400">
                <a:solidFill>
                  <a:schemeClr val="bg1"/>
                </a:solidFill>
                <a:latin typeface="+mn-lt"/>
              </a:defRPr>
            </a:lvl1pPr>
          </a:lstStyle>
          <a:p>
            <a:pPr lvl="0"/>
            <a:r>
              <a:rPr lang="en-US"/>
              <a:t>Click to edit Master text styles</a:t>
            </a:r>
          </a:p>
        </p:txBody>
      </p:sp>
      <p:sp>
        <p:nvSpPr>
          <p:cNvPr id="16" name="Footer Placeholder 66">
            <a:extLst>
              <a:ext uri="{FF2B5EF4-FFF2-40B4-BE49-F238E27FC236}">
                <a16:creationId xmlns:a16="http://schemas.microsoft.com/office/drawing/2014/main" id="{88A25FED-7651-669D-F6ED-C0383FDEB7A6}"/>
              </a:ext>
            </a:extLst>
          </p:cNvPr>
          <p:cNvSpPr>
            <a:spLocks noGrp="1"/>
          </p:cNvSpPr>
          <p:nvPr>
            <p:ph type="ftr" sz="quarter" idx="3"/>
          </p:nvPr>
        </p:nvSpPr>
        <p:spPr>
          <a:xfrm>
            <a:off x="493290" y="6405456"/>
            <a:ext cx="5124874" cy="107722"/>
          </a:xfrm>
          <a:prstGeom prst="rect">
            <a:avLst/>
          </a:prstGeom>
        </p:spPr>
        <p:txBody>
          <a:bodyPr vert="horz" lIns="0" tIns="0" rIns="0" bIns="0" rtlCol="0" anchor="b"/>
          <a:lstStyle>
            <a:lvl1pPr algn="l">
              <a:defRPr sz="700">
                <a:solidFill>
                  <a:schemeClr val="tx2"/>
                </a:solidFill>
              </a:defRPr>
            </a:lvl1pPr>
          </a:lstStyle>
          <a:p>
            <a:endParaRPr lang="en-US"/>
          </a:p>
        </p:txBody>
      </p:sp>
      <p:sp>
        <p:nvSpPr>
          <p:cNvPr id="2" name="Content Placeholder 18">
            <a:extLst>
              <a:ext uri="{FF2B5EF4-FFF2-40B4-BE49-F238E27FC236}">
                <a16:creationId xmlns:a16="http://schemas.microsoft.com/office/drawing/2014/main" id="{3BFB5233-0C22-0B42-D8D2-6EC2FC5A5CB9}"/>
              </a:ext>
            </a:extLst>
          </p:cNvPr>
          <p:cNvSpPr>
            <a:spLocks noGrp="1"/>
          </p:cNvSpPr>
          <p:nvPr>
            <p:ph sz="quarter" idx="10"/>
          </p:nvPr>
        </p:nvSpPr>
        <p:spPr>
          <a:xfrm>
            <a:off x="493288" y="2397125"/>
            <a:ext cx="5124876" cy="3771900"/>
          </a:xfrm>
        </p:spPr>
        <p:txBody>
          <a:bodyPr/>
          <a:lstStyle>
            <a:lvl1pPr>
              <a:defRPr>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a:solidFill>
                  <a:schemeClr val="tx1"/>
                </a:solidFill>
              </a:defRPr>
            </a:lvl6pPr>
            <a:lvl7pPr>
              <a:defRPr>
                <a:solidFill>
                  <a:schemeClr val="tx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18">
            <a:extLst>
              <a:ext uri="{FF2B5EF4-FFF2-40B4-BE49-F238E27FC236}">
                <a16:creationId xmlns:a16="http://schemas.microsoft.com/office/drawing/2014/main" id="{3E912223-C3AF-9FB0-D854-017C99C1BDB2}"/>
              </a:ext>
            </a:extLst>
          </p:cNvPr>
          <p:cNvSpPr>
            <a:spLocks noGrp="1"/>
          </p:cNvSpPr>
          <p:nvPr>
            <p:ph sz="quarter" idx="11"/>
          </p:nvPr>
        </p:nvSpPr>
        <p:spPr>
          <a:xfrm>
            <a:off x="6574140" y="2394727"/>
            <a:ext cx="5124475" cy="3771900"/>
          </a:xfrm>
        </p:spPr>
        <p:txBody>
          <a:bodyPr/>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Graphic 3">
            <a:extLst>
              <a:ext uri="{FF2B5EF4-FFF2-40B4-BE49-F238E27FC236}">
                <a16:creationId xmlns:a16="http://schemas.microsoft.com/office/drawing/2014/main" id="{D868E0C3-9248-46A5-7BAC-9B844C0832B5}"/>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180146" y="6513177"/>
            <a:ext cx="516553" cy="157025"/>
          </a:xfrm>
          <a:prstGeom prst="rect">
            <a:avLst/>
          </a:prstGeom>
        </p:spPr>
      </p:pic>
    </p:spTree>
    <p:extLst>
      <p:ext uri="{BB962C8B-B14F-4D97-AF65-F5344CB8AC3E}">
        <p14:creationId xmlns:p14="http://schemas.microsoft.com/office/powerpoint/2010/main" val="32566931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mparison Azure Left">
    <p:spTree>
      <p:nvGrpSpPr>
        <p:cNvPr id="1" name=""/>
        <p:cNvGrpSpPr/>
        <p:nvPr/>
      </p:nvGrpSpPr>
      <p:grpSpPr>
        <a:xfrm>
          <a:off x="0" y="0"/>
          <a:ext cx="0" cy="0"/>
          <a:chOff x="0" y="0"/>
          <a:chExt cx="0" cy="0"/>
        </a:xfrm>
      </p:grpSpPr>
      <p:sp>
        <p:nvSpPr>
          <p:cNvPr id="311" name="Freeform: Shape 310">
            <a:extLst>
              <a:ext uri="{FF2B5EF4-FFF2-40B4-BE49-F238E27FC236}">
                <a16:creationId xmlns:a16="http://schemas.microsoft.com/office/drawing/2014/main" id="{FA3D5559-630B-68EB-88DB-BCC345505905}"/>
              </a:ext>
            </a:extLst>
          </p:cNvPr>
          <p:cNvSpPr/>
          <p:nvPr/>
        </p:nvSpPr>
        <p:spPr>
          <a:xfrm flipH="1">
            <a:off x="0" y="329967"/>
            <a:ext cx="6096000" cy="6528034"/>
          </a:xfrm>
          <a:custGeom>
            <a:avLst/>
            <a:gdLst>
              <a:gd name="connsiteX0" fmla="*/ 498361 w 6096000"/>
              <a:gd name="connsiteY0" fmla="*/ 0 h 6528034"/>
              <a:gd name="connsiteX1" fmla="*/ 2956322 w 6096000"/>
              <a:gd name="connsiteY1" fmla="*/ 0 h 6528034"/>
              <a:gd name="connsiteX2" fmla="*/ 2956322 w 6096000"/>
              <a:gd name="connsiteY2" fmla="*/ 1 h 6528034"/>
              <a:gd name="connsiteX3" fmla="*/ 3133467 w 6096000"/>
              <a:gd name="connsiteY3" fmla="*/ 1 h 6528034"/>
              <a:gd name="connsiteX4" fmla="*/ 5254219 w 6096000"/>
              <a:gd name="connsiteY4" fmla="*/ 1 h 6528034"/>
              <a:gd name="connsiteX5" fmla="*/ 5254219 w 6096000"/>
              <a:gd name="connsiteY5" fmla="*/ 2612 h 6528034"/>
              <a:gd name="connsiteX6" fmla="*/ 5334022 w 6096000"/>
              <a:gd name="connsiteY6" fmla="*/ 2594 h 6528034"/>
              <a:gd name="connsiteX7" fmla="*/ 5567834 w 6096000"/>
              <a:gd name="connsiteY7" fmla="*/ 100419 h 6528034"/>
              <a:gd name="connsiteX8" fmla="*/ 5998174 w 6096000"/>
              <a:gd name="connsiteY8" fmla="*/ 530758 h 6528034"/>
              <a:gd name="connsiteX9" fmla="*/ 6089287 w 6096000"/>
              <a:gd name="connsiteY9" fmla="*/ 699850 h 6528034"/>
              <a:gd name="connsiteX10" fmla="*/ 6092847 w 6096000"/>
              <a:gd name="connsiteY10" fmla="*/ 734186 h 6528034"/>
              <a:gd name="connsiteX11" fmla="*/ 6094720 w 6096000"/>
              <a:gd name="connsiteY11" fmla="*/ 734187 h 6528034"/>
              <a:gd name="connsiteX12" fmla="*/ 6094720 w 6096000"/>
              <a:gd name="connsiteY12" fmla="*/ 752239 h 6528034"/>
              <a:gd name="connsiteX13" fmla="*/ 6096000 w 6096000"/>
              <a:gd name="connsiteY13" fmla="*/ 764572 h 6528034"/>
              <a:gd name="connsiteX14" fmla="*/ 6095930 w 6096000"/>
              <a:gd name="connsiteY14" fmla="*/ 1081147 h 6528034"/>
              <a:gd name="connsiteX15" fmla="*/ 6095926 w 6096000"/>
              <a:gd name="connsiteY15" fmla="*/ 1105640 h 6528034"/>
              <a:gd name="connsiteX16" fmla="*/ 6096000 w 6096000"/>
              <a:gd name="connsiteY16" fmla="*/ 1106355 h 6528034"/>
              <a:gd name="connsiteX17" fmla="*/ 6095896 w 6096000"/>
              <a:gd name="connsiteY17" fmla="*/ 1578910 h 6528034"/>
              <a:gd name="connsiteX18" fmla="*/ 6095210 w 6096000"/>
              <a:gd name="connsiteY18" fmla="*/ 1578912 h 6528034"/>
              <a:gd name="connsiteX19" fmla="*/ 6094720 w 6096000"/>
              <a:gd name="connsiteY19" fmla="*/ 1578914 h 6528034"/>
              <a:gd name="connsiteX20" fmla="*/ 6094720 w 6096000"/>
              <a:gd name="connsiteY20" fmla="*/ 1676436 h 6528034"/>
              <a:gd name="connsiteX21" fmla="*/ 6094720 w 6096000"/>
              <a:gd name="connsiteY21" fmla="*/ 1939724 h 6528034"/>
              <a:gd name="connsiteX22" fmla="*/ 6094720 w 6096000"/>
              <a:gd name="connsiteY22" fmla="*/ 1957771 h 6528034"/>
              <a:gd name="connsiteX23" fmla="*/ 6096000 w 6096000"/>
              <a:gd name="connsiteY23" fmla="*/ 1970105 h 6528034"/>
              <a:gd name="connsiteX24" fmla="*/ 6095930 w 6096000"/>
              <a:gd name="connsiteY24" fmla="*/ 2286686 h 6528034"/>
              <a:gd name="connsiteX25" fmla="*/ 6095926 w 6096000"/>
              <a:gd name="connsiteY25" fmla="*/ 2311171 h 6528034"/>
              <a:gd name="connsiteX26" fmla="*/ 6095999 w 6096000"/>
              <a:gd name="connsiteY26" fmla="*/ 2311888 h 6528034"/>
              <a:gd name="connsiteX27" fmla="*/ 6095896 w 6096000"/>
              <a:gd name="connsiteY27" fmla="*/ 2784449 h 6528034"/>
              <a:gd name="connsiteX28" fmla="*/ 6095210 w 6096000"/>
              <a:gd name="connsiteY28" fmla="*/ 2784450 h 6528034"/>
              <a:gd name="connsiteX29" fmla="*/ 6094720 w 6096000"/>
              <a:gd name="connsiteY29" fmla="*/ 2784451 h 6528034"/>
              <a:gd name="connsiteX30" fmla="*/ 6094720 w 6096000"/>
              <a:gd name="connsiteY30" fmla="*/ 2881981 h 6528034"/>
              <a:gd name="connsiteX31" fmla="*/ 6094720 w 6096000"/>
              <a:gd name="connsiteY31" fmla="*/ 3094524 h 6528034"/>
              <a:gd name="connsiteX32" fmla="*/ 6094720 w 6096000"/>
              <a:gd name="connsiteY32" fmla="*/ 3223754 h 6528034"/>
              <a:gd name="connsiteX33" fmla="*/ 6094720 w 6096000"/>
              <a:gd name="connsiteY33" fmla="*/ 3316620 h 6528034"/>
              <a:gd name="connsiteX34" fmla="*/ 6094720 w 6096000"/>
              <a:gd name="connsiteY34" fmla="*/ 3436291 h 6528034"/>
              <a:gd name="connsiteX35" fmla="*/ 6094720 w 6096000"/>
              <a:gd name="connsiteY35" fmla="*/ 3524159 h 6528034"/>
              <a:gd name="connsiteX36" fmla="*/ 6094720 w 6096000"/>
              <a:gd name="connsiteY36" fmla="*/ 3612822 h 6528034"/>
              <a:gd name="connsiteX37" fmla="*/ 6096000 w 6096000"/>
              <a:gd name="connsiteY37" fmla="*/ 3625155 h 6528034"/>
              <a:gd name="connsiteX38" fmla="*/ 6095930 w 6096000"/>
              <a:gd name="connsiteY38" fmla="*/ 3941730 h 6528034"/>
              <a:gd name="connsiteX39" fmla="*/ 6095926 w 6096000"/>
              <a:gd name="connsiteY39" fmla="*/ 3966224 h 6528034"/>
              <a:gd name="connsiteX40" fmla="*/ 6096000 w 6096000"/>
              <a:gd name="connsiteY40" fmla="*/ 3966938 h 6528034"/>
              <a:gd name="connsiteX41" fmla="*/ 6095995 w 6096000"/>
              <a:gd name="connsiteY41" fmla="*/ 3991859 h 6528034"/>
              <a:gd name="connsiteX42" fmla="*/ 6095993 w 6096000"/>
              <a:gd name="connsiteY42" fmla="*/ 4001046 h 6528034"/>
              <a:gd name="connsiteX43" fmla="*/ 6095999 w 6096000"/>
              <a:gd name="connsiteY43" fmla="*/ 4001118 h 6528034"/>
              <a:gd name="connsiteX44" fmla="*/ 6095930 w 6096000"/>
              <a:gd name="connsiteY44" fmla="*/ 4317694 h 6528034"/>
              <a:gd name="connsiteX45" fmla="*/ 6095926 w 6096000"/>
              <a:gd name="connsiteY45" fmla="*/ 4342186 h 6528034"/>
              <a:gd name="connsiteX46" fmla="*/ 6096000 w 6096000"/>
              <a:gd name="connsiteY46" fmla="*/ 4342902 h 6528034"/>
              <a:gd name="connsiteX47" fmla="*/ 6095896 w 6096000"/>
              <a:gd name="connsiteY47" fmla="*/ 4815458 h 6528034"/>
              <a:gd name="connsiteX48" fmla="*/ 6095209 w 6096000"/>
              <a:gd name="connsiteY48" fmla="*/ 4815459 h 6528034"/>
              <a:gd name="connsiteX49" fmla="*/ 6094720 w 6096000"/>
              <a:gd name="connsiteY49" fmla="*/ 4815459 h 6528034"/>
              <a:gd name="connsiteX50" fmla="*/ 6094720 w 6096000"/>
              <a:gd name="connsiteY50" fmla="*/ 4901060 h 6528034"/>
              <a:gd name="connsiteX51" fmla="*/ 6094720 w 6096000"/>
              <a:gd name="connsiteY51" fmla="*/ 5109958 h 6528034"/>
              <a:gd name="connsiteX52" fmla="*/ 6094720 w 6096000"/>
              <a:gd name="connsiteY52" fmla="*/ 5202832 h 6528034"/>
              <a:gd name="connsiteX53" fmla="*/ 6094720 w 6096000"/>
              <a:gd name="connsiteY53" fmla="*/ 5242844 h 6528034"/>
              <a:gd name="connsiteX54" fmla="*/ 6094720 w 6096000"/>
              <a:gd name="connsiteY54" fmla="*/ 5544616 h 6528034"/>
              <a:gd name="connsiteX55" fmla="*/ 6094720 w 6096000"/>
              <a:gd name="connsiteY55" fmla="*/ 5884479 h 6528034"/>
              <a:gd name="connsiteX56" fmla="*/ 6094720 w 6096000"/>
              <a:gd name="connsiteY56" fmla="*/ 6186250 h 6528034"/>
              <a:gd name="connsiteX57" fmla="*/ 6094720 w 6096000"/>
              <a:gd name="connsiteY57" fmla="*/ 6226262 h 6528034"/>
              <a:gd name="connsiteX58" fmla="*/ 6094720 w 6096000"/>
              <a:gd name="connsiteY58" fmla="*/ 6528034 h 6528034"/>
              <a:gd name="connsiteX59" fmla="*/ 5774783 w 6096000"/>
              <a:gd name="connsiteY59" fmla="*/ 6528034 h 6528034"/>
              <a:gd name="connsiteX60" fmla="*/ 5597638 w 6096000"/>
              <a:gd name="connsiteY60" fmla="*/ 6528034 h 6528034"/>
              <a:gd name="connsiteX61" fmla="*/ 3636760 w 6096000"/>
              <a:gd name="connsiteY61" fmla="*/ 6528034 h 6528034"/>
              <a:gd name="connsiteX62" fmla="*/ 3459615 w 6096000"/>
              <a:gd name="connsiteY62" fmla="*/ 6528034 h 6528034"/>
              <a:gd name="connsiteX63" fmla="*/ 3139677 w 6096000"/>
              <a:gd name="connsiteY63" fmla="*/ 6528034 h 6528034"/>
              <a:gd name="connsiteX64" fmla="*/ 3139677 w 6096000"/>
              <a:gd name="connsiteY64" fmla="*/ 6528032 h 6528034"/>
              <a:gd name="connsiteX65" fmla="*/ 2962532 w 6096000"/>
              <a:gd name="connsiteY65" fmla="*/ 6528032 h 6528034"/>
              <a:gd name="connsiteX66" fmla="*/ 841782 w 6096000"/>
              <a:gd name="connsiteY66" fmla="*/ 6528032 h 6528034"/>
              <a:gd name="connsiteX67" fmla="*/ 841782 w 6096000"/>
              <a:gd name="connsiteY67" fmla="*/ 6527773 h 6528034"/>
              <a:gd name="connsiteX68" fmla="*/ 761978 w 6096000"/>
              <a:gd name="connsiteY68" fmla="*/ 6527791 h 6528034"/>
              <a:gd name="connsiteX69" fmla="*/ 528166 w 6096000"/>
              <a:gd name="connsiteY69" fmla="*/ 6429965 h 6528034"/>
              <a:gd name="connsiteX70" fmla="*/ 97826 w 6096000"/>
              <a:gd name="connsiteY70" fmla="*/ 5999627 h 6528034"/>
              <a:gd name="connsiteX71" fmla="*/ 2 w 6096000"/>
              <a:gd name="connsiteY71" fmla="*/ 5765813 h 6528034"/>
              <a:gd name="connsiteX72" fmla="*/ 57 w 6096000"/>
              <a:gd name="connsiteY72" fmla="*/ 5512346 h 6528034"/>
              <a:gd name="connsiteX73" fmla="*/ 67 w 6096000"/>
              <a:gd name="connsiteY73" fmla="*/ 5464670 h 6528034"/>
              <a:gd name="connsiteX74" fmla="*/ 2 w 6096000"/>
              <a:gd name="connsiteY74" fmla="*/ 5464039 h 6528034"/>
              <a:gd name="connsiteX75" fmla="*/ 7 w 6096000"/>
              <a:gd name="connsiteY75" fmla="*/ 5439119 h 6528034"/>
              <a:gd name="connsiteX76" fmla="*/ 10 w 6096000"/>
              <a:gd name="connsiteY76" fmla="*/ 5424128 h 6528034"/>
              <a:gd name="connsiteX77" fmla="*/ 0 w 6096000"/>
              <a:gd name="connsiteY77" fmla="*/ 5424029 h 6528034"/>
              <a:gd name="connsiteX78" fmla="*/ 55 w 6096000"/>
              <a:gd name="connsiteY78" fmla="*/ 5170563 h 6528034"/>
              <a:gd name="connsiteX79" fmla="*/ 66 w 6096000"/>
              <a:gd name="connsiteY79" fmla="*/ 5122889 h 6528034"/>
              <a:gd name="connsiteX80" fmla="*/ 0 w 6096000"/>
              <a:gd name="connsiteY80" fmla="*/ 5122257 h 6528034"/>
              <a:gd name="connsiteX81" fmla="*/ 103 w 6096000"/>
              <a:gd name="connsiteY81" fmla="*/ 4649702 h 6528034"/>
              <a:gd name="connsiteX82" fmla="*/ 790 w 6096000"/>
              <a:gd name="connsiteY82" fmla="*/ 4649701 h 6528034"/>
              <a:gd name="connsiteX83" fmla="*/ 1276 w 6096000"/>
              <a:gd name="connsiteY83" fmla="*/ 4649700 h 6528034"/>
              <a:gd name="connsiteX84" fmla="*/ 1277 w 6096000"/>
              <a:gd name="connsiteY84" fmla="*/ 3891898 h 6528034"/>
              <a:gd name="connsiteX85" fmla="*/ 1 w 6096000"/>
              <a:gd name="connsiteY85" fmla="*/ 3879598 h 6528034"/>
              <a:gd name="connsiteX86" fmla="*/ 70 w 6096000"/>
              <a:gd name="connsiteY86" fmla="*/ 3563023 h 6528034"/>
              <a:gd name="connsiteX87" fmla="*/ 76 w 6096000"/>
              <a:gd name="connsiteY87" fmla="*/ 3538548 h 6528034"/>
              <a:gd name="connsiteX88" fmla="*/ 0 w 6096000"/>
              <a:gd name="connsiteY88" fmla="*/ 3537818 h 6528034"/>
              <a:gd name="connsiteX89" fmla="*/ 103 w 6096000"/>
              <a:gd name="connsiteY89" fmla="*/ 3065277 h 6528034"/>
              <a:gd name="connsiteX90" fmla="*/ 791 w 6096000"/>
              <a:gd name="connsiteY90" fmla="*/ 3065276 h 6528034"/>
              <a:gd name="connsiteX91" fmla="*/ 1277 w 6096000"/>
              <a:gd name="connsiteY91" fmla="*/ 3065275 h 6528034"/>
              <a:gd name="connsiteX92" fmla="*/ 1277 w 6096000"/>
              <a:gd name="connsiteY92" fmla="*/ 2686371 h 6528034"/>
              <a:gd name="connsiteX93" fmla="*/ 2 w 6096000"/>
              <a:gd name="connsiteY93" fmla="*/ 2674072 h 6528034"/>
              <a:gd name="connsiteX94" fmla="*/ 70 w 6096000"/>
              <a:gd name="connsiteY94" fmla="*/ 2357496 h 6528034"/>
              <a:gd name="connsiteX95" fmla="*/ 75 w 6096000"/>
              <a:gd name="connsiteY95" fmla="*/ 2333023 h 6528034"/>
              <a:gd name="connsiteX96" fmla="*/ 0 w 6096000"/>
              <a:gd name="connsiteY96" fmla="*/ 2332286 h 6528034"/>
              <a:gd name="connsiteX97" fmla="*/ 102 w 6096000"/>
              <a:gd name="connsiteY97" fmla="*/ 1859734 h 6528034"/>
              <a:gd name="connsiteX98" fmla="*/ 790 w 6096000"/>
              <a:gd name="connsiteY98" fmla="*/ 1859730 h 6528034"/>
              <a:gd name="connsiteX99" fmla="*/ 1277 w 6096000"/>
              <a:gd name="connsiteY99" fmla="*/ 1859730 h 6528034"/>
              <a:gd name="connsiteX100" fmla="*/ 1277 w 6096000"/>
              <a:gd name="connsiteY100" fmla="*/ 734186 h 6528034"/>
              <a:gd name="connsiteX101" fmla="*/ 1278 w 6096000"/>
              <a:gd name="connsiteY101" fmla="*/ 734186 h 6528034"/>
              <a:gd name="connsiteX102" fmla="*/ 1278 w 6096000"/>
              <a:gd name="connsiteY102" fmla="*/ 1 h 652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6096000" h="6528034">
                <a:moveTo>
                  <a:pt x="498361" y="0"/>
                </a:moveTo>
                <a:lnTo>
                  <a:pt x="2956322" y="0"/>
                </a:lnTo>
                <a:lnTo>
                  <a:pt x="2956322" y="1"/>
                </a:lnTo>
                <a:lnTo>
                  <a:pt x="3133467" y="1"/>
                </a:lnTo>
                <a:lnTo>
                  <a:pt x="5254219" y="1"/>
                </a:lnTo>
                <a:lnTo>
                  <a:pt x="5254219" y="2612"/>
                </a:lnTo>
                <a:lnTo>
                  <a:pt x="5334022" y="2594"/>
                </a:lnTo>
                <a:cubicBezTo>
                  <a:pt x="5421676" y="3113"/>
                  <a:pt x="5505980" y="38567"/>
                  <a:pt x="5567834" y="100419"/>
                </a:cubicBezTo>
                <a:cubicBezTo>
                  <a:pt x="5567834" y="100419"/>
                  <a:pt x="5567834" y="100419"/>
                  <a:pt x="5998174" y="530758"/>
                </a:cubicBezTo>
                <a:cubicBezTo>
                  <a:pt x="6045058" y="577643"/>
                  <a:pt x="6076350" y="636415"/>
                  <a:pt x="6089287" y="699850"/>
                </a:cubicBezTo>
                <a:lnTo>
                  <a:pt x="6092847" y="734186"/>
                </a:lnTo>
                <a:lnTo>
                  <a:pt x="6094720" y="734187"/>
                </a:lnTo>
                <a:lnTo>
                  <a:pt x="6094720" y="752239"/>
                </a:lnTo>
                <a:lnTo>
                  <a:pt x="6096000" y="764572"/>
                </a:lnTo>
                <a:cubicBezTo>
                  <a:pt x="6096000" y="764572"/>
                  <a:pt x="6096000" y="764572"/>
                  <a:pt x="6095930" y="1081147"/>
                </a:cubicBezTo>
                <a:lnTo>
                  <a:pt x="6095926" y="1105640"/>
                </a:lnTo>
                <a:lnTo>
                  <a:pt x="6096000" y="1106355"/>
                </a:lnTo>
                <a:cubicBezTo>
                  <a:pt x="6096000" y="1106355"/>
                  <a:pt x="6096000" y="1106355"/>
                  <a:pt x="6095896" y="1578910"/>
                </a:cubicBezTo>
                <a:cubicBezTo>
                  <a:pt x="6095896" y="1578910"/>
                  <a:pt x="6095896" y="1578910"/>
                  <a:pt x="6095210" y="1578912"/>
                </a:cubicBezTo>
                <a:lnTo>
                  <a:pt x="6094720" y="1578914"/>
                </a:lnTo>
                <a:lnTo>
                  <a:pt x="6094720" y="1676436"/>
                </a:lnTo>
                <a:lnTo>
                  <a:pt x="6094720" y="1939724"/>
                </a:lnTo>
                <a:lnTo>
                  <a:pt x="6094720" y="1957771"/>
                </a:lnTo>
                <a:lnTo>
                  <a:pt x="6096000" y="1970105"/>
                </a:lnTo>
                <a:cubicBezTo>
                  <a:pt x="6096000" y="1970105"/>
                  <a:pt x="6096000" y="1970105"/>
                  <a:pt x="6095930" y="2286686"/>
                </a:cubicBezTo>
                <a:lnTo>
                  <a:pt x="6095926" y="2311171"/>
                </a:lnTo>
                <a:lnTo>
                  <a:pt x="6095999" y="2311888"/>
                </a:lnTo>
                <a:cubicBezTo>
                  <a:pt x="6095999" y="2311888"/>
                  <a:pt x="6095999" y="2311888"/>
                  <a:pt x="6095896" y="2784449"/>
                </a:cubicBezTo>
                <a:cubicBezTo>
                  <a:pt x="6095896" y="2784449"/>
                  <a:pt x="6095896" y="2784449"/>
                  <a:pt x="6095210" y="2784450"/>
                </a:cubicBezTo>
                <a:lnTo>
                  <a:pt x="6094720" y="2784451"/>
                </a:lnTo>
                <a:lnTo>
                  <a:pt x="6094720" y="2881981"/>
                </a:lnTo>
                <a:lnTo>
                  <a:pt x="6094720" y="3094524"/>
                </a:lnTo>
                <a:lnTo>
                  <a:pt x="6094720" y="3223754"/>
                </a:lnTo>
                <a:lnTo>
                  <a:pt x="6094720" y="3316620"/>
                </a:lnTo>
                <a:lnTo>
                  <a:pt x="6094720" y="3436291"/>
                </a:lnTo>
                <a:lnTo>
                  <a:pt x="6094720" y="3524159"/>
                </a:lnTo>
                <a:lnTo>
                  <a:pt x="6094720" y="3612822"/>
                </a:lnTo>
                <a:lnTo>
                  <a:pt x="6096000" y="3625155"/>
                </a:lnTo>
                <a:cubicBezTo>
                  <a:pt x="6096000" y="3625155"/>
                  <a:pt x="6096000" y="3625155"/>
                  <a:pt x="6095930" y="3941730"/>
                </a:cubicBezTo>
                <a:lnTo>
                  <a:pt x="6095926" y="3966224"/>
                </a:lnTo>
                <a:lnTo>
                  <a:pt x="6096000" y="3966938"/>
                </a:lnTo>
                <a:cubicBezTo>
                  <a:pt x="6096000" y="3966938"/>
                  <a:pt x="6096000" y="3966938"/>
                  <a:pt x="6095995" y="3991859"/>
                </a:cubicBezTo>
                <a:lnTo>
                  <a:pt x="6095993" y="4001046"/>
                </a:lnTo>
                <a:lnTo>
                  <a:pt x="6095999" y="4001118"/>
                </a:lnTo>
                <a:cubicBezTo>
                  <a:pt x="6095999" y="4001118"/>
                  <a:pt x="6095999" y="4001118"/>
                  <a:pt x="6095930" y="4317694"/>
                </a:cubicBezTo>
                <a:lnTo>
                  <a:pt x="6095926" y="4342186"/>
                </a:lnTo>
                <a:lnTo>
                  <a:pt x="6096000" y="4342902"/>
                </a:lnTo>
                <a:cubicBezTo>
                  <a:pt x="6096000" y="4342902"/>
                  <a:pt x="6096000" y="4342902"/>
                  <a:pt x="6095896" y="4815458"/>
                </a:cubicBezTo>
                <a:cubicBezTo>
                  <a:pt x="6095896" y="4815458"/>
                  <a:pt x="6095896" y="4815458"/>
                  <a:pt x="6095209" y="4815459"/>
                </a:cubicBezTo>
                <a:lnTo>
                  <a:pt x="6094720" y="4815459"/>
                </a:lnTo>
                <a:lnTo>
                  <a:pt x="6094720" y="4901060"/>
                </a:lnTo>
                <a:lnTo>
                  <a:pt x="6094720" y="5109958"/>
                </a:lnTo>
                <a:lnTo>
                  <a:pt x="6094720" y="5202832"/>
                </a:lnTo>
                <a:lnTo>
                  <a:pt x="6094720" y="5242844"/>
                </a:lnTo>
                <a:lnTo>
                  <a:pt x="6094720" y="5544616"/>
                </a:lnTo>
                <a:lnTo>
                  <a:pt x="6094720" y="5884479"/>
                </a:lnTo>
                <a:lnTo>
                  <a:pt x="6094720" y="6186250"/>
                </a:lnTo>
                <a:lnTo>
                  <a:pt x="6094720" y="6226262"/>
                </a:lnTo>
                <a:lnTo>
                  <a:pt x="6094720" y="6528034"/>
                </a:lnTo>
                <a:lnTo>
                  <a:pt x="5774783" y="6528034"/>
                </a:lnTo>
                <a:lnTo>
                  <a:pt x="5597638" y="6528034"/>
                </a:lnTo>
                <a:lnTo>
                  <a:pt x="3636760" y="6528034"/>
                </a:lnTo>
                <a:lnTo>
                  <a:pt x="3459615" y="6528034"/>
                </a:lnTo>
                <a:lnTo>
                  <a:pt x="3139677" y="6528034"/>
                </a:lnTo>
                <a:lnTo>
                  <a:pt x="3139677" y="6528032"/>
                </a:lnTo>
                <a:lnTo>
                  <a:pt x="2962532" y="6528032"/>
                </a:lnTo>
                <a:lnTo>
                  <a:pt x="841782" y="6528032"/>
                </a:lnTo>
                <a:lnTo>
                  <a:pt x="841782" y="6527773"/>
                </a:lnTo>
                <a:lnTo>
                  <a:pt x="761978" y="6527791"/>
                </a:lnTo>
                <a:cubicBezTo>
                  <a:pt x="674323" y="6527273"/>
                  <a:pt x="590019" y="6491819"/>
                  <a:pt x="528166" y="6429965"/>
                </a:cubicBezTo>
                <a:cubicBezTo>
                  <a:pt x="528166" y="6429965"/>
                  <a:pt x="528166" y="6429965"/>
                  <a:pt x="97826" y="5999627"/>
                </a:cubicBezTo>
                <a:cubicBezTo>
                  <a:pt x="35315" y="5937116"/>
                  <a:pt x="519" y="5853470"/>
                  <a:pt x="2" y="5765813"/>
                </a:cubicBezTo>
                <a:cubicBezTo>
                  <a:pt x="2" y="5765813"/>
                  <a:pt x="2" y="5765813"/>
                  <a:pt x="57" y="5512346"/>
                </a:cubicBezTo>
                <a:lnTo>
                  <a:pt x="67" y="5464670"/>
                </a:lnTo>
                <a:lnTo>
                  <a:pt x="2" y="5464039"/>
                </a:lnTo>
                <a:cubicBezTo>
                  <a:pt x="2" y="5464039"/>
                  <a:pt x="2" y="5464039"/>
                  <a:pt x="7" y="5439119"/>
                </a:cubicBezTo>
                <a:lnTo>
                  <a:pt x="10" y="5424128"/>
                </a:lnTo>
                <a:lnTo>
                  <a:pt x="0" y="5424029"/>
                </a:lnTo>
                <a:cubicBezTo>
                  <a:pt x="0" y="5424029"/>
                  <a:pt x="0" y="5424029"/>
                  <a:pt x="55" y="5170563"/>
                </a:cubicBezTo>
                <a:lnTo>
                  <a:pt x="66" y="5122889"/>
                </a:lnTo>
                <a:lnTo>
                  <a:pt x="0" y="5122257"/>
                </a:lnTo>
                <a:cubicBezTo>
                  <a:pt x="0" y="5122257"/>
                  <a:pt x="0" y="5122257"/>
                  <a:pt x="103" y="4649702"/>
                </a:cubicBezTo>
                <a:cubicBezTo>
                  <a:pt x="103" y="4649702"/>
                  <a:pt x="103" y="4649702"/>
                  <a:pt x="790" y="4649701"/>
                </a:cubicBezTo>
                <a:lnTo>
                  <a:pt x="1276" y="4649700"/>
                </a:lnTo>
                <a:lnTo>
                  <a:pt x="1277" y="3891898"/>
                </a:lnTo>
                <a:lnTo>
                  <a:pt x="1" y="3879598"/>
                </a:lnTo>
                <a:cubicBezTo>
                  <a:pt x="1" y="3879598"/>
                  <a:pt x="1" y="3879598"/>
                  <a:pt x="70" y="3563023"/>
                </a:cubicBezTo>
                <a:lnTo>
                  <a:pt x="76" y="3538548"/>
                </a:lnTo>
                <a:lnTo>
                  <a:pt x="0" y="3537818"/>
                </a:lnTo>
                <a:cubicBezTo>
                  <a:pt x="0" y="3537818"/>
                  <a:pt x="0" y="3537818"/>
                  <a:pt x="103" y="3065277"/>
                </a:cubicBezTo>
                <a:cubicBezTo>
                  <a:pt x="103" y="3065277"/>
                  <a:pt x="103" y="3065277"/>
                  <a:pt x="791" y="3065276"/>
                </a:cubicBezTo>
                <a:lnTo>
                  <a:pt x="1277" y="3065275"/>
                </a:lnTo>
                <a:lnTo>
                  <a:pt x="1277" y="2686371"/>
                </a:lnTo>
                <a:lnTo>
                  <a:pt x="2" y="2674072"/>
                </a:lnTo>
                <a:cubicBezTo>
                  <a:pt x="2" y="2674072"/>
                  <a:pt x="2" y="2674072"/>
                  <a:pt x="70" y="2357496"/>
                </a:cubicBezTo>
                <a:lnTo>
                  <a:pt x="75" y="2333023"/>
                </a:lnTo>
                <a:lnTo>
                  <a:pt x="0" y="2332286"/>
                </a:lnTo>
                <a:cubicBezTo>
                  <a:pt x="0" y="2332286"/>
                  <a:pt x="0" y="2332286"/>
                  <a:pt x="102" y="1859734"/>
                </a:cubicBezTo>
                <a:cubicBezTo>
                  <a:pt x="102" y="1859734"/>
                  <a:pt x="102" y="1859734"/>
                  <a:pt x="790" y="1859730"/>
                </a:cubicBezTo>
                <a:lnTo>
                  <a:pt x="1277" y="1859730"/>
                </a:lnTo>
                <a:lnTo>
                  <a:pt x="1277" y="734186"/>
                </a:lnTo>
                <a:lnTo>
                  <a:pt x="1278" y="734186"/>
                </a:lnTo>
                <a:lnTo>
                  <a:pt x="1278" y="1"/>
                </a:ln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Title 1">
            <a:extLst>
              <a:ext uri="{FF2B5EF4-FFF2-40B4-BE49-F238E27FC236}">
                <a16:creationId xmlns:a16="http://schemas.microsoft.com/office/drawing/2014/main" id="{951EE247-A1E4-4614-0D9D-D5DECA82587F}"/>
              </a:ext>
            </a:extLst>
          </p:cNvPr>
          <p:cNvSpPr>
            <a:spLocks noGrp="1"/>
          </p:cNvSpPr>
          <p:nvPr>
            <p:ph type="title"/>
          </p:nvPr>
        </p:nvSpPr>
        <p:spPr>
          <a:xfrm>
            <a:off x="493714" y="579438"/>
            <a:ext cx="5113896" cy="792162"/>
          </a:xfrm>
        </p:spPr>
        <p:txBody>
          <a:bodyPr anchor="t">
            <a:noAutofit/>
          </a:bodyPr>
          <a:lstStyle>
            <a:lvl1pPr>
              <a:lnSpc>
                <a:spcPct val="85000"/>
              </a:lnSpc>
              <a:defRPr>
                <a:solidFill>
                  <a:schemeClr val="bg1"/>
                </a:solidFill>
              </a:defRPr>
            </a:lvl1pPr>
          </a:lstStyle>
          <a:p>
            <a:r>
              <a:rPr lang="en-US"/>
              <a:t>Click to edit Master title style</a:t>
            </a:r>
          </a:p>
        </p:txBody>
      </p:sp>
      <p:sp>
        <p:nvSpPr>
          <p:cNvPr id="11" name="Text Placeholder 12">
            <a:extLst>
              <a:ext uri="{FF2B5EF4-FFF2-40B4-BE49-F238E27FC236}">
                <a16:creationId xmlns:a16="http://schemas.microsoft.com/office/drawing/2014/main" id="{C4642B5E-8C94-17D3-F93F-3840B02EA831}"/>
              </a:ext>
            </a:extLst>
          </p:cNvPr>
          <p:cNvSpPr>
            <a:spLocks noGrp="1"/>
          </p:cNvSpPr>
          <p:nvPr>
            <p:ph type="body" sz="quarter" idx="14"/>
          </p:nvPr>
        </p:nvSpPr>
        <p:spPr>
          <a:xfrm>
            <a:off x="6572250" y="1382889"/>
            <a:ext cx="5126366" cy="336374"/>
          </a:xfrm>
        </p:spPr>
        <p:txBody>
          <a:bodyPr anchor="t">
            <a:noAutofit/>
          </a:bodyPr>
          <a:lstStyle>
            <a:lvl1pPr marL="0" indent="0">
              <a:buNone/>
              <a:defRPr sz="2100">
                <a:solidFill>
                  <a:schemeClr val="tx1"/>
                </a:solidFill>
                <a:latin typeface="+mj-lt"/>
              </a:defRPr>
            </a:lvl1pPr>
          </a:lstStyle>
          <a:p>
            <a:pPr lvl="0"/>
            <a:r>
              <a:rPr lang="en-US"/>
              <a:t>Click to edit Master text styles</a:t>
            </a:r>
          </a:p>
        </p:txBody>
      </p:sp>
      <p:sp>
        <p:nvSpPr>
          <p:cNvPr id="14" name="Subtitle 2">
            <a:extLst>
              <a:ext uri="{FF2B5EF4-FFF2-40B4-BE49-F238E27FC236}">
                <a16:creationId xmlns:a16="http://schemas.microsoft.com/office/drawing/2014/main" id="{3007A138-C620-C216-81D8-D8E61813A097}"/>
              </a:ext>
            </a:extLst>
          </p:cNvPr>
          <p:cNvSpPr>
            <a:spLocks noGrp="1"/>
          </p:cNvSpPr>
          <p:nvPr>
            <p:ph type="subTitle" idx="1"/>
          </p:nvPr>
        </p:nvSpPr>
        <p:spPr>
          <a:xfrm>
            <a:off x="493714" y="1371600"/>
            <a:ext cx="5113896" cy="347663"/>
          </a:xfrm>
        </p:spPr>
        <p:txBody>
          <a:bodyPr anchor="t">
            <a:noAutofit/>
          </a:bodyPr>
          <a:lstStyle>
            <a:lvl1pPr marL="0" indent="0" algn="l">
              <a:buNone/>
              <a:defRPr sz="2100">
                <a:solidFill>
                  <a:schemeClr val="bg1"/>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Text Placeholder 11">
            <a:extLst>
              <a:ext uri="{FF2B5EF4-FFF2-40B4-BE49-F238E27FC236}">
                <a16:creationId xmlns:a16="http://schemas.microsoft.com/office/drawing/2014/main" id="{CB80F05A-F7DA-DFAD-C0FF-D23A8B833D91}"/>
              </a:ext>
            </a:extLst>
          </p:cNvPr>
          <p:cNvSpPr>
            <a:spLocks noGrp="1"/>
          </p:cNvSpPr>
          <p:nvPr>
            <p:ph type="body" sz="quarter" idx="16"/>
          </p:nvPr>
        </p:nvSpPr>
        <p:spPr>
          <a:xfrm>
            <a:off x="6572250" y="579439"/>
            <a:ext cx="5126365" cy="792162"/>
          </a:xfrm>
        </p:spPr>
        <p:txBody>
          <a:bodyPr anchor="t">
            <a:noAutofit/>
          </a:bodyPr>
          <a:lstStyle>
            <a:lvl1pPr marL="0" indent="0">
              <a:lnSpc>
                <a:spcPct val="85000"/>
              </a:lnSpc>
              <a:buNone/>
              <a:defRPr sz="3400">
                <a:solidFill>
                  <a:schemeClr val="tx1"/>
                </a:solidFill>
                <a:latin typeface="+mn-lt"/>
              </a:defRPr>
            </a:lvl1pPr>
          </a:lstStyle>
          <a:p>
            <a:pPr lvl="0"/>
            <a:r>
              <a:rPr lang="en-US"/>
              <a:t>Click to edit Master text styles</a:t>
            </a:r>
          </a:p>
        </p:txBody>
      </p:sp>
      <p:sp>
        <p:nvSpPr>
          <p:cNvPr id="16" name="Footer Placeholder 66">
            <a:extLst>
              <a:ext uri="{FF2B5EF4-FFF2-40B4-BE49-F238E27FC236}">
                <a16:creationId xmlns:a16="http://schemas.microsoft.com/office/drawing/2014/main" id="{88A25FED-7651-669D-F6ED-C0383FDEB7A6}"/>
              </a:ext>
            </a:extLst>
          </p:cNvPr>
          <p:cNvSpPr>
            <a:spLocks noGrp="1"/>
          </p:cNvSpPr>
          <p:nvPr>
            <p:ph type="ftr" sz="quarter" idx="3"/>
          </p:nvPr>
        </p:nvSpPr>
        <p:spPr>
          <a:xfrm>
            <a:off x="493290" y="6405456"/>
            <a:ext cx="5124874" cy="107722"/>
          </a:xfrm>
          <a:prstGeom prst="rect">
            <a:avLst/>
          </a:prstGeom>
        </p:spPr>
        <p:txBody>
          <a:bodyPr vert="horz" lIns="0" tIns="0" rIns="0" bIns="0" rtlCol="0" anchor="b"/>
          <a:lstStyle>
            <a:lvl1pPr algn="l">
              <a:defRPr sz="700">
                <a:solidFill>
                  <a:schemeClr val="bg1"/>
                </a:solidFill>
              </a:defRPr>
            </a:lvl1pPr>
          </a:lstStyle>
          <a:p>
            <a:endParaRPr lang="en-US"/>
          </a:p>
        </p:txBody>
      </p:sp>
      <p:sp>
        <p:nvSpPr>
          <p:cNvPr id="3" name="TextBox 2">
            <a:extLst>
              <a:ext uri="{FF2B5EF4-FFF2-40B4-BE49-F238E27FC236}">
                <a16:creationId xmlns:a16="http://schemas.microsoft.com/office/drawing/2014/main" id="{60F46438-8E5E-DFE3-3C05-0A1AC859EA83}"/>
              </a:ext>
            </a:extLst>
          </p:cNvPr>
          <p:cNvSpPr txBox="1"/>
          <p:nvPr userDrawn="1"/>
        </p:nvSpPr>
        <p:spPr>
          <a:xfrm>
            <a:off x="493288" y="6562481"/>
            <a:ext cx="5293842" cy="107722"/>
          </a:xfrm>
          <a:prstGeom prst="rect">
            <a:avLst/>
          </a:prstGeom>
          <a:noFill/>
        </p:spPr>
        <p:txBody>
          <a:bodyPr wrap="square" lIns="0" tIns="0" rIns="0" bIns="0">
            <a:spAutoFit/>
          </a:bodyPr>
          <a:lstStyle/>
          <a:p>
            <a:r>
              <a:rPr lang="en-US" sz="700">
                <a:solidFill>
                  <a:schemeClr val="bg1"/>
                </a:solidFill>
              </a:rPr>
              <a:t>© 2024 Veeam Software. Confidential information. All rights reserved. All trademarks are the property of their respective owners. </a:t>
            </a:r>
          </a:p>
        </p:txBody>
      </p:sp>
      <p:sp>
        <p:nvSpPr>
          <p:cNvPr id="5" name="Content Placeholder 18">
            <a:extLst>
              <a:ext uri="{FF2B5EF4-FFF2-40B4-BE49-F238E27FC236}">
                <a16:creationId xmlns:a16="http://schemas.microsoft.com/office/drawing/2014/main" id="{F1A84BF6-1144-9AFE-8821-5567440B699F}"/>
              </a:ext>
            </a:extLst>
          </p:cNvPr>
          <p:cNvSpPr>
            <a:spLocks noGrp="1"/>
          </p:cNvSpPr>
          <p:nvPr>
            <p:ph sz="quarter" idx="10"/>
          </p:nvPr>
        </p:nvSpPr>
        <p:spPr>
          <a:xfrm>
            <a:off x="493288" y="2397125"/>
            <a:ext cx="5124876" cy="3771900"/>
          </a:xfrm>
        </p:spPr>
        <p:txBody>
          <a:bodyPr/>
          <a:lstStyle>
            <a:lvl1pPr>
              <a:defRPr>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18">
            <a:extLst>
              <a:ext uri="{FF2B5EF4-FFF2-40B4-BE49-F238E27FC236}">
                <a16:creationId xmlns:a16="http://schemas.microsoft.com/office/drawing/2014/main" id="{A57C34FA-03D8-9FC3-57CF-2277DD6AE7B0}"/>
              </a:ext>
            </a:extLst>
          </p:cNvPr>
          <p:cNvSpPr>
            <a:spLocks noGrp="1"/>
          </p:cNvSpPr>
          <p:nvPr>
            <p:ph sz="quarter" idx="11"/>
          </p:nvPr>
        </p:nvSpPr>
        <p:spPr>
          <a:xfrm>
            <a:off x="6574140" y="2394727"/>
            <a:ext cx="5124475" cy="3771900"/>
          </a:xfrm>
        </p:spPr>
        <p:txBody>
          <a:bodyPr/>
          <a:lstStyle>
            <a:lvl1pPr>
              <a:defRPr>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a:solidFill>
                  <a:schemeClr val="tx1"/>
                </a:solidFill>
              </a:defRPr>
            </a:lvl6pPr>
            <a:lvl7pPr>
              <a:defRPr>
                <a:solidFill>
                  <a:schemeClr val="tx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296163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mparison Suma Right">
    <p:spTree>
      <p:nvGrpSpPr>
        <p:cNvPr id="1" name=""/>
        <p:cNvGrpSpPr/>
        <p:nvPr/>
      </p:nvGrpSpPr>
      <p:grpSpPr>
        <a:xfrm>
          <a:off x="0" y="0"/>
          <a:ext cx="0" cy="0"/>
          <a:chOff x="0" y="0"/>
          <a:chExt cx="0" cy="0"/>
        </a:xfrm>
      </p:grpSpPr>
      <p:sp>
        <p:nvSpPr>
          <p:cNvPr id="311" name="Freeform: Shape 310">
            <a:extLst>
              <a:ext uri="{FF2B5EF4-FFF2-40B4-BE49-F238E27FC236}">
                <a16:creationId xmlns:a16="http://schemas.microsoft.com/office/drawing/2014/main" id="{FA3D5559-630B-68EB-88DB-BCC345505905}"/>
              </a:ext>
            </a:extLst>
          </p:cNvPr>
          <p:cNvSpPr/>
          <p:nvPr/>
        </p:nvSpPr>
        <p:spPr>
          <a:xfrm>
            <a:off x="6096000" y="329967"/>
            <a:ext cx="6096000" cy="6528034"/>
          </a:xfrm>
          <a:custGeom>
            <a:avLst/>
            <a:gdLst>
              <a:gd name="connsiteX0" fmla="*/ 498361 w 6096000"/>
              <a:gd name="connsiteY0" fmla="*/ 0 h 6528034"/>
              <a:gd name="connsiteX1" fmla="*/ 2956322 w 6096000"/>
              <a:gd name="connsiteY1" fmla="*/ 0 h 6528034"/>
              <a:gd name="connsiteX2" fmla="*/ 2956322 w 6096000"/>
              <a:gd name="connsiteY2" fmla="*/ 1 h 6528034"/>
              <a:gd name="connsiteX3" fmla="*/ 3133467 w 6096000"/>
              <a:gd name="connsiteY3" fmla="*/ 1 h 6528034"/>
              <a:gd name="connsiteX4" fmla="*/ 5254219 w 6096000"/>
              <a:gd name="connsiteY4" fmla="*/ 1 h 6528034"/>
              <a:gd name="connsiteX5" fmla="*/ 5254219 w 6096000"/>
              <a:gd name="connsiteY5" fmla="*/ 2612 h 6528034"/>
              <a:gd name="connsiteX6" fmla="*/ 5334022 w 6096000"/>
              <a:gd name="connsiteY6" fmla="*/ 2594 h 6528034"/>
              <a:gd name="connsiteX7" fmla="*/ 5567834 w 6096000"/>
              <a:gd name="connsiteY7" fmla="*/ 100419 h 6528034"/>
              <a:gd name="connsiteX8" fmla="*/ 5998174 w 6096000"/>
              <a:gd name="connsiteY8" fmla="*/ 530758 h 6528034"/>
              <a:gd name="connsiteX9" fmla="*/ 6089287 w 6096000"/>
              <a:gd name="connsiteY9" fmla="*/ 699850 h 6528034"/>
              <a:gd name="connsiteX10" fmla="*/ 6092847 w 6096000"/>
              <a:gd name="connsiteY10" fmla="*/ 734186 h 6528034"/>
              <a:gd name="connsiteX11" fmla="*/ 6094720 w 6096000"/>
              <a:gd name="connsiteY11" fmla="*/ 734187 h 6528034"/>
              <a:gd name="connsiteX12" fmla="*/ 6094720 w 6096000"/>
              <a:gd name="connsiteY12" fmla="*/ 752239 h 6528034"/>
              <a:gd name="connsiteX13" fmla="*/ 6096000 w 6096000"/>
              <a:gd name="connsiteY13" fmla="*/ 764572 h 6528034"/>
              <a:gd name="connsiteX14" fmla="*/ 6095930 w 6096000"/>
              <a:gd name="connsiteY14" fmla="*/ 1081147 h 6528034"/>
              <a:gd name="connsiteX15" fmla="*/ 6095926 w 6096000"/>
              <a:gd name="connsiteY15" fmla="*/ 1105640 h 6528034"/>
              <a:gd name="connsiteX16" fmla="*/ 6096000 w 6096000"/>
              <a:gd name="connsiteY16" fmla="*/ 1106355 h 6528034"/>
              <a:gd name="connsiteX17" fmla="*/ 6095896 w 6096000"/>
              <a:gd name="connsiteY17" fmla="*/ 1578910 h 6528034"/>
              <a:gd name="connsiteX18" fmla="*/ 6095210 w 6096000"/>
              <a:gd name="connsiteY18" fmla="*/ 1578912 h 6528034"/>
              <a:gd name="connsiteX19" fmla="*/ 6094720 w 6096000"/>
              <a:gd name="connsiteY19" fmla="*/ 1578914 h 6528034"/>
              <a:gd name="connsiteX20" fmla="*/ 6094720 w 6096000"/>
              <a:gd name="connsiteY20" fmla="*/ 1676436 h 6528034"/>
              <a:gd name="connsiteX21" fmla="*/ 6094720 w 6096000"/>
              <a:gd name="connsiteY21" fmla="*/ 1939724 h 6528034"/>
              <a:gd name="connsiteX22" fmla="*/ 6094720 w 6096000"/>
              <a:gd name="connsiteY22" fmla="*/ 1957771 h 6528034"/>
              <a:gd name="connsiteX23" fmla="*/ 6096000 w 6096000"/>
              <a:gd name="connsiteY23" fmla="*/ 1970105 h 6528034"/>
              <a:gd name="connsiteX24" fmla="*/ 6095930 w 6096000"/>
              <a:gd name="connsiteY24" fmla="*/ 2286686 h 6528034"/>
              <a:gd name="connsiteX25" fmla="*/ 6095926 w 6096000"/>
              <a:gd name="connsiteY25" fmla="*/ 2311171 h 6528034"/>
              <a:gd name="connsiteX26" fmla="*/ 6095999 w 6096000"/>
              <a:gd name="connsiteY26" fmla="*/ 2311888 h 6528034"/>
              <a:gd name="connsiteX27" fmla="*/ 6095896 w 6096000"/>
              <a:gd name="connsiteY27" fmla="*/ 2784449 h 6528034"/>
              <a:gd name="connsiteX28" fmla="*/ 6095210 w 6096000"/>
              <a:gd name="connsiteY28" fmla="*/ 2784450 h 6528034"/>
              <a:gd name="connsiteX29" fmla="*/ 6094720 w 6096000"/>
              <a:gd name="connsiteY29" fmla="*/ 2784451 h 6528034"/>
              <a:gd name="connsiteX30" fmla="*/ 6094720 w 6096000"/>
              <a:gd name="connsiteY30" fmla="*/ 2881981 h 6528034"/>
              <a:gd name="connsiteX31" fmla="*/ 6094720 w 6096000"/>
              <a:gd name="connsiteY31" fmla="*/ 3094524 h 6528034"/>
              <a:gd name="connsiteX32" fmla="*/ 6094720 w 6096000"/>
              <a:gd name="connsiteY32" fmla="*/ 3223754 h 6528034"/>
              <a:gd name="connsiteX33" fmla="*/ 6094720 w 6096000"/>
              <a:gd name="connsiteY33" fmla="*/ 3316620 h 6528034"/>
              <a:gd name="connsiteX34" fmla="*/ 6094720 w 6096000"/>
              <a:gd name="connsiteY34" fmla="*/ 3436291 h 6528034"/>
              <a:gd name="connsiteX35" fmla="*/ 6094720 w 6096000"/>
              <a:gd name="connsiteY35" fmla="*/ 3524159 h 6528034"/>
              <a:gd name="connsiteX36" fmla="*/ 6094720 w 6096000"/>
              <a:gd name="connsiteY36" fmla="*/ 3612822 h 6528034"/>
              <a:gd name="connsiteX37" fmla="*/ 6096000 w 6096000"/>
              <a:gd name="connsiteY37" fmla="*/ 3625155 h 6528034"/>
              <a:gd name="connsiteX38" fmla="*/ 6095930 w 6096000"/>
              <a:gd name="connsiteY38" fmla="*/ 3941730 h 6528034"/>
              <a:gd name="connsiteX39" fmla="*/ 6095926 w 6096000"/>
              <a:gd name="connsiteY39" fmla="*/ 3966224 h 6528034"/>
              <a:gd name="connsiteX40" fmla="*/ 6096000 w 6096000"/>
              <a:gd name="connsiteY40" fmla="*/ 3966938 h 6528034"/>
              <a:gd name="connsiteX41" fmla="*/ 6095995 w 6096000"/>
              <a:gd name="connsiteY41" fmla="*/ 3991859 h 6528034"/>
              <a:gd name="connsiteX42" fmla="*/ 6095993 w 6096000"/>
              <a:gd name="connsiteY42" fmla="*/ 4001046 h 6528034"/>
              <a:gd name="connsiteX43" fmla="*/ 6095999 w 6096000"/>
              <a:gd name="connsiteY43" fmla="*/ 4001118 h 6528034"/>
              <a:gd name="connsiteX44" fmla="*/ 6095930 w 6096000"/>
              <a:gd name="connsiteY44" fmla="*/ 4317694 h 6528034"/>
              <a:gd name="connsiteX45" fmla="*/ 6095926 w 6096000"/>
              <a:gd name="connsiteY45" fmla="*/ 4342186 h 6528034"/>
              <a:gd name="connsiteX46" fmla="*/ 6096000 w 6096000"/>
              <a:gd name="connsiteY46" fmla="*/ 4342902 h 6528034"/>
              <a:gd name="connsiteX47" fmla="*/ 6095896 w 6096000"/>
              <a:gd name="connsiteY47" fmla="*/ 4815458 h 6528034"/>
              <a:gd name="connsiteX48" fmla="*/ 6095209 w 6096000"/>
              <a:gd name="connsiteY48" fmla="*/ 4815459 h 6528034"/>
              <a:gd name="connsiteX49" fmla="*/ 6094720 w 6096000"/>
              <a:gd name="connsiteY49" fmla="*/ 4815459 h 6528034"/>
              <a:gd name="connsiteX50" fmla="*/ 6094720 w 6096000"/>
              <a:gd name="connsiteY50" fmla="*/ 4901060 h 6528034"/>
              <a:gd name="connsiteX51" fmla="*/ 6094720 w 6096000"/>
              <a:gd name="connsiteY51" fmla="*/ 5109958 h 6528034"/>
              <a:gd name="connsiteX52" fmla="*/ 6094720 w 6096000"/>
              <a:gd name="connsiteY52" fmla="*/ 5202832 h 6528034"/>
              <a:gd name="connsiteX53" fmla="*/ 6094720 w 6096000"/>
              <a:gd name="connsiteY53" fmla="*/ 5242844 h 6528034"/>
              <a:gd name="connsiteX54" fmla="*/ 6094720 w 6096000"/>
              <a:gd name="connsiteY54" fmla="*/ 5544616 h 6528034"/>
              <a:gd name="connsiteX55" fmla="*/ 6094720 w 6096000"/>
              <a:gd name="connsiteY55" fmla="*/ 5884479 h 6528034"/>
              <a:gd name="connsiteX56" fmla="*/ 6094720 w 6096000"/>
              <a:gd name="connsiteY56" fmla="*/ 6186250 h 6528034"/>
              <a:gd name="connsiteX57" fmla="*/ 6094720 w 6096000"/>
              <a:gd name="connsiteY57" fmla="*/ 6226262 h 6528034"/>
              <a:gd name="connsiteX58" fmla="*/ 6094720 w 6096000"/>
              <a:gd name="connsiteY58" fmla="*/ 6528034 h 6528034"/>
              <a:gd name="connsiteX59" fmla="*/ 5774783 w 6096000"/>
              <a:gd name="connsiteY59" fmla="*/ 6528034 h 6528034"/>
              <a:gd name="connsiteX60" fmla="*/ 5597638 w 6096000"/>
              <a:gd name="connsiteY60" fmla="*/ 6528034 h 6528034"/>
              <a:gd name="connsiteX61" fmla="*/ 3636760 w 6096000"/>
              <a:gd name="connsiteY61" fmla="*/ 6528034 h 6528034"/>
              <a:gd name="connsiteX62" fmla="*/ 3459615 w 6096000"/>
              <a:gd name="connsiteY62" fmla="*/ 6528034 h 6528034"/>
              <a:gd name="connsiteX63" fmla="*/ 3139677 w 6096000"/>
              <a:gd name="connsiteY63" fmla="*/ 6528034 h 6528034"/>
              <a:gd name="connsiteX64" fmla="*/ 3139677 w 6096000"/>
              <a:gd name="connsiteY64" fmla="*/ 6528032 h 6528034"/>
              <a:gd name="connsiteX65" fmla="*/ 2962532 w 6096000"/>
              <a:gd name="connsiteY65" fmla="*/ 6528032 h 6528034"/>
              <a:gd name="connsiteX66" fmla="*/ 841782 w 6096000"/>
              <a:gd name="connsiteY66" fmla="*/ 6528032 h 6528034"/>
              <a:gd name="connsiteX67" fmla="*/ 841782 w 6096000"/>
              <a:gd name="connsiteY67" fmla="*/ 6527773 h 6528034"/>
              <a:gd name="connsiteX68" fmla="*/ 761978 w 6096000"/>
              <a:gd name="connsiteY68" fmla="*/ 6527791 h 6528034"/>
              <a:gd name="connsiteX69" fmla="*/ 528166 w 6096000"/>
              <a:gd name="connsiteY69" fmla="*/ 6429965 h 6528034"/>
              <a:gd name="connsiteX70" fmla="*/ 97826 w 6096000"/>
              <a:gd name="connsiteY70" fmla="*/ 5999627 h 6528034"/>
              <a:gd name="connsiteX71" fmla="*/ 2 w 6096000"/>
              <a:gd name="connsiteY71" fmla="*/ 5765813 h 6528034"/>
              <a:gd name="connsiteX72" fmla="*/ 57 w 6096000"/>
              <a:gd name="connsiteY72" fmla="*/ 5512346 h 6528034"/>
              <a:gd name="connsiteX73" fmla="*/ 67 w 6096000"/>
              <a:gd name="connsiteY73" fmla="*/ 5464670 h 6528034"/>
              <a:gd name="connsiteX74" fmla="*/ 2 w 6096000"/>
              <a:gd name="connsiteY74" fmla="*/ 5464039 h 6528034"/>
              <a:gd name="connsiteX75" fmla="*/ 7 w 6096000"/>
              <a:gd name="connsiteY75" fmla="*/ 5439119 h 6528034"/>
              <a:gd name="connsiteX76" fmla="*/ 10 w 6096000"/>
              <a:gd name="connsiteY76" fmla="*/ 5424128 h 6528034"/>
              <a:gd name="connsiteX77" fmla="*/ 0 w 6096000"/>
              <a:gd name="connsiteY77" fmla="*/ 5424029 h 6528034"/>
              <a:gd name="connsiteX78" fmla="*/ 55 w 6096000"/>
              <a:gd name="connsiteY78" fmla="*/ 5170563 h 6528034"/>
              <a:gd name="connsiteX79" fmla="*/ 66 w 6096000"/>
              <a:gd name="connsiteY79" fmla="*/ 5122889 h 6528034"/>
              <a:gd name="connsiteX80" fmla="*/ 0 w 6096000"/>
              <a:gd name="connsiteY80" fmla="*/ 5122257 h 6528034"/>
              <a:gd name="connsiteX81" fmla="*/ 103 w 6096000"/>
              <a:gd name="connsiteY81" fmla="*/ 4649702 h 6528034"/>
              <a:gd name="connsiteX82" fmla="*/ 790 w 6096000"/>
              <a:gd name="connsiteY82" fmla="*/ 4649701 h 6528034"/>
              <a:gd name="connsiteX83" fmla="*/ 1276 w 6096000"/>
              <a:gd name="connsiteY83" fmla="*/ 4649700 h 6528034"/>
              <a:gd name="connsiteX84" fmla="*/ 1277 w 6096000"/>
              <a:gd name="connsiteY84" fmla="*/ 3891898 h 6528034"/>
              <a:gd name="connsiteX85" fmla="*/ 1 w 6096000"/>
              <a:gd name="connsiteY85" fmla="*/ 3879598 h 6528034"/>
              <a:gd name="connsiteX86" fmla="*/ 70 w 6096000"/>
              <a:gd name="connsiteY86" fmla="*/ 3563023 h 6528034"/>
              <a:gd name="connsiteX87" fmla="*/ 76 w 6096000"/>
              <a:gd name="connsiteY87" fmla="*/ 3538548 h 6528034"/>
              <a:gd name="connsiteX88" fmla="*/ 0 w 6096000"/>
              <a:gd name="connsiteY88" fmla="*/ 3537818 h 6528034"/>
              <a:gd name="connsiteX89" fmla="*/ 103 w 6096000"/>
              <a:gd name="connsiteY89" fmla="*/ 3065277 h 6528034"/>
              <a:gd name="connsiteX90" fmla="*/ 791 w 6096000"/>
              <a:gd name="connsiteY90" fmla="*/ 3065276 h 6528034"/>
              <a:gd name="connsiteX91" fmla="*/ 1277 w 6096000"/>
              <a:gd name="connsiteY91" fmla="*/ 3065275 h 6528034"/>
              <a:gd name="connsiteX92" fmla="*/ 1277 w 6096000"/>
              <a:gd name="connsiteY92" fmla="*/ 2686371 h 6528034"/>
              <a:gd name="connsiteX93" fmla="*/ 2 w 6096000"/>
              <a:gd name="connsiteY93" fmla="*/ 2674072 h 6528034"/>
              <a:gd name="connsiteX94" fmla="*/ 70 w 6096000"/>
              <a:gd name="connsiteY94" fmla="*/ 2357496 h 6528034"/>
              <a:gd name="connsiteX95" fmla="*/ 75 w 6096000"/>
              <a:gd name="connsiteY95" fmla="*/ 2333023 h 6528034"/>
              <a:gd name="connsiteX96" fmla="*/ 0 w 6096000"/>
              <a:gd name="connsiteY96" fmla="*/ 2332286 h 6528034"/>
              <a:gd name="connsiteX97" fmla="*/ 102 w 6096000"/>
              <a:gd name="connsiteY97" fmla="*/ 1859734 h 6528034"/>
              <a:gd name="connsiteX98" fmla="*/ 790 w 6096000"/>
              <a:gd name="connsiteY98" fmla="*/ 1859730 h 6528034"/>
              <a:gd name="connsiteX99" fmla="*/ 1277 w 6096000"/>
              <a:gd name="connsiteY99" fmla="*/ 1859730 h 6528034"/>
              <a:gd name="connsiteX100" fmla="*/ 1277 w 6096000"/>
              <a:gd name="connsiteY100" fmla="*/ 734186 h 6528034"/>
              <a:gd name="connsiteX101" fmla="*/ 1278 w 6096000"/>
              <a:gd name="connsiteY101" fmla="*/ 734186 h 6528034"/>
              <a:gd name="connsiteX102" fmla="*/ 1278 w 6096000"/>
              <a:gd name="connsiteY102" fmla="*/ 1 h 652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6096000" h="6528034">
                <a:moveTo>
                  <a:pt x="498361" y="0"/>
                </a:moveTo>
                <a:lnTo>
                  <a:pt x="2956322" y="0"/>
                </a:lnTo>
                <a:lnTo>
                  <a:pt x="2956322" y="1"/>
                </a:lnTo>
                <a:lnTo>
                  <a:pt x="3133467" y="1"/>
                </a:lnTo>
                <a:lnTo>
                  <a:pt x="5254219" y="1"/>
                </a:lnTo>
                <a:lnTo>
                  <a:pt x="5254219" y="2612"/>
                </a:lnTo>
                <a:lnTo>
                  <a:pt x="5334022" y="2594"/>
                </a:lnTo>
                <a:cubicBezTo>
                  <a:pt x="5421676" y="3113"/>
                  <a:pt x="5505980" y="38567"/>
                  <a:pt x="5567834" y="100419"/>
                </a:cubicBezTo>
                <a:cubicBezTo>
                  <a:pt x="5567834" y="100419"/>
                  <a:pt x="5567834" y="100419"/>
                  <a:pt x="5998174" y="530758"/>
                </a:cubicBezTo>
                <a:cubicBezTo>
                  <a:pt x="6045058" y="577643"/>
                  <a:pt x="6076350" y="636415"/>
                  <a:pt x="6089287" y="699850"/>
                </a:cubicBezTo>
                <a:lnTo>
                  <a:pt x="6092847" y="734186"/>
                </a:lnTo>
                <a:lnTo>
                  <a:pt x="6094720" y="734187"/>
                </a:lnTo>
                <a:lnTo>
                  <a:pt x="6094720" y="752239"/>
                </a:lnTo>
                <a:lnTo>
                  <a:pt x="6096000" y="764572"/>
                </a:lnTo>
                <a:cubicBezTo>
                  <a:pt x="6096000" y="764572"/>
                  <a:pt x="6096000" y="764572"/>
                  <a:pt x="6095930" y="1081147"/>
                </a:cubicBezTo>
                <a:lnTo>
                  <a:pt x="6095926" y="1105640"/>
                </a:lnTo>
                <a:lnTo>
                  <a:pt x="6096000" y="1106355"/>
                </a:lnTo>
                <a:cubicBezTo>
                  <a:pt x="6096000" y="1106355"/>
                  <a:pt x="6096000" y="1106355"/>
                  <a:pt x="6095896" y="1578910"/>
                </a:cubicBezTo>
                <a:cubicBezTo>
                  <a:pt x="6095896" y="1578910"/>
                  <a:pt x="6095896" y="1578910"/>
                  <a:pt x="6095210" y="1578912"/>
                </a:cubicBezTo>
                <a:lnTo>
                  <a:pt x="6094720" y="1578914"/>
                </a:lnTo>
                <a:lnTo>
                  <a:pt x="6094720" y="1676436"/>
                </a:lnTo>
                <a:lnTo>
                  <a:pt x="6094720" y="1939724"/>
                </a:lnTo>
                <a:lnTo>
                  <a:pt x="6094720" y="1957771"/>
                </a:lnTo>
                <a:lnTo>
                  <a:pt x="6096000" y="1970105"/>
                </a:lnTo>
                <a:cubicBezTo>
                  <a:pt x="6096000" y="1970105"/>
                  <a:pt x="6096000" y="1970105"/>
                  <a:pt x="6095930" y="2286686"/>
                </a:cubicBezTo>
                <a:lnTo>
                  <a:pt x="6095926" y="2311171"/>
                </a:lnTo>
                <a:lnTo>
                  <a:pt x="6095999" y="2311888"/>
                </a:lnTo>
                <a:cubicBezTo>
                  <a:pt x="6095999" y="2311888"/>
                  <a:pt x="6095999" y="2311888"/>
                  <a:pt x="6095896" y="2784449"/>
                </a:cubicBezTo>
                <a:cubicBezTo>
                  <a:pt x="6095896" y="2784449"/>
                  <a:pt x="6095896" y="2784449"/>
                  <a:pt x="6095210" y="2784450"/>
                </a:cubicBezTo>
                <a:lnTo>
                  <a:pt x="6094720" y="2784451"/>
                </a:lnTo>
                <a:lnTo>
                  <a:pt x="6094720" y="2881981"/>
                </a:lnTo>
                <a:lnTo>
                  <a:pt x="6094720" y="3094524"/>
                </a:lnTo>
                <a:lnTo>
                  <a:pt x="6094720" y="3223754"/>
                </a:lnTo>
                <a:lnTo>
                  <a:pt x="6094720" y="3316620"/>
                </a:lnTo>
                <a:lnTo>
                  <a:pt x="6094720" y="3436291"/>
                </a:lnTo>
                <a:lnTo>
                  <a:pt x="6094720" y="3524159"/>
                </a:lnTo>
                <a:lnTo>
                  <a:pt x="6094720" y="3612822"/>
                </a:lnTo>
                <a:lnTo>
                  <a:pt x="6096000" y="3625155"/>
                </a:lnTo>
                <a:cubicBezTo>
                  <a:pt x="6096000" y="3625155"/>
                  <a:pt x="6096000" y="3625155"/>
                  <a:pt x="6095930" y="3941730"/>
                </a:cubicBezTo>
                <a:lnTo>
                  <a:pt x="6095926" y="3966224"/>
                </a:lnTo>
                <a:lnTo>
                  <a:pt x="6096000" y="3966938"/>
                </a:lnTo>
                <a:cubicBezTo>
                  <a:pt x="6096000" y="3966938"/>
                  <a:pt x="6096000" y="3966938"/>
                  <a:pt x="6095995" y="3991859"/>
                </a:cubicBezTo>
                <a:lnTo>
                  <a:pt x="6095993" y="4001046"/>
                </a:lnTo>
                <a:lnTo>
                  <a:pt x="6095999" y="4001118"/>
                </a:lnTo>
                <a:cubicBezTo>
                  <a:pt x="6095999" y="4001118"/>
                  <a:pt x="6095999" y="4001118"/>
                  <a:pt x="6095930" y="4317694"/>
                </a:cubicBezTo>
                <a:lnTo>
                  <a:pt x="6095926" y="4342186"/>
                </a:lnTo>
                <a:lnTo>
                  <a:pt x="6096000" y="4342902"/>
                </a:lnTo>
                <a:cubicBezTo>
                  <a:pt x="6096000" y="4342902"/>
                  <a:pt x="6096000" y="4342902"/>
                  <a:pt x="6095896" y="4815458"/>
                </a:cubicBezTo>
                <a:cubicBezTo>
                  <a:pt x="6095896" y="4815458"/>
                  <a:pt x="6095896" y="4815458"/>
                  <a:pt x="6095209" y="4815459"/>
                </a:cubicBezTo>
                <a:lnTo>
                  <a:pt x="6094720" y="4815459"/>
                </a:lnTo>
                <a:lnTo>
                  <a:pt x="6094720" y="4901060"/>
                </a:lnTo>
                <a:lnTo>
                  <a:pt x="6094720" y="5109958"/>
                </a:lnTo>
                <a:lnTo>
                  <a:pt x="6094720" y="5202832"/>
                </a:lnTo>
                <a:lnTo>
                  <a:pt x="6094720" y="5242844"/>
                </a:lnTo>
                <a:lnTo>
                  <a:pt x="6094720" y="5544616"/>
                </a:lnTo>
                <a:lnTo>
                  <a:pt x="6094720" y="5884479"/>
                </a:lnTo>
                <a:lnTo>
                  <a:pt x="6094720" y="6186250"/>
                </a:lnTo>
                <a:lnTo>
                  <a:pt x="6094720" y="6226262"/>
                </a:lnTo>
                <a:lnTo>
                  <a:pt x="6094720" y="6528034"/>
                </a:lnTo>
                <a:lnTo>
                  <a:pt x="5774783" y="6528034"/>
                </a:lnTo>
                <a:lnTo>
                  <a:pt x="5597638" y="6528034"/>
                </a:lnTo>
                <a:lnTo>
                  <a:pt x="3636760" y="6528034"/>
                </a:lnTo>
                <a:lnTo>
                  <a:pt x="3459615" y="6528034"/>
                </a:lnTo>
                <a:lnTo>
                  <a:pt x="3139677" y="6528034"/>
                </a:lnTo>
                <a:lnTo>
                  <a:pt x="3139677" y="6528032"/>
                </a:lnTo>
                <a:lnTo>
                  <a:pt x="2962532" y="6528032"/>
                </a:lnTo>
                <a:lnTo>
                  <a:pt x="841782" y="6528032"/>
                </a:lnTo>
                <a:lnTo>
                  <a:pt x="841782" y="6527773"/>
                </a:lnTo>
                <a:lnTo>
                  <a:pt x="761978" y="6527791"/>
                </a:lnTo>
                <a:cubicBezTo>
                  <a:pt x="674323" y="6527273"/>
                  <a:pt x="590019" y="6491819"/>
                  <a:pt x="528166" y="6429965"/>
                </a:cubicBezTo>
                <a:cubicBezTo>
                  <a:pt x="528166" y="6429965"/>
                  <a:pt x="528166" y="6429965"/>
                  <a:pt x="97826" y="5999627"/>
                </a:cubicBezTo>
                <a:cubicBezTo>
                  <a:pt x="35315" y="5937116"/>
                  <a:pt x="519" y="5853470"/>
                  <a:pt x="2" y="5765813"/>
                </a:cubicBezTo>
                <a:cubicBezTo>
                  <a:pt x="2" y="5765813"/>
                  <a:pt x="2" y="5765813"/>
                  <a:pt x="57" y="5512346"/>
                </a:cubicBezTo>
                <a:lnTo>
                  <a:pt x="67" y="5464670"/>
                </a:lnTo>
                <a:lnTo>
                  <a:pt x="2" y="5464039"/>
                </a:lnTo>
                <a:cubicBezTo>
                  <a:pt x="2" y="5464039"/>
                  <a:pt x="2" y="5464039"/>
                  <a:pt x="7" y="5439119"/>
                </a:cubicBezTo>
                <a:lnTo>
                  <a:pt x="10" y="5424128"/>
                </a:lnTo>
                <a:lnTo>
                  <a:pt x="0" y="5424029"/>
                </a:lnTo>
                <a:cubicBezTo>
                  <a:pt x="0" y="5424029"/>
                  <a:pt x="0" y="5424029"/>
                  <a:pt x="55" y="5170563"/>
                </a:cubicBezTo>
                <a:lnTo>
                  <a:pt x="66" y="5122889"/>
                </a:lnTo>
                <a:lnTo>
                  <a:pt x="0" y="5122257"/>
                </a:lnTo>
                <a:cubicBezTo>
                  <a:pt x="0" y="5122257"/>
                  <a:pt x="0" y="5122257"/>
                  <a:pt x="103" y="4649702"/>
                </a:cubicBezTo>
                <a:cubicBezTo>
                  <a:pt x="103" y="4649702"/>
                  <a:pt x="103" y="4649702"/>
                  <a:pt x="790" y="4649701"/>
                </a:cubicBezTo>
                <a:lnTo>
                  <a:pt x="1276" y="4649700"/>
                </a:lnTo>
                <a:lnTo>
                  <a:pt x="1277" y="3891898"/>
                </a:lnTo>
                <a:lnTo>
                  <a:pt x="1" y="3879598"/>
                </a:lnTo>
                <a:cubicBezTo>
                  <a:pt x="1" y="3879598"/>
                  <a:pt x="1" y="3879598"/>
                  <a:pt x="70" y="3563023"/>
                </a:cubicBezTo>
                <a:lnTo>
                  <a:pt x="76" y="3538548"/>
                </a:lnTo>
                <a:lnTo>
                  <a:pt x="0" y="3537818"/>
                </a:lnTo>
                <a:cubicBezTo>
                  <a:pt x="0" y="3537818"/>
                  <a:pt x="0" y="3537818"/>
                  <a:pt x="103" y="3065277"/>
                </a:cubicBezTo>
                <a:cubicBezTo>
                  <a:pt x="103" y="3065277"/>
                  <a:pt x="103" y="3065277"/>
                  <a:pt x="791" y="3065276"/>
                </a:cubicBezTo>
                <a:lnTo>
                  <a:pt x="1277" y="3065275"/>
                </a:lnTo>
                <a:lnTo>
                  <a:pt x="1277" y="2686371"/>
                </a:lnTo>
                <a:lnTo>
                  <a:pt x="2" y="2674072"/>
                </a:lnTo>
                <a:cubicBezTo>
                  <a:pt x="2" y="2674072"/>
                  <a:pt x="2" y="2674072"/>
                  <a:pt x="70" y="2357496"/>
                </a:cubicBezTo>
                <a:lnTo>
                  <a:pt x="75" y="2333023"/>
                </a:lnTo>
                <a:lnTo>
                  <a:pt x="0" y="2332286"/>
                </a:lnTo>
                <a:cubicBezTo>
                  <a:pt x="0" y="2332286"/>
                  <a:pt x="0" y="2332286"/>
                  <a:pt x="102" y="1859734"/>
                </a:cubicBezTo>
                <a:cubicBezTo>
                  <a:pt x="102" y="1859734"/>
                  <a:pt x="102" y="1859734"/>
                  <a:pt x="790" y="1859730"/>
                </a:cubicBezTo>
                <a:lnTo>
                  <a:pt x="1277" y="1859730"/>
                </a:lnTo>
                <a:lnTo>
                  <a:pt x="1277" y="734186"/>
                </a:lnTo>
                <a:lnTo>
                  <a:pt x="1278" y="734186"/>
                </a:lnTo>
                <a:lnTo>
                  <a:pt x="1278" y="1"/>
                </a:lnTo>
                <a:close/>
              </a:path>
            </a:pathLst>
          </a:custGeom>
          <a:solidFill>
            <a:srgbClr val="FE8A2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Title 1">
            <a:extLst>
              <a:ext uri="{FF2B5EF4-FFF2-40B4-BE49-F238E27FC236}">
                <a16:creationId xmlns:a16="http://schemas.microsoft.com/office/drawing/2014/main" id="{0C5401A7-BDA4-8691-C3F9-CA6F37E09955}"/>
              </a:ext>
            </a:extLst>
          </p:cNvPr>
          <p:cNvSpPr>
            <a:spLocks noGrp="1"/>
          </p:cNvSpPr>
          <p:nvPr>
            <p:ph type="title"/>
          </p:nvPr>
        </p:nvSpPr>
        <p:spPr>
          <a:xfrm>
            <a:off x="493714" y="579438"/>
            <a:ext cx="5113896" cy="792162"/>
          </a:xfrm>
        </p:spPr>
        <p:txBody>
          <a:bodyPr anchor="t">
            <a:noAutofit/>
          </a:bodyPr>
          <a:lstStyle>
            <a:lvl1pPr>
              <a:lnSpc>
                <a:spcPct val="85000"/>
              </a:lnSpc>
              <a:defRPr/>
            </a:lvl1pPr>
          </a:lstStyle>
          <a:p>
            <a:r>
              <a:rPr lang="en-US"/>
              <a:t>Click to edit Master title style</a:t>
            </a:r>
          </a:p>
        </p:txBody>
      </p:sp>
      <p:sp>
        <p:nvSpPr>
          <p:cNvPr id="11" name="Text Placeholder 12">
            <a:extLst>
              <a:ext uri="{FF2B5EF4-FFF2-40B4-BE49-F238E27FC236}">
                <a16:creationId xmlns:a16="http://schemas.microsoft.com/office/drawing/2014/main" id="{D75A9DCD-B172-E190-883C-626D62530512}"/>
              </a:ext>
            </a:extLst>
          </p:cNvPr>
          <p:cNvSpPr>
            <a:spLocks noGrp="1"/>
          </p:cNvSpPr>
          <p:nvPr>
            <p:ph type="body" sz="quarter" idx="14"/>
          </p:nvPr>
        </p:nvSpPr>
        <p:spPr>
          <a:xfrm>
            <a:off x="6572250" y="1382889"/>
            <a:ext cx="5126366" cy="336374"/>
          </a:xfrm>
        </p:spPr>
        <p:txBody>
          <a:bodyPr anchor="t">
            <a:noAutofit/>
          </a:bodyPr>
          <a:lstStyle>
            <a:lvl1pPr marL="0" indent="0">
              <a:buNone/>
              <a:defRPr sz="2100">
                <a:solidFill>
                  <a:schemeClr val="bg1"/>
                </a:solidFill>
                <a:latin typeface="ES Build "/>
              </a:defRPr>
            </a:lvl1pPr>
          </a:lstStyle>
          <a:p>
            <a:pPr lvl="0"/>
            <a:r>
              <a:rPr lang="en-US"/>
              <a:t>Click to edit Master text styles</a:t>
            </a:r>
          </a:p>
        </p:txBody>
      </p:sp>
      <p:sp>
        <p:nvSpPr>
          <p:cNvPr id="14" name="Subtitle 2">
            <a:extLst>
              <a:ext uri="{FF2B5EF4-FFF2-40B4-BE49-F238E27FC236}">
                <a16:creationId xmlns:a16="http://schemas.microsoft.com/office/drawing/2014/main" id="{7FCDD184-4728-83E7-FD45-4DB26B8D6469}"/>
              </a:ext>
            </a:extLst>
          </p:cNvPr>
          <p:cNvSpPr>
            <a:spLocks noGrp="1"/>
          </p:cNvSpPr>
          <p:nvPr>
            <p:ph type="subTitle" idx="1"/>
          </p:nvPr>
        </p:nvSpPr>
        <p:spPr>
          <a:xfrm>
            <a:off x="493714" y="1371600"/>
            <a:ext cx="5113896" cy="347663"/>
          </a:xfrm>
        </p:spPr>
        <p:txBody>
          <a:bodyPr anchor="t">
            <a:noAutofit/>
          </a:bodyPr>
          <a:lstStyle>
            <a:lvl1pPr marL="0" indent="0" algn="l">
              <a:buNone/>
              <a:defRPr sz="2100">
                <a:solidFill>
                  <a:schemeClr val="tx1"/>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Text Placeholder 11">
            <a:extLst>
              <a:ext uri="{FF2B5EF4-FFF2-40B4-BE49-F238E27FC236}">
                <a16:creationId xmlns:a16="http://schemas.microsoft.com/office/drawing/2014/main" id="{7D93CB58-DA98-333A-2500-74FD22733930}"/>
              </a:ext>
            </a:extLst>
          </p:cNvPr>
          <p:cNvSpPr>
            <a:spLocks noGrp="1"/>
          </p:cNvSpPr>
          <p:nvPr>
            <p:ph type="body" sz="quarter" idx="16"/>
          </p:nvPr>
        </p:nvSpPr>
        <p:spPr>
          <a:xfrm>
            <a:off x="6572250" y="579439"/>
            <a:ext cx="5126365" cy="792162"/>
          </a:xfrm>
        </p:spPr>
        <p:txBody>
          <a:bodyPr anchor="t">
            <a:noAutofit/>
          </a:bodyPr>
          <a:lstStyle>
            <a:lvl1pPr marL="0" indent="0">
              <a:lnSpc>
                <a:spcPct val="85000"/>
              </a:lnSpc>
              <a:buNone/>
              <a:defRPr sz="3400">
                <a:solidFill>
                  <a:schemeClr val="bg1"/>
                </a:solidFill>
                <a:latin typeface="+mn-lt"/>
              </a:defRPr>
            </a:lvl1pPr>
          </a:lstStyle>
          <a:p>
            <a:pPr lvl="0"/>
            <a:r>
              <a:rPr lang="en-US"/>
              <a:t>Click to edit Master text styles</a:t>
            </a:r>
          </a:p>
        </p:txBody>
      </p:sp>
      <p:sp>
        <p:nvSpPr>
          <p:cNvPr id="16" name="Footer Placeholder 66">
            <a:extLst>
              <a:ext uri="{FF2B5EF4-FFF2-40B4-BE49-F238E27FC236}">
                <a16:creationId xmlns:a16="http://schemas.microsoft.com/office/drawing/2014/main" id="{C872DE19-6B88-23B3-CF4E-B7B3159A26B0}"/>
              </a:ext>
            </a:extLst>
          </p:cNvPr>
          <p:cNvSpPr>
            <a:spLocks noGrp="1"/>
          </p:cNvSpPr>
          <p:nvPr>
            <p:ph type="ftr" sz="quarter" idx="3"/>
          </p:nvPr>
        </p:nvSpPr>
        <p:spPr>
          <a:xfrm>
            <a:off x="493290" y="6405456"/>
            <a:ext cx="5124874" cy="107722"/>
          </a:xfrm>
          <a:prstGeom prst="rect">
            <a:avLst/>
          </a:prstGeom>
        </p:spPr>
        <p:txBody>
          <a:bodyPr vert="horz" lIns="0" tIns="0" rIns="0" bIns="0" rtlCol="0" anchor="b"/>
          <a:lstStyle>
            <a:lvl1pPr algn="l">
              <a:defRPr sz="700">
                <a:solidFill>
                  <a:schemeClr val="tx2"/>
                </a:solidFill>
              </a:defRPr>
            </a:lvl1pPr>
          </a:lstStyle>
          <a:p>
            <a:endParaRPr lang="en-US"/>
          </a:p>
        </p:txBody>
      </p:sp>
      <p:sp>
        <p:nvSpPr>
          <p:cNvPr id="2" name="Content Placeholder 18">
            <a:extLst>
              <a:ext uri="{FF2B5EF4-FFF2-40B4-BE49-F238E27FC236}">
                <a16:creationId xmlns:a16="http://schemas.microsoft.com/office/drawing/2014/main" id="{799C9AA4-BD54-B89F-8562-AACE02773872}"/>
              </a:ext>
            </a:extLst>
          </p:cNvPr>
          <p:cNvSpPr>
            <a:spLocks noGrp="1"/>
          </p:cNvSpPr>
          <p:nvPr>
            <p:ph sz="quarter" idx="10"/>
          </p:nvPr>
        </p:nvSpPr>
        <p:spPr>
          <a:xfrm>
            <a:off x="493288" y="2397125"/>
            <a:ext cx="5124876" cy="3771900"/>
          </a:xfrm>
        </p:spPr>
        <p:txBody>
          <a:bodyPr/>
          <a:lstStyle>
            <a:lvl1pPr>
              <a:defRPr>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a:solidFill>
                  <a:schemeClr val="tx1"/>
                </a:solidFill>
              </a:defRPr>
            </a:lvl6pPr>
            <a:lvl7pPr>
              <a:defRPr>
                <a:solidFill>
                  <a:schemeClr val="tx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18">
            <a:extLst>
              <a:ext uri="{FF2B5EF4-FFF2-40B4-BE49-F238E27FC236}">
                <a16:creationId xmlns:a16="http://schemas.microsoft.com/office/drawing/2014/main" id="{3A2B3987-EA85-C344-EC96-FE44906679AF}"/>
              </a:ext>
            </a:extLst>
          </p:cNvPr>
          <p:cNvSpPr>
            <a:spLocks noGrp="1"/>
          </p:cNvSpPr>
          <p:nvPr>
            <p:ph sz="quarter" idx="11"/>
          </p:nvPr>
        </p:nvSpPr>
        <p:spPr>
          <a:xfrm>
            <a:off x="6574140" y="2394727"/>
            <a:ext cx="5124475" cy="3771900"/>
          </a:xfrm>
        </p:spPr>
        <p:txBody>
          <a:bodyPr/>
          <a:lstStyle>
            <a:lvl1pPr>
              <a:defRPr sz="1600">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Graphic 3">
            <a:extLst>
              <a:ext uri="{FF2B5EF4-FFF2-40B4-BE49-F238E27FC236}">
                <a16:creationId xmlns:a16="http://schemas.microsoft.com/office/drawing/2014/main" id="{38899D05-44B5-BD20-0E90-F4389A7A5267}"/>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180146" y="6513177"/>
            <a:ext cx="516553" cy="157025"/>
          </a:xfrm>
          <a:prstGeom prst="rect">
            <a:avLst/>
          </a:prstGeom>
        </p:spPr>
      </p:pic>
    </p:spTree>
    <p:extLst>
      <p:ext uri="{BB962C8B-B14F-4D97-AF65-F5344CB8AC3E}">
        <p14:creationId xmlns:p14="http://schemas.microsoft.com/office/powerpoint/2010/main" val="414250892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mparison Suma Left">
    <p:spTree>
      <p:nvGrpSpPr>
        <p:cNvPr id="1" name=""/>
        <p:cNvGrpSpPr/>
        <p:nvPr/>
      </p:nvGrpSpPr>
      <p:grpSpPr>
        <a:xfrm>
          <a:off x="0" y="0"/>
          <a:ext cx="0" cy="0"/>
          <a:chOff x="0" y="0"/>
          <a:chExt cx="0" cy="0"/>
        </a:xfrm>
      </p:grpSpPr>
      <p:sp>
        <p:nvSpPr>
          <p:cNvPr id="311" name="Freeform: Shape 310">
            <a:extLst>
              <a:ext uri="{FF2B5EF4-FFF2-40B4-BE49-F238E27FC236}">
                <a16:creationId xmlns:a16="http://schemas.microsoft.com/office/drawing/2014/main" id="{FA3D5559-630B-68EB-88DB-BCC345505905}"/>
              </a:ext>
            </a:extLst>
          </p:cNvPr>
          <p:cNvSpPr/>
          <p:nvPr/>
        </p:nvSpPr>
        <p:spPr>
          <a:xfrm flipH="1">
            <a:off x="0" y="329967"/>
            <a:ext cx="6096000" cy="6528034"/>
          </a:xfrm>
          <a:custGeom>
            <a:avLst/>
            <a:gdLst>
              <a:gd name="connsiteX0" fmla="*/ 498361 w 6096000"/>
              <a:gd name="connsiteY0" fmla="*/ 0 h 6528034"/>
              <a:gd name="connsiteX1" fmla="*/ 2956322 w 6096000"/>
              <a:gd name="connsiteY1" fmla="*/ 0 h 6528034"/>
              <a:gd name="connsiteX2" fmla="*/ 2956322 w 6096000"/>
              <a:gd name="connsiteY2" fmla="*/ 1 h 6528034"/>
              <a:gd name="connsiteX3" fmla="*/ 3133467 w 6096000"/>
              <a:gd name="connsiteY3" fmla="*/ 1 h 6528034"/>
              <a:gd name="connsiteX4" fmla="*/ 5254219 w 6096000"/>
              <a:gd name="connsiteY4" fmla="*/ 1 h 6528034"/>
              <a:gd name="connsiteX5" fmla="*/ 5254219 w 6096000"/>
              <a:gd name="connsiteY5" fmla="*/ 2612 h 6528034"/>
              <a:gd name="connsiteX6" fmla="*/ 5334022 w 6096000"/>
              <a:gd name="connsiteY6" fmla="*/ 2594 h 6528034"/>
              <a:gd name="connsiteX7" fmla="*/ 5567834 w 6096000"/>
              <a:gd name="connsiteY7" fmla="*/ 100419 h 6528034"/>
              <a:gd name="connsiteX8" fmla="*/ 5998174 w 6096000"/>
              <a:gd name="connsiteY8" fmla="*/ 530758 h 6528034"/>
              <a:gd name="connsiteX9" fmla="*/ 6089287 w 6096000"/>
              <a:gd name="connsiteY9" fmla="*/ 699850 h 6528034"/>
              <a:gd name="connsiteX10" fmla="*/ 6092847 w 6096000"/>
              <a:gd name="connsiteY10" fmla="*/ 734186 h 6528034"/>
              <a:gd name="connsiteX11" fmla="*/ 6094720 w 6096000"/>
              <a:gd name="connsiteY11" fmla="*/ 734187 h 6528034"/>
              <a:gd name="connsiteX12" fmla="*/ 6094720 w 6096000"/>
              <a:gd name="connsiteY12" fmla="*/ 752239 h 6528034"/>
              <a:gd name="connsiteX13" fmla="*/ 6096000 w 6096000"/>
              <a:gd name="connsiteY13" fmla="*/ 764572 h 6528034"/>
              <a:gd name="connsiteX14" fmla="*/ 6095930 w 6096000"/>
              <a:gd name="connsiteY14" fmla="*/ 1081147 h 6528034"/>
              <a:gd name="connsiteX15" fmla="*/ 6095926 w 6096000"/>
              <a:gd name="connsiteY15" fmla="*/ 1105640 h 6528034"/>
              <a:gd name="connsiteX16" fmla="*/ 6096000 w 6096000"/>
              <a:gd name="connsiteY16" fmla="*/ 1106355 h 6528034"/>
              <a:gd name="connsiteX17" fmla="*/ 6095896 w 6096000"/>
              <a:gd name="connsiteY17" fmla="*/ 1578910 h 6528034"/>
              <a:gd name="connsiteX18" fmla="*/ 6095210 w 6096000"/>
              <a:gd name="connsiteY18" fmla="*/ 1578912 h 6528034"/>
              <a:gd name="connsiteX19" fmla="*/ 6094720 w 6096000"/>
              <a:gd name="connsiteY19" fmla="*/ 1578914 h 6528034"/>
              <a:gd name="connsiteX20" fmla="*/ 6094720 w 6096000"/>
              <a:gd name="connsiteY20" fmla="*/ 1676436 h 6528034"/>
              <a:gd name="connsiteX21" fmla="*/ 6094720 w 6096000"/>
              <a:gd name="connsiteY21" fmla="*/ 1939724 h 6528034"/>
              <a:gd name="connsiteX22" fmla="*/ 6094720 w 6096000"/>
              <a:gd name="connsiteY22" fmla="*/ 1957771 h 6528034"/>
              <a:gd name="connsiteX23" fmla="*/ 6096000 w 6096000"/>
              <a:gd name="connsiteY23" fmla="*/ 1970105 h 6528034"/>
              <a:gd name="connsiteX24" fmla="*/ 6095930 w 6096000"/>
              <a:gd name="connsiteY24" fmla="*/ 2286686 h 6528034"/>
              <a:gd name="connsiteX25" fmla="*/ 6095926 w 6096000"/>
              <a:gd name="connsiteY25" fmla="*/ 2311171 h 6528034"/>
              <a:gd name="connsiteX26" fmla="*/ 6095999 w 6096000"/>
              <a:gd name="connsiteY26" fmla="*/ 2311888 h 6528034"/>
              <a:gd name="connsiteX27" fmla="*/ 6095896 w 6096000"/>
              <a:gd name="connsiteY27" fmla="*/ 2784449 h 6528034"/>
              <a:gd name="connsiteX28" fmla="*/ 6095210 w 6096000"/>
              <a:gd name="connsiteY28" fmla="*/ 2784450 h 6528034"/>
              <a:gd name="connsiteX29" fmla="*/ 6094720 w 6096000"/>
              <a:gd name="connsiteY29" fmla="*/ 2784451 h 6528034"/>
              <a:gd name="connsiteX30" fmla="*/ 6094720 w 6096000"/>
              <a:gd name="connsiteY30" fmla="*/ 2881981 h 6528034"/>
              <a:gd name="connsiteX31" fmla="*/ 6094720 w 6096000"/>
              <a:gd name="connsiteY31" fmla="*/ 3094524 h 6528034"/>
              <a:gd name="connsiteX32" fmla="*/ 6094720 w 6096000"/>
              <a:gd name="connsiteY32" fmla="*/ 3223754 h 6528034"/>
              <a:gd name="connsiteX33" fmla="*/ 6094720 w 6096000"/>
              <a:gd name="connsiteY33" fmla="*/ 3316620 h 6528034"/>
              <a:gd name="connsiteX34" fmla="*/ 6094720 w 6096000"/>
              <a:gd name="connsiteY34" fmla="*/ 3436291 h 6528034"/>
              <a:gd name="connsiteX35" fmla="*/ 6094720 w 6096000"/>
              <a:gd name="connsiteY35" fmla="*/ 3524159 h 6528034"/>
              <a:gd name="connsiteX36" fmla="*/ 6094720 w 6096000"/>
              <a:gd name="connsiteY36" fmla="*/ 3612822 h 6528034"/>
              <a:gd name="connsiteX37" fmla="*/ 6096000 w 6096000"/>
              <a:gd name="connsiteY37" fmla="*/ 3625155 h 6528034"/>
              <a:gd name="connsiteX38" fmla="*/ 6095930 w 6096000"/>
              <a:gd name="connsiteY38" fmla="*/ 3941730 h 6528034"/>
              <a:gd name="connsiteX39" fmla="*/ 6095926 w 6096000"/>
              <a:gd name="connsiteY39" fmla="*/ 3966224 h 6528034"/>
              <a:gd name="connsiteX40" fmla="*/ 6096000 w 6096000"/>
              <a:gd name="connsiteY40" fmla="*/ 3966938 h 6528034"/>
              <a:gd name="connsiteX41" fmla="*/ 6095995 w 6096000"/>
              <a:gd name="connsiteY41" fmla="*/ 3991859 h 6528034"/>
              <a:gd name="connsiteX42" fmla="*/ 6095993 w 6096000"/>
              <a:gd name="connsiteY42" fmla="*/ 4001046 h 6528034"/>
              <a:gd name="connsiteX43" fmla="*/ 6095999 w 6096000"/>
              <a:gd name="connsiteY43" fmla="*/ 4001118 h 6528034"/>
              <a:gd name="connsiteX44" fmla="*/ 6095930 w 6096000"/>
              <a:gd name="connsiteY44" fmla="*/ 4317694 h 6528034"/>
              <a:gd name="connsiteX45" fmla="*/ 6095926 w 6096000"/>
              <a:gd name="connsiteY45" fmla="*/ 4342186 h 6528034"/>
              <a:gd name="connsiteX46" fmla="*/ 6096000 w 6096000"/>
              <a:gd name="connsiteY46" fmla="*/ 4342902 h 6528034"/>
              <a:gd name="connsiteX47" fmla="*/ 6095896 w 6096000"/>
              <a:gd name="connsiteY47" fmla="*/ 4815458 h 6528034"/>
              <a:gd name="connsiteX48" fmla="*/ 6095209 w 6096000"/>
              <a:gd name="connsiteY48" fmla="*/ 4815459 h 6528034"/>
              <a:gd name="connsiteX49" fmla="*/ 6094720 w 6096000"/>
              <a:gd name="connsiteY49" fmla="*/ 4815459 h 6528034"/>
              <a:gd name="connsiteX50" fmla="*/ 6094720 w 6096000"/>
              <a:gd name="connsiteY50" fmla="*/ 4901060 h 6528034"/>
              <a:gd name="connsiteX51" fmla="*/ 6094720 w 6096000"/>
              <a:gd name="connsiteY51" fmla="*/ 5109958 h 6528034"/>
              <a:gd name="connsiteX52" fmla="*/ 6094720 w 6096000"/>
              <a:gd name="connsiteY52" fmla="*/ 5202832 h 6528034"/>
              <a:gd name="connsiteX53" fmla="*/ 6094720 w 6096000"/>
              <a:gd name="connsiteY53" fmla="*/ 5242844 h 6528034"/>
              <a:gd name="connsiteX54" fmla="*/ 6094720 w 6096000"/>
              <a:gd name="connsiteY54" fmla="*/ 5544616 h 6528034"/>
              <a:gd name="connsiteX55" fmla="*/ 6094720 w 6096000"/>
              <a:gd name="connsiteY55" fmla="*/ 5884479 h 6528034"/>
              <a:gd name="connsiteX56" fmla="*/ 6094720 w 6096000"/>
              <a:gd name="connsiteY56" fmla="*/ 6186250 h 6528034"/>
              <a:gd name="connsiteX57" fmla="*/ 6094720 w 6096000"/>
              <a:gd name="connsiteY57" fmla="*/ 6226262 h 6528034"/>
              <a:gd name="connsiteX58" fmla="*/ 6094720 w 6096000"/>
              <a:gd name="connsiteY58" fmla="*/ 6528034 h 6528034"/>
              <a:gd name="connsiteX59" fmla="*/ 5774783 w 6096000"/>
              <a:gd name="connsiteY59" fmla="*/ 6528034 h 6528034"/>
              <a:gd name="connsiteX60" fmla="*/ 5597638 w 6096000"/>
              <a:gd name="connsiteY60" fmla="*/ 6528034 h 6528034"/>
              <a:gd name="connsiteX61" fmla="*/ 3636760 w 6096000"/>
              <a:gd name="connsiteY61" fmla="*/ 6528034 h 6528034"/>
              <a:gd name="connsiteX62" fmla="*/ 3459615 w 6096000"/>
              <a:gd name="connsiteY62" fmla="*/ 6528034 h 6528034"/>
              <a:gd name="connsiteX63" fmla="*/ 3139677 w 6096000"/>
              <a:gd name="connsiteY63" fmla="*/ 6528034 h 6528034"/>
              <a:gd name="connsiteX64" fmla="*/ 3139677 w 6096000"/>
              <a:gd name="connsiteY64" fmla="*/ 6528032 h 6528034"/>
              <a:gd name="connsiteX65" fmla="*/ 2962532 w 6096000"/>
              <a:gd name="connsiteY65" fmla="*/ 6528032 h 6528034"/>
              <a:gd name="connsiteX66" fmla="*/ 841782 w 6096000"/>
              <a:gd name="connsiteY66" fmla="*/ 6528032 h 6528034"/>
              <a:gd name="connsiteX67" fmla="*/ 841782 w 6096000"/>
              <a:gd name="connsiteY67" fmla="*/ 6527773 h 6528034"/>
              <a:gd name="connsiteX68" fmla="*/ 761978 w 6096000"/>
              <a:gd name="connsiteY68" fmla="*/ 6527791 h 6528034"/>
              <a:gd name="connsiteX69" fmla="*/ 528166 w 6096000"/>
              <a:gd name="connsiteY69" fmla="*/ 6429965 h 6528034"/>
              <a:gd name="connsiteX70" fmla="*/ 97826 w 6096000"/>
              <a:gd name="connsiteY70" fmla="*/ 5999627 h 6528034"/>
              <a:gd name="connsiteX71" fmla="*/ 2 w 6096000"/>
              <a:gd name="connsiteY71" fmla="*/ 5765813 h 6528034"/>
              <a:gd name="connsiteX72" fmla="*/ 57 w 6096000"/>
              <a:gd name="connsiteY72" fmla="*/ 5512346 h 6528034"/>
              <a:gd name="connsiteX73" fmla="*/ 67 w 6096000"/>
              <a:gd name="connsiteY73" fmla="*/ 5464670 h 6528034"/>
              <a:gd name="connsiteX74" fmla="*/ 2 w 6096000"/>
              <a:gd name="connsiteY74" fmla="*/ 5464039 h 6528034"/>
              <a:gd name="connsiteX75" fmla="*/ 7 w 6096000"/>
              <a:gd name="connsiteY75" fmla="*/ 5439119 h 6528034"/>
              <a:gd name="connsiteX76" fmla="*/ 10 w 6096000"/>
              <a:gd name="connsiteY76" fmla="*/ 5424128 h 6528034"/>
              <a:gd name="connsiteX77" fmla="*/ 0 w 6096000"/>
              <a:gd name="connsiteY77" fmla="*/ 5424029 h 6528034"/>
              <a:gd name="connsiteX78" fmla="*/ 55 w 6096000"/>
              <a:gd name="connsiteY78" fmla="*/ 5170563 h 6528034"/>
              <a:gd name="connsiteX79" fmla="*/ 66 w 6096000"/>
              <a:gd name="connsiteY79" fmla="*/ 5122889 h 6528034"/>
              <a:gd name="connsiteX80" fmla="*/ 0 w 6096000"/>
              <a:gd name="connsiteY80" fmla="*/ 5122257 h 6528034"/>
              <a:gd name="connsiteX81" fmla="*/ 103 w 6096000"/>
              <a:gd name="connsiteY81" fmla="*/ 4649702 h 6528034"/>
              <a:gd name="connsiteX82" fmla="*/ 790 w 6096000"/>
              <a:gd name="connsiteY82" fmla="*/ 4649701 h 6528034"/>
              <a:gd name="connsiteX83" fmla="*/ 1276 w 6096000"/>
              <a:gd name="connsiteY83" fmla="*/ 4649700 h 6528034"/>
              <a:gd name="connsiteX84" fmla="*/ 1277 w 6096000"/>
              <a:gd name="connsiteY84" fmla="*/ 3891898 h 6528034"/>
              <a:gd name="connsiteX85" fmla="*/ 1 w 6096000"/>
              <a:gd name="connsiteY85" fmla="*/ 3879598 h 6528034"/>
              <a:gd name="connsiteX86" fmla="*/ 70 w 6096000"/>
              <a:gd name="connsiteY86" fmla="*/ 3563023 h 6528034"/>
              <a:gd name="connsiteX87" fmla="*/ 76 w 6096000"/>
              <a:gd name="connsiteY87" fmla="*/ 3538548 h 6528034"/>
              <a:gd name="connsiteX88" fmla="*/ 0 w 6096000"/>
              <a:gd name="connsiteY88" fmla="*/ 3537818 h 6528034"/>
              <a:gd name="connsiteX89" fmla="*/ 103 w 6096000"/>
              <a:gd name="connsiteY89" fmla="*/ 3065277 h 6528034"/>
              <a:gd name="connsiteX90" fmla="*/ 791 w 6096000"/>
              <a:gd name="connsiteY90" fmla="*/ 3065276 h 6528034"/>
              <a:gd name="connsiteX91" fmla="*/ 1277 w 6096000"/>
              <a:gd name="connsiteY91" fmla="*/ 3065275 h 6528034"/>
              <a:gd name="connsiteX92" fmla="*/ 1277 w 6096000"/>
              <a:gd name="connsiteY92" fmla="*/ 2686371 h 6528034"/>
              <a:gd name="connsiteX93" fmla="*/ 2 w 6096000"/>
              <a:gd name="connsiteY93" fmla="*/ 2674072 h 6528034"/>
              <a:gd name="connsiteX94" fmla="*/ 70 w 6096000"/>
              <a:gd name="connsiteY94" fmla="*/ 2357496 h 6528034"/>
              <a:gd name="connsiteX95" fmla="*/ 75 w 6096000"/>
              <a:gd name="connsiteY95" fmla="*/ 2333023 h 6528034"/>
              <a:gd name="connsiteX96" fmla="*/ 0 w 6096000"/>
              <a:gd name="connsiteY96" fmla="*/ 2332286 h 6528034"/>
              <a:gd name="connsiteX97" fmla="*/ 102 w 6096000"/>
              <a:gd name="connsiteY97" fmla="*/ 1859734 h 6528034"/>
              <a:gd name="connsiteX98" fmla="*/ 790 w 6096000"/>
              <a:gd name="connsiteY98" fmla="*/ 1859730 h 6528034"/>
              <a:gd name="connsiteX99" fmla="*/ 1277 w 6096000"/>
              <a:gd name="connsiteY99" fmla="*/ 1859730 h 6528034"/>
              <a:gd name="connsiteX100" fmla="*/ 1277 w 6096000"/>
              <a:gd name="connsiteY100" fmla="*/ 734186 h 6528034"/>
              <a:gd name="connsiteX101" fmla="*/ 1278 w 6096000"/>
              <a:gd name="connsiteY101" fmla="*/ 734186 h 6528034"/>
              <a:gd name="connsiteX102" fmla="*/ 1278 w 6096000"/>
              <a:gd name="connsiteY102" fmla="*/ 1 h 652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6096000" h="6528034">
                <a:moveTo>
                  <a:pt x="498361" y="0"/>
                </a:moveTo>
                <a:lnTo>
                  <a:pt x="2956322" y="0"/>
                </a:lnTo>
                <a:lnTo>
                  <a:pt x="2956322" y="1"/>
                </a:lnTo>
                <a:lnTo>
                  <a:pt x="3133467" y="1"/>
                </a:lnTo>
                <a:lnTo>
                  <a:pt x="5254219" y="1"/>
                </a:lnTo>
                <a:lnTo>
                  <a:pt x="5254219" y="2612"/>
                </a:lnTo>
                <a:lnTo>
                  <a:pt x="5334022" y="2594"/>
                </a:lnTo>
                <a:cubicBezTo>
                  <a:pt x="5421676" y="3113"/>
                  <a:pt x="5505980" y="38567"/>
                  <a:pt x="5567834" y="100419"/>
                </a:cubicBezTo>
                <a:cubicBezTo>
                  <a:pt x="5567834" y="100419"/>
                  <a:pt x="5567834" y="100419"/>
                  <a:pt x="5998174" y="530758"/>
                </a:cubicBezTo>
                <a:cubicBezTo>
                  <a:pt x="6045058" y="577643"/>
                  <a:pt x="6076350" y="636415"/>
                  <a:pt x="6089287" y="699850"/>
                </a:cubicBezTo>
                <a:lnTo>
                  <a:pt x="6092847" y="734186"/>
                </a:lnTo>
                <a:lnTo>
                  <a:pt x="6094720" y="734187"/>
                </a:lnTo>
                <a:lnTo>
                  <a:pt x="6094720" y="752239"/>
                </a:lnTo>
                <a:lnTo>
                  <a:pt x="6096000" y="764572"/>
                </a:lnTo>
                <a:cubicBezTo>
                  <a:pt x="6096000" y="764572"/>
                  <a:pt x="6096000" y="764572"/>
                  <a:pt x="6095930" y="1081147"/>
                </a:cubicBezTo>
                <a:lnTo>
                  <a:pt x="6095926" y="1105640"/>
                </a:lnTo>
                <a:lnTo>
                  <a:pt x="6096000" y="1106355"/>
                </a:lnTo>
                <a:cubicBezTo>
                  <a:pt x="6096000" y="1106355"/>
                  <a:pt x="6096000" y="1106355"/>
                  <a:pt x="6095896" y="1578910"/>
                </a:cubicBezTo>
                <a:cubicBezTo>
                  <a:pt x="6095896" y="1578910"/>
                  <a:pt x="6095896" y="1578910"/>
                  <a:pt x="6095210" y="1578912"/>
                </a:cubicBezTo>
                <a:lnTo>
                  <a:pt x="6094720" y="1578914"/>
                </a:lnTo>
                <a:lnTo>
                  <a:pt x="6094720" y="1676436"/>
                </a:lnTo>
                <a:lnTo>
                  <a:pt x="6094720" y="1939724"/>
                </a:lnTo>
                <a:lnTo>
                  <a:pt x="6094720" y="1957771"/>
                </a:lnTo>
                <a:lnTo>
                  <a:pt x="6096000" y="1970105"/>
                </a:lnTo>
                <a:cubicBezTo>
                  <a:pt x="6096000" y="1970105"/>
                  <a:pt x="6096000" y="1970105"/>
                  <a:pt x="6095930" y="2286686"/>
                </a:cubicBezTo>
                <a:lnTo>
                  <a:pt x="6095926" y="2311171"/>
                </a:lnTo>
                <a:lnTo>
                  <a:pt x="6095999" y="2311888"/>
                </a:lnTo>
                <a:cubicBezTo>
                  <a:pt x="6095999" y="2311888"/>
                  <a:pt x="6095999" y="2311888"/>
                  <a:pt x="6095896" y="2784449"/>
                </a:cubicBezTo>
                <a:cubicBezTo>
                  <a:pt x="6095896" y="2784449"/>
                  <a:pt x="6095896" y="2784449"/>
                  <a:pt x="6095210" y="2784450"/>
                </a:cubicBezTo>
                <a:lnTo>
                  <a:pt x="6094720" y="2784451"/>
                </a:lnTo>
                <a:lnTo>
                  <a:pt x="6094720" y="2881981"/>
                </a:lnTo>
                <a:lnTo>
                  <a:pt x="6094720" y="3094524"/>
                </a:lnTo>
                <a:lnTo>
                  <a:pt x="6094720" y="3223754"/>
                </a:lnTo>
                <a:lnTo>
                  <a:pt x="6094720" y="3316620"/>
                </a:lnTo>
                <a:lnTo>
                  <a:pt x="6094720" y="3436291"/>
                </a:lnTo>
                <a:lnTo>
                  <a:pt x="6094720" y="3524159"/>
                </a:lnTo>
                <a:lnTo>
                  <a:pt x="6094720" y="3612822"/>
                </a:lnTo>
                <a:lnTo>
                  <a:pt x="6096000" y="3625155"/>
                </a:lnTo>
                <a:cubicBezTo>
                  <a:pt x="6096000" y="3625155"/>
                  <a:pt x="6096000" y="3625155"/>
                  <a:pt x="6095930" y="3941730"/>
                </a:cubicBezTo>
                <a:lnTo>
                  <a:pt x="6095926" y="3966224"/>
                </a:lnTo>
                <a:lnTo>
                  <a:pt x="6096000" y="3966938"/>
                </a:lnTo>
                <a:cubicBezTo>
                  <a:pt x="6096000" y="3966938"/>
                  <a:pt x="6096000" y="3966938"/>
                  <a:pt x="6095995" y="3991859"/>
                </a:cubicBezTo>
                <a:lnTo>
                  <a:pt x="6095993" y="4001046"/>
                </a:lnTo>
                <a:lnTo>
                  <a:pt x="6095999" y="4001118"/>
                </a:lnTo>
                <a:cubicBezTo>
                  <a:pt x="6095999" y="4001118"/>
                  <a:pt x="6095999" y="4001118"/>
                  <a:pt x="6095930" y="4317694"/>
                </a:cubicBezTo>
                <a:lnTo>
                  <a:pt x="6095926" y="4342186"/>
                </a:lnTo>
                <a:lnTo>
                  <a:pt x="6096000" y="4342902"/>
                </a:lnTo>
                <a:cubicBezTo>
                  <a:pt x="6096000" y="4342902"/>
                  <a:pt x="6096000" y="4342902"/>
                  <a:pt x="6095896" y="4815458"/>
                </a:cubicBezTo>
                <a:cubicBezTo>
                  <a:pt x="6095896" y="4815458"/>
                  <a:pt x="6095896" y="4815458"/>
                  <a:pt x="6095209" y="4815459"/>
                </a:cubicBezTo>
                <a:lnTo>
                  <a:pt x="6094720" y="4815459"/>
                </a:lnTo>
                <a:lnTo>
                  <a:pt x="6094720" y="4901060"/>
                </a:lnTo>
                <a:lnTo>
                  <a:pt x="6094720" y="5109958"/>
                </a:lnTo>
                <a:lnTo>
                  <a:pt x="6094720" y="5202832"/>
                </a:lnTo>
                <a:lnTo>
                  <a:pt x="6094720" y="5242844"/>
                </a:lnTo>
                <a:lnTo>
                  <a:pt x="6094720" y="5544616"/>
                </a:lnTo>
                <a:lnTo>
                  <a:pt x="6094720" y="5884479"/>
                </a:lnTo>
                <a:lnTo>
                  <a:pt x="6094720" y="6186250"/>
                </a:lnTo>
                <a:lnTo>
                  <a:pt x="6094720" y="6226262"/>
                </a:lnTo>
                <a:lnTo>
                  <a:pt x="6094720" y="6528034"/>
                </a:lnTo>
                <a:lnTo>
                  <a:pt x="5774783" y="6528034"/>
                </a:lnTo>
                <a:lnTo>
                  <a:pt x="5597638" y="6528034"/>
                </a:lnTo>
                <a:lnTo>
                  <a:pt x="3636760" y="6528034"/>
                </a:lnTo>
                <a:lnTo>
                  <a:pt x="3459615" y="6528034"/>
                </a:lnTo>
                <a:lnTo>
                  <a:pt x="3139677" y="6528034"/>
                </a:lnTo>
                <a:lnTo>
                  <a:pt x="3139677" y="6528032"/>
                </a:lnTo>
                <a:lnTo>
                  <a:pt x="2962532" y="6528032"/>
                </a:lnTo>
                <a:lnTo>
                  <a:pt x="841782" y="6528032"/>
                </a:lnTo>
                <a:lnTo>
                  <a:pt x="841782" y="6527773"/>
                </a:lnTo>
                <a:lnTo>
                  <a:pt x="761978" y="6527791"/>
                </a:lnTo>
                <a:cubicBezTo>
                  <a:pt x="674323" y="6527273"/>
                  <a:pt x="590019" y="6491819"/>
                  <a:pt x="528166" y="6429965"/>
                </a:cubicBezTo>
                <a:cubicBezTo>
                  <a:pt x="528166" y="6429965"/>
                  <a:pt x="528166" y="6429965"/>
                  <a:pt x="97826" y="5999627"/>
                </a:cubicBezTo>
                <a:cubicBezTo>
                  <a:pt x="35315" y="5937116"/>
                  <a:pt x="519" y="5853470"/>
                  <a:pt x="2" y="5765813"/>
                </a:cubicBezTo>
                <a:cubicBezTo>
                  <a:pt x="2" y="5765813"/>
                  <a:pt x="2" y="5765813"/>
                  <a:pt x="57" y="5512346"/>
                </a:cubicBezTo>
                <a:lnTo>
                  <a:pt x="67" y="5464670"/>
                </a:lnTo>
                <a:lnTo>
                  <a:pt x="2" y="5464039"/>
                </a:lnTo>
                <a:cubicBezTo>
                  <a:pt x="2" y="5464039"/>
                  <a:pt x="2" y="5464039"/>
                  <a:pt x="7" y="5439119"/>
                </a:cubicBezTo>
                <a:lnTo>
                  <a:pt x="10" y="5424128"/>
                </a:lnTo>
                <a:lnTo>
                  <a:pt x="0" y="5424029"/>
                </a:lnTo>
                <a:cubicBezTo>
                  <a:pt x="0" y="5424029"/>
                  <a:pt x="0" y="5424029"/>
                  <a:pt x="55" y="5170563"/>
                </a:cubicBezTo>
                <a:lnTo>
                  <a:pt x="66" y="5122889"/>
                </a:lnTo>
                <a:lnTo>
                  <a:pt x="0" y="5122257"/>
                </a:lnTo>
                <a:cubicBezTo>
                  <a:pt x="0" y="5122257"/>
                  <a:pt x="0" y="5122257"/>
                  <a:pt x="103" y="4649702"/>
                </a:cubicBezTo>
                <a:cubicBezTo>
                  <a:pt x="103" y="4649702"/>
                  <a:pt x="103" y="4649702"/>
                  <a:pt x="790" y="4649701"/>
                </a:cubicBezTo>
                <a:lnTo>
                  <a:pt x="1276" y="4649700"/>
                </a:lnTo>
                <a:lnTo>
                  <a:pt x="1277" y="3891898"/>
                </a:lnTo>
                <a:lnTo>
                  <a:pt x="1" y="3879598"/>
                </a:lnTo>
                <a:cubicBezTo>
                  <a:pt x="1" y="3879598"/>
                  <a:pt x="1" y="3879598"/>
                  <a:pt x="70" y="3563023"/>
                </a:cubicBezTo>
                <a:lnTo>
                  <a:pt x="76" y="3538548"/>
                </a:lnTo>
                <a:lnTo>
                  <a:pt x="0" y="3537818"/>
                </a:lnTo>
                <a:cubicBezTo>
                  <a:pt x="0" y="3537818"/>
                  <a:pt x="0" y="3537818"/>
                  <a:pt x="103" y="3065277"/>
                </a:cubicBezTo>
                <a:cubicBezTo>
                  <a:pt x="103" y="3065277"/>
                  <a:pt x="103" y="3065277"/>
                  <a:pt x="791" y="3065276"/>
                </a:cubicBezTo>
                <a:lnTo>
                  <a:pt x="1277" y="3065275"/>
                </a:lnTo>
                <a:lnTo>
                  <a:pt x="1277" y="2686371"/>
                </a:lnTo>
                <a:lnTo>
                  <a:pt x="2" y="2674072"/>
                </a:lnTo>
                <a:cubicBezTo>
                  <a:pt x="2" y="2674072"/>
                  <a:pt x="2" y="2674072"/>
                  <a:pt x="70" y="2357496"/>
                </a:cubicBezTo>
                <a:lnTo>
                  <a:pt x="75" y="2333023"/>
                </a:lnTo>
                <a:lnTo>
                  <a:pt x="0" y="2332286"/>
                </a:lnTo>
                <a:cubicBezTo>
                  <a:pt x="0" y="2332286"/>
                  <a:pt x="0" y="2332286"/>
                  <a:pt x="102" y="1859734"/>
                </a:cubicBezTo>
                <a:cubicBezTo>
                  <a:pt x="102" y="1859734"/>
                  <a:pt x="102" y="1859734"/>
                  <a:pt x="790" y="1859730"/>
                </a:cubicBezTo>
                <a:lnTo>
                  <a:pt x="1277" y="1859730"/>
                </a:lnTo>
                <a:lnTo>
                  <a:pt x="1277" y="734186"/>
                </a:lnTo>
                <a:lnTo>
                  <a:pt x="1278" y="734186"/>
                </a:lnTo>
                <a:lnTo>
                  <a:pt x="1278" y="1"/>
                </a:lnTo>
                <a:close/>
              </a:path>
            </a:pathLst>
          </a:custGeom>
          <a:solidFill>
            <a:srgbClr val="FE8A2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Title 1">
            <a:extLst>
              <a:ext uri="{FF2B5EF4-FFF2-40B4-BE49-F238E27FC236}">
                <a16:creationId xmlns:a16="http://schemas.microsoft.com/office/drawing/2014/main" id="{0C5401A7-BDA4-8691-C3F9-CA6F37E09955}"/>
              </a:ext>
            </a:extLst>
          </p:cNvPr>
          <p:cNvSpPr>
            <a:spLocks noGrp="1"/>
          </p:cNvSpPr>
          <p:nvPr>
            <p:ph type="title"/>
          </p:nvPr>
        </p:nvSpPr>
        <p:spPr>
          <a:xfrm>
            <a:off x="493714" y="579438"/>
            <a:ext cx="5113896" cy="792162"/>
          </a:xfrm>
        </p:spPr>
        <p:txBody>
          <a:bodyPr anchor="t">
            <a:noAutofit/>
          </a:bodyPr>
          <a:lstStyle>
            <a:lvl1pPr>
              <a:lnSpc>
                <a:spcPct val="85000"/>
              </a:lnSpc>
              <a:defRPr>
                <a:solidFill>
                  <a:schemeClr val="bg1"/>
                </a:solidFill>
              </a:defRPr>
            </a:lvl1pPr>
          </a:lstStyle>
          <a:p>
            <a:r>
              <a:rPr lang="en-US"/>
              <a:t>Click to edit Master title style</a:t>
            </a:r>
          </a:p>
        </p:txBody>
      </p:sp>
      <p:sp>
        <p:nvSpPr>
          <p:cNvPr id="11" name="Text Placeholder 12">
            <a:extLst>
              <a:ext uri="{FF2B5EF4-FFF2-40B4-BE49-F238E27FC236}">
                <a16:creationId xmlns:a16="http://schemas.microsoft.com/office/drawing/2014/main" id="{D75A9DCD-B172-E190-883C-626D62530512}"/>
              </a:ext>
            </a:extLst>
          </p:cNvPr>
          <p:cNvSpPr>
            <a:spLocks noGrp="1"/>
          </p:cNvSpPr>
          <p:nvPr>
            <p:ph type="body" sz="quarter" idx="14"/>
          </p:nvPr>
        </p:nvSpPr>
        <p:spPr>
          <a:xfrm>
            <a:off x="6572250" y="1382889"/>
            <a:ext cx="5126366" cy="336374"/>
          </a:xfrm>
        </p:spPr>
        <p:txBody>
          <a:bodyPr anchor="t">
            <a:noAutofit/>
          </a:bodyPr>
          <a:lstStyle>
            <a:lvl1pPr marL="0" indent="0">
              <a:buNone/>
              <a:defRPr sz="2100">
                <a:solidFill>
                  <a:schemeClr val="tx1"/>
                </a:solidFill>
                <a:latin typeface="+mj-lt"/>
              </a:defRPr>
            </a:lvl1pPr>
          </a:lstStyle>
          <a:p>
            <a:pPr lvl="0"/>
            <a:r>
              <a:rPr lang="en-US"/>
              <a:t>Click to edit Master text styles</a:t>
            </a:r>
          </a:p>
        </p:txBody>
      </p:sp>
      <p:sp>
        <p:nvSpPr>
          <p:cNvPr id="14" name="Subtitle 2">
            <a:extLst>
              <a:ext uri="{FF2B5EF4-FFF2-40B4-BE49-F238E27FC236}">
                <a16:creationId xmlns:a16="http://schemas.microsoft.com/office/drawing/2014/main" id="{7FCDD184-4728-83E7-FD45-4DB26B8D6469}"/>
              </a:ext>
            </a:extLst>
          </p:cNvPr>
          <p:cNvSpPr>
            <a:spLocks noGrp="1"/>
          </p:cNvSpPr>
          <p:nvPr>
            <p:ph type="subTitle" idx="1"/>
          </p:nvPr>
        </p:nvSpPr>
        <p:spPr>
          <a:xfrm>
            <a:off x="493714" y="1371600"/>
            <a:ext cx="5113896" cy="347663"/>
          </a:xfrm>
        </p:spPr>
        <p:txBody>
          <a:bodyPr anchor="t">
            <a:noAutofit/>
          </a:bodyPr>
          <a:lstStyle>
            <a:lvl1pPr marL="0" indent="0" algn="l">
              <a:buNone/>
              <a:defRPr sz="21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Text Placeholder 11">
            <a:extLst>
              <a:ext uri="{FF2B5EF4-FFF2-40B4-BE49-F238E27FC236}">
                <a16:creationId xmlns:a16="http://schemas.microsoft.com/office/drawing/2014/main" id="{7D93CB58-DA98-333A-2500-74FD22733930}"/>
              </a:ext>
            </a:extLst>
          </p:cNvPr>
          <p:cNvSpPr>
            <a:spLocks noGrp="1"/>
          </p:cNvSpPr>
          <p:nvPr>
            <p:ph type="body" sz="quarter" idx="16"/>
          </p:nvPr>
        </p:nvSpPr>
        <p:spPr>
          <a:xfrm>
            <a:off x="6572250" y="579439"/>
            <a:ext cx="5126365" cy="792162"/>
          </a:xfrm>
        </p:spPr>
        <p:txBody>
          <a:bodyPr anchor="t">
            <a:noAutofit/>
          </a:bodyPr>
          <a:lstStyle>
            <a:lvl1pPr marL="0" indent="0">
              <a:lnSpc>
                <a:spcPct val="85000"/>
              </a:lnSpc>
              <a:buNone/>
              <a:defRPr sz="3400">
                <a:solidFill>
                  <a:schemeClr val="tx1"/>
                </a:solidFill>
                <a:latin typeface="+mn-lt"/>
              </a:defRPr>
            </a:lvl1pPr>
          </a:lstStyle>
          <a:p>
            <a:pPr lvl="0"/>
            <a:r>
              <a:rPr lang="en-US"/>
              <a:t>Click to edit Master text styles</a:t>
            </a:r>
          </a:p>
        </p:txBody>
      </p:sp>
      <p:sp>
        <p:nvSpPr>
          <p:cNvPr id="16" name="Footer Placeholder 66">
            <a:extLst>
              <a:ext uri="{FF2B5EF4-FFF2-40B4-BE49-F238E27FC236}">
                <a16:creationId xmlns:a16="http://schemas.microsoft.com/office/drawing/2014/main" id="{C872DE19-6B88-23B3-CF4E-B7B3159A26B0}"/>
              </a:ext>
            </a:extLst>
          </p:cNvPr>
          <p:cNvSpPr>
            <a:spLocks noGrp="1"/>
          </p:cNvSpPr>
          <p:nvPr>
            <p:ph type="ftr" sz="quarter" idx="3"/>
          </p:nvPr>
        </p:nvSpPr>
        <p:spPr>
          <a:xfrm>
            <a:off x="493290" y="6405456"/>
            <a:ext cx="5124874" cy="107722"/>
          </a:xfrm>
          <a:prstGeom prst="rect">
            <a:avLst/>
          </a:prstGeom>
        </p:spPr>
        <p:txBody>
          <a:bodyPr vert="horz" lIns="0" tIns="0" rIns="0" bIns="0" rtlCol="0" anchor="b"/>
          <a:lstStyle>
            <a:lvl1pPr algn="l">
              <a:defRPr sz="700">
                <a:solidFill>
                  <a:schemeClr val="bg1"/>
                </a:solidFill>
              </a:defRPr>
            </a:lvl1pPr>
          </a:lstStyle>
          <a:p>
            <a:endParaRPr lang="en-US"/>
          </a:p>
        </p:txBody>
      </p:sp>
      <p:sp>
        <p:nvSpPr>
          <p:cNvPr id="2" name="TextBox 1">
            <a:extLst>
              <a:ext uri="{FF2B5EF4-FFF2-40B4-BE49-F238E27FC236}">
                <a16:creationId xmlns:a16="http://schemas.microsoft.com/office/drawing/2014/main" id="{4AACA3ED-5988-CB18-29BE-7049693A094C}"/>
              </a:ext>
            </a:extLst>
          </p:cNvPr>
          <p:cNvSpPr txBox="1"/>
          <p:nvPr userDrawn="1"/>
        </p:nvSpPr>
        <p:spPr>
          <a:xfrm>
            <a:off x="493288" y="6562481"/>
            <a:ext cx="5293842" cy="107722"/>
          </a:xfrm>
          <a:prstGeom prst="rect">
            <a:avLst/>
          </a:prstGeom>
          <a:noFill/>
        </p:spPr>
        <p:txBody>
          <a:bodyPr wrap="square" lIns="0" tIns="0" rIns="0" bIns="0">
            <a:spAutoFit/>
          </a:bodyPr>
          <a:lstStyle/>
          <a:p>
            <a:r>
              <a:rPr lang="en-US" sz="700">
                <a:solidFill>
                  <a:schemeClr val="bg1"/>
                </a:solidFill>
              </a:rPr>
              <a:t>© 2024 Veeam Software. Confidential information. All rights reserved. All trademarks are the property of their respective owners. </a:t>
            </a:r>
          </a:p>
        </p:txBody>
      </p:sp>
      <p:sp>
        <p:nvSpPr>
          <p:cNvPr id="3" name="Content Placeholder 18">
            <a:extLst>
              <a:ext uri="{FF2B5EF4-FFF2-40B4-BE49-F238E27FC236}">
                <a16:creationId xmlns:a16="http://schemas.microsoft.com/office/drawing/2014/main" id="{44972636-A842-A90B-EFCC-98E36F84E3C5}"/>
              </a:ext>
            </a:extLst>
          </p:cNvPr>
          <p:cNvSpPr>
            <a:spLocks noGrp="1"/>
          </p:cNvSpPr>
          <p:nvPr>
            <p:ph sz="quarter" idx="10"/>
          </p:nvPr>
        </p:nvSpPr>
        <p:spPr>
          <a:xfrm>
            <a:off x="493288" y="2397125"/>
            <a:ext cx="5124876" cy="3771900"/>
          </a:xfrm>
        </p:spPr>
        <p:txBody>
          <a:bodyPr/>
          <a:lstStyle>
            <a:lvl1pPr>
              <a:defRPr>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18">
            <a:extLst>
              <a:ext uri="{FF2B5EF4-FFF2-40B4-BE49-F238E27FC236}">
                <a16:creationId xmlns:a16="http://schemas.microsoft.com/office/drawing/2014/main" id="{16BD2A60-D1B7-3B9C-4615-69657D0FC4A4}"/>
              </a:ext>
            </a:extLst>
          </p:cNvPr>
          <p:cNvSpPr>
            <a:spLocks noGrp="1"/>
          </p:cNvSpPr>
          <p:nvPr>
            <p:ph sz="quarter" idx="11"/>
          </p:nvPr>
        </p:nvSpPr>
        <p:spPr>
          <a:xfrm>
            <a:off x="6574140" y="2394727"/>
            <a:ext cx="5124475" cy="3771900"/>
          </a:xfrm>
        </p:spPr>
        <p:txBody>
          <a:bodyPr/>
          <a:lstStyle>
            <a:lvl1pPr>
              <a:defRPr>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a:solidFill>
                  <a:schemeClr val="tx1"/>
                </a:solidFill>
              </a:defRPr>
            </a:lvl6pPr>
            <a:lvl7pPr>
              <a:defRPr>
                <a:solidFill>
                  <a:schemeClr val="tx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875432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mparison Sol Right">
    <p:spTree>
      <p:nvGrpSpPr>
        <p:cNvPr id="1" name=""/>
        <p:cNvGrpSpPr/>
        <p:nvPr/>
      </p:nvGrpSpPr>
      <p:grpSpPr>
        <a:xfrm>
          <a:off x="0" y="0"/>
          <a:ext cx="0" cy="0"/>
          <a:chOff x="0" y="0"/>
          <a:chExt cx="0" cy="0"/>
        </a:xfrm>
      </p:grpSpPr>
      <p:sp>
        <p:nvSpPr>
          <p:cNvPr id="311" name="Freeform: Shape 310">
            <a:extLst>
              <a:ext uri="{FF2B5EF4-FFF2-40B4-BE49-F238E27FC236}">
                <a16:creationId xmlns:a16="http://schemas.microsoft.com/office/drawing/2014/main" id="{FA3D5559-630B-68EB-88DB-BCC345505905}"/>
              </a:ext>
            </a:extLst>
          </p:cNvPr>
          <p:cNvSpPr/>
          <p:nvPr/>
        </p:nvSpPr>
        <p:spPr>
          <a:xfrm>
            <a:off x="6096000" y="329967"/>
            <a:ext cx="6096000" cy="6528034"/>
          </a:xfrm>
          <a:custGeom>
            <a:avLst/>
            <a:gdLst>
              <a:gd name="connsiteX0" fmla="*/ 498361 w 6096000"/>
              <a:gd name="connsiteY0" fmla="*/ 0 h 6528034"/>
              <a:gd name="connsiteX1" fmla="*/ 2956322 w 6096000"/>
              <a:gd name="connsiteY1" fmla="*/ 0 h 6528034"/>
              <a:gd name="connsiteX2" fmla="*/ 2956322 w 6096000"/>
              <a:gd name="connsiteY2" fmla="*/ 1 h 6528034"/>
              <a:gd name="connsiteX3" fmla="*/ 3133467 w 6096000"/>
              <a:gd name="connsiteY3" fmla="*/ 1 h 6528034"/>
              <a:gd name="connsiteX4" fmla="*/ 5254219 w 6096000"/>
              <a:gd name="connsiteY4" fmla="*/ 1 h 6528034"/>
              <a:gd name="connsiteX5" fmla="*/ 5254219 w 6096000"/>
              <a:gd name="connsiteY5" fmla="*/ 2612 h 6528034"/>
              <a:gd name="connsiteX6" fmla="*/ 5334022 w 6096000"/>
              <a:gd name="connsiteY6" fmla="*/ 2594 h 6528034"/>
              <a:gd name="connsiteX7" fmla="*/ 5567834 w 6096000"/>
              <a:gd name="connsiteY7" fmla="*/ 100419 h 6528034"/>
              <a:gd name="connsiteX8" fmla="*/ 5998174 w 6096000"/>
              <a:gd name="connsiteY8" fmla="*/ 530758 h 6528034"/>
              <a:gd name="connsiteX9" fmla="*/ 6089287 w 6096000"/>
              <a:gd name="connsiteY9" fmla="*/ 699850 h 6528034"/>
              <a:gd name="connsiteX10" fmla="*/ 6092847 w 6096000"/>
              <a:gd name="connsiteY10" fmla="*/ 734186 h 6528034"/>
              <a:gd name="connsiteX11" fmla="*/ 6094720 w 6096000"/>
              <a:gd name="connsiteY11" fmla="*/ 734187 h 6528034"/>
              <a:gd name="connsiteX12" fmla="*/ 6094720 w 6096000"/>
              <a:gd name="connsiteY12" fmla="*/ 752239 h 6528034"/>
              <a:gd name="connsiteX13" fmla="*/ 6096000 w 6096000"/>
              <a:gd name="connsiteY13" fmla="*/ 764572 h 6528034"/>
              <a:gd name="connsiteX14" fmla="*/ 6095930 w 6096000"/>
              <a:gd name="connsiteY14" fmla="*/ 1081147 h 6528034"/>
              <a:gd name="connsiteX15" fmla="*/ 6095926 w 6096000"/>
              <a:gd name="connsiteY15" fmla="*/ 1105640 h 6528034"/>
              <a:gd name="connsiteX16" fmla="*/ 6096000 w 6096000"/>
              <a:gd name="connsiteY16" fmla="*/ 1106355 h 6528034"/>
              <a:gd name="connsiteX17" fmla="*/ 6095896 w 6096000"/>
              <a:gd name="connsiteY17" fmla="*/ 1578910 h 6528034"/>
              <a:gd name="connsiteX18" fmla="*/ 6095210 w 6096000"/>
              <a:gd name="connsiteY18" fmla="*/ 1578912 h 6528034"/>
              <a:gd name="connsiteX19" fmla="*/ 6094720 w 6096000"/>
              <a:gd name="connsiteY19" fmla="*/ 1578914 h 6528034"/>
              <a:gd name="connsiteX20" fmla="*/ 6094720 w 6096000"/>
              <a:gd name="connsiteY20" fmla="*/ 1676436 h 6528034"/>
              <a:gd name="connsiteX21" fmla="*/ 6094720 w 6096000"/>
              <a:gd name="connsiteY21" fmla="*/ 1939724 h 6528034"/>
              <a:gd name="connsiteX22" fmla="*/ 6094720 w 6096000"/>
              <a:gd name="connsiteY22" fmla="*/ 1957771 h 6528034"/>
              <a:gd name="connsiteX23" fmla="*/ 6096000 w 6096000"/>
              <a:gd name="connsiteY23" fmla="*/ 1970105 h 6528034"/>
              <a:gd name="connsiteX24" fmla="*/ 6095930 w 6096000"/>
              <a:gd name="connsiteY24" fmla="*/ 2286686 h 6528034"/>
              <a:gd name="connsiteX25" fmla="*/ 6095926 w 6096000"/>
              <a:gd name="connsiteY25" fmla="*/ 2311171 h 6528034"/>
              <a:gd name="connsiteX26" fmla="*/ 6095999 w 6096000"/>
              <a:gd name="connsiteY26" fmla="*/ 2311888 h 6528034"/>
              <a:gd name="connsiteX27" fmla="*/ 6095896 w 6096000"/>
              <a:gd name="connsiteY27" fmla="*/ 2784449 h 6528034"/>
              <a:gd name="connsiteX28" fmla="*/ 6095210 w 6096000"/>
              <a:gd name="connsiteY28" fmla="*/ 2784450 h 6528034"/>
              <a:gd name="connsiteX29" fmla="*/ 6094720 w 6096000"/>
              <a:gd name="connsiteY29" fmla="*/ 2784451 h 6528034"/>
              <a:gd name="connsiteX30" fmla="*/ 6094720 w 6096000"/>
              <a:gd name="connsiteY30" fmla="*/ 2881981 h 6528034"/>
              <a:gd name="connsiteX31" fmla="*/ 6094720 w 6096000"/>
              <a:gd name="connsiteY31" fmla="*/ 3094524 h 6528034"/>
              <a:gd name="connsiteX32" fmla="*/ 6094720 w 6096000"/>
              <a:gd name="connsiteY32" fmla="*/ 3223754 h 6528034"/>
              <a:gd name="connsiteX33" fmla="*/ 6094720 w 6096000"/>
              <a:gd name="connsiteY33" fmla="*/ 3316620 h 6528034"/>
              <a:gd name="connsiteX34" fmla="*/ 6094720 w 6096000"/>
              <a:gd name="connsiteY34" fmla="*/ 3436291 h 6528034"/>
              <a:gd name="connsiteX35" fmla="*/ 6094720 w 6096000"/>
              <a:gd name="connsiteY35" fmla="*/ 3524159 h 6528034"/>
              <a:gd name="connsiteX36" fmla="*/ 6094720 w 6096000"/>
              <a:gd name="connsiteY36" fmla="*/ 3612822 h 6528034"/>
              <a:gd name="connsiteX37" fmla="*/ 6096000 w 6096000"/>
              <a:gd name="connsiteY37" fmla="*/ 3625155 h 6528034"/>
              <a:gd name="connsiteX38" fmla="*/ 6095930 w 6096000"/>
              <a:gd name="connsiteY38" fmla="*/ 3941730 h 6528034"/>
              <a:gd name="connsiteX39" fmla="*/ 6095926 w 6096000"/>
              <a:gd name="connsiteY39" fmla="*/ 3966224 h 6528034"/>
              <a:gd name="connsiteX40" fmla="*/ 6096000 w 6096000"/>
              <a:gd name="connsiteY40" fmla="*/ 3966938 h 6528034"/>
              <a:gd name="connsiteX41" fmla="*/ 6095995 w 6096000"/>
              <a:gd name="connsiteY41" fmla="*/ 3991859 h 6528034"/>
              <a:gd name="connsiteX42" fmla="*/ 6095993 w 6096000"/>
              <a:gd name="connsiteY42" fmla="*/ 4001046 h 6528034"/>
              <a:gd name="connsiteX43" fmla="*/ 6095999 w 6096000"/>
              <a:gd name="connsiteY43" fmla="*/ 4001118 h 6528034"/>
              <a:gd name="connsiteX44" fmla="*/ 6095930 w 6096000"/>
              <a:gd name="connsiteY44" fmla="*/ 4317694 h 6528034"/>
              <a:gd name="connsiteX45" fmla="*/ 6095926 w 6096000"/>
              <a:gd name="connsiteY45" fmla="*/ 4342186 h 6528034"/>
              <a:gd name="connsiteX46" fmla="*/ 6096000 w 6096000"/>
              <a:gd name="connsiteY46" fmla="*/ 4342902 h 6528034"/>
              <a:gd name="connsiteX47" fmla="*/ 6095896 w 6096000"/>
              <a:gd name="connsiteY47" fmla="*/ 4815458 h 6528034"/>
              <a:gd name="connsiteX48" fmla="*/ 6095209 w 6096000"/>
              <a:gd name="connsiteY48" fmla="*/ 4815459 h 6528034"/>
              <a:gd name="connsiteX49" fmla="*/ 6094720 w 6096000"/>
              <a:gd name="connsiteY49" fmla="*/ 4815459 h 6528034"/>
              <a:gd name="connsiteX50" fmla="*/ 6094720 w 6096000"/>
              <a:gd name="connsiteY50" fmla="*/ 4901060 h 6528034"/>
              <a:gd name="connsiteX51" fmla="*/ 6094720 w 6096000"/>
              <a:gd name="connsiteY51" fmla="*/ 5109958 h 6528034"/>
              <a:gd name="connsiteX52" fmla="*/ 6094720 w 6096000"/>
              <a:gd name="connsiteY52" fmla="*/ 5202832 h 6528034"/>
              <a:gd name="connsiteX53" fmla="*/ 6094720 w 6096000"/>
              <a:gd name="connsiteY53" fmla="*/ 5242844 h 6528034"/>
              <a:gd name="connsiteX54" fmla="*/ 6094720 w 6096000"/>
              <a:gd name="connsiteY54" fmla="*/ 5544616 h 6528034"/>
              <a:gd name="connsiteX55" fmla="*/ 6094720 w 6096000"/>
              <a:gd name="connsiteY55" fmla="*/ 5884479 h 6528034"/>
              <a:gd name="connsiteX56" fmla="*/ 6094720 w 6096000"/>
              <a:gd name="connsiteY56" fmla="*/ 6186250 h 6528034"/>
              <a:gd name="connsiteX57" fmla="*/ 6094720 w 6096000"/>
              <a:gd name="connsiteY57" fmla="*/ 6226262 h 6528034"/>
              <a:gd name="connsiteX58" fmla="*/ 6094720 w 6096000"/>
              <a:gd name="connsiteY58" fmla="*/ 6528034 h 6528034"/>
              <a:gd name="connsiteX59" fmla="*/ 5774783 w 6096000"/>
              <a:gd name="connsiteY59" fmla="*/ 6528034 h 6528034"/>
              <a:gd name="connsiteX60" fmla="*/ 5597638 w 6096000"/>
              <a:gd name="connsiteY60" fmla="*/ 6528034 h 6528034"/>
              <a:gd name="connsiteX61" fmla="*/ 3636760 w 6096000"/>
              <a:gd name="connsiteY61" fmla="*/ 6528034 h 6528034"/>
              <a:gd name="connsiteX62" fmla="*/ 3459615 w 6096000"/>
              <a:gd name="connsiteY62" fmla="*/ 6528034 h 6528034"/>
              <a:gd name="connsiteX63" fmla="*/ 3139677 w 6096000"/>
              <a:gd name="connsiteY63" fmla="*/ 6528034 h 6528034"/>
              <a:gd name="connsiteX64" fmla="*/ 3139677 w 6096000"/>
              <a:gd name="connsiteY64" fmla="*/ 6528032 h 6528034"/>
              <a:gd name="connsiteX65" fmla="*/ 2962532 w 6096000"/>
              <a:gd name="connsiteY65" fmla="*/ 6528032 h 6528034"/>
              <a:gd name="connsiteX66" fmla="*/ 841782 w 6096000"/>
              <a:gd name="connsiteY66" fmla="*/ 6528032 h 6528034"/>
              <a:gd name="connsiteX67" fmla="*/ 841782 w 6096000"/>
              <a:gd name="connsiteY67" fmla="*/ 6527773 h 6528034"/>
              <a:gd name="connsiteX68" fmla="*/ 761978 w 6096000"/>
              <a:gd name="connsiteY68" fmla="*/ 6527791 h 6528034"/>
              <a:gd name="connsiteX69" fmla="*/ 528166 w 6096000"/>
              <a:gd name="connsiteY69" fmla="*/ 6429965 h 6528034"/>
              <a:gd name="connsiteX70" fmla="*/ 97826 w 6096000"/>
              <a:gd name="connsiteY70" fmla="*/ 5999627 h 6528034"/>
              <a:gd name="connsiteX71" fmla="*/ 2 w 6096000"/>
              <a:gd name="connsiteY71" fmla="*/ 5765813 h 6528034"/>
              <a:gd name="connsiteX72" fmla="*/ 57 w 6096000"/>
              <a:gd name="connsiteY72" fmla="*/ 5512346 h 6528034"/>
              <a:gd name="connsiteX73" fmla="*/ 67 w 6096000"/>
              <a:gd name="connsiteY73" fmla="*/ 5464670 h 6528034"/>
              <a:gd name="connsiteX74" fmla="*/ 2 w 6096000"/>
              <a:gd name="connsiteY74" fmla="*/ 5464039 h 6528034"/>
              <a:gd name="connsiteX75" fmla="*/ 7 w 6096000"/>
              <a:gd name="connsiteY75" fmla="*/ 5439119 h 6528034"/>
              <a:gd name="connsiteX76" fmla="*/ 10 w 6096000"/>
              <a:gd name="connsiteY76" fmla="*/ 5424128 h 6528034"/>
              <a:gd name="connsiteX77" fmla="*/ 0 w 6096000"/>
              <a:gd name="connsiteY77" fmla="*/ 5424029 h 6528034"/>
              <a:gd name="connsiteX78" fmla="*/ 55 w 6096000"/>
              <a:gd name="connsiteY78" fmla="*/ 5170563 h 6528034"/>
              <a:gd name="connsiteX79" fmla="*/ 66 w 6096000"/>
              <a:gd name="connsiteY79" fmla="*/ 5122889 h 6528034"/>
              <a:gd name="connsiteX80" fmla="*/ 0 w 6096000"/>
              <a:gd name="connsiteY80" fmla="*/ 5122257 h 6528034"/>
              <a:gd name="connsiteX81" fmla="*/ 103 w 6096000"/>
              <a:gd name="connsiteY81" fmla="*/ 4649702 h 6528034"/>
              <a:gd name="connsiteX82" fmla="*/ 790 w 6096000"/>
              <a:gd name="connsiteY82" fmla="*/ 4649701 h 6528034"/>
              <a:gd name="connsiteX83" fmla="*/ 1276 w 6096000"/>
              <a:gd name="connsiteY83" fmla="*/ 4649700 h 6528034"/>
              <a:gd name="connsiteX84" fmla="*/ 1277 w 6096000"/>
              <a:gd name="connsiteY84" fmla="*/ 3891898 h 6528034"/>
              <a:gd name="connsiteX85" fmla="*/ 1 w 6096000"/>
              <a:gd name="connsiteY85" fmla="*/ 3879598 h 6528034"/>
              <a:gd name="connsiteX86" fmla="*/ 70 w 6096000"/>
              <a:gd name="connsiteY86" fmla="*/ 3563023 h 6528034"/>
              <a:gd name="connsiteX87" fmla="*/ 76 w 6096000"/>
              <a:gd name="connsiteY87" fmla="*/ 3538548 h 6528034"/>
              <a:gd name="connsiteX88" fmla="*/ 0 w 6096000"/>
              <a:gd name="connsiteY88" fmla="*/ 3537818 h 6528034"/>
              <a:gd name="connsiteX89" fmla="*/ 103 w 6096000"/>
              <a:gd name="connsiteY89" fmla="*/ 3065277 h 6528034"/>
              <a:gd name="connsiteX90" fmla="*/ 791 w 6096000"/>
              <a:gd name="connsiteY90" fmla="*/ 3065276 h 6528034"/>
              <a:gd name="connsiteX91" fmla="*/ 1277 w 6096000"/>
              <a:gd name="connsiteY91" fmla="*/ 3065275 h 6528034"/>
              <a:gd name="connsiteX92" fmla="*/ 1277 w 6096000"/>
              <a:gd name="connsiteY92" fmla="*/ 2686371 h 6528034"/>
              <a:gd name="connsiteX93" fmla="*/ 2 w 6096000"/>
              <a:gd name="connsiteY93" fmla="*/ 2674072 h 6528034"/>
              <a:gd name="connsiteX94" fmla="*/ 70 w 6096000"/>
              <a:gd name="connsiteY94" fmla="*/ 2357496 h 6528034"/>
              <a:gd name="connsiteX95" fmla="*/ 75 w 6096000"/>
              <a:gd name="connsiteY95" fmla="*/ 2333023 h 6528034"/>
              <a:gd name="connsiteX96" fmla="*/ 0 w 6096000"/>
              <a:gd name="connsiteY96" fmla="*/ 2332286 h 6528034"/>
              <a:gd name="connsiteX97" fmla="*/ 102 w 6096000"/>
              <a:gd name="connsiteY97" fmla="*/ 1859734 h 6528034"/>
              <a:gd name="connsiteX98" fmla="*/ 790 w 6096000"/>
              <a:gd name="connsiteY98" fmla="*/ 1859730 h 6528034"/>
              <a:gd name="connsiteX99" fmla="*/ 1277 w 6096000"/>
              <a:gd name="connsiteY99" fmla="*/ 1859730 h 6528034"/>
              <a:gd name="connsiteX100" fmla="*/ 1277 w 6096000"/>
              <a:gd name="connsiteY100" fmla="*/ 734186 h 6528034"/>
              <a:gd name="connsiteX101" fmla="*/ 1278 w 6096000"/>
              <a:gd name="connsiteY101" fmla="*/ 734186 h 6528034"/>
              <a:gd name="connsiteX102" fmla="*/ 1278 w 6096000"/>
              <a:gd name="connsiteY102" fmla="*/ 1 h 652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6096000" h="6528034">
                <a:moveTo>
                  <a:pt x="498361" y="0"/>
                </a:moveTo>
                <a:lnTo>
                  <a:pt x="2956322" y="0"/>
                </a:lnTo>
                <a:lnTo>
                  <a:pt x="2956322" y="1"/>
                </a:lnTo>
                <a:lnTo>
                  <a:pt x="3133467" y="1"/>
                </a:lnTo>
                <a:lnTo>
                  <a:pt x="5254219" y="1"/>
                </a:lnTo>
                <a:lnTo>
                  <a:pt x="5254219" y="2612"/>
                </a:lnTo>
                <a:lnTo>
                  <a:pt x="5334022" y="2594"/>
                </a:lnTo>
                <a:cubicBezTo>
                  <a:pt x="5421676" y="3113"/>
                  <a:pt x="5505980" y="38567"/>
                  <a:pt x="5567834" y="100419"/>
                </a:cubicBezTo>
                <a:cubicBezTo>
                  <a:pt x="5567834" y="100419"/>
                  <a:pt x="5567834" y="100419"/>
                  <a:pt x="5998174" y="530758"/>
                </a:cubicBezTo>
                <a:cubicBezTo>
                  <a:pt x="6045058" y="577643"/>
                  <a:pt x="6076350" y="636415"/>
                  <a:pt x="6089287" y="699850"/>
                </a:cubicBezTo>
                <a:lnTo>
                  <a:pt x="6092847" y="734186"/>
                </a:lnTo>
                <a:lnTo>
                  <a:pt x="6094720" y="734187"/>
                </a:lnTo>
                <a:lnTo>
                  <a:pt x="6094720" y="752239"/>
                </a:lnTo>
                <a:lnTo>
                  <a:pt x="6096000" y="764572"/>
                </a:lnTo>
                <a:cubicBezTo>
                  <a:pt x="6096000" y="764572"/>
                  <a:pt x="6096000" y="764572"/>
                  <a:pt x="6095930" y="1081147"/>
                </a:cubicBezTo>
                <a:lnTo>
                  <a:pt x="6095926" y="1105640"/>
                </a:lnTo>
                <a:lnTo>
                  <a:pt x="6096000" y="1106355"/>
                </a:lnTo>
                <a:cubicBezTo>
                  <a:pt x="6096000" y="1106355"/>
                  <a:pt x="6096000" y="1106355"/>
                  <a:pt x="6095896" y="1578910"/>
                </a:cubicBezTo>
                <a:cubicBezTo>
                  <a:pt x="6095896" y="1578910"/>
                  <a:pt x="6095896" y="1578910"/>
                  <a:pt x="6095210" y="1578912"/>
                </a:cubicBezTo>
                <a:lnTo>
                  <a:pt x="6094720" y="1578914"/>
                </a:lnTo>
                <a:lnTo>
                  <a:pt x="6094720" y="1676436"/>
                </a:lnTo>
                <a:lnTo>
                  <a:pt x="6094720" y="1939724"/>
                </a:lnTo>
                <a:lnTo>
                  <a:pt x="6094720" y="1957771"/>
                </a:lnTo>
                <a:lnTo>
                  <a:pt x="6096000" y="1970105"/>
                </a:lnTo>
                <a:cubicBezTo>
                  <a:pt x="6096000" y="1970105"/>
                  <a:pt x="6096000" y="1970105"/>
                  <a:pt x="6095930" y="2286686"/>
                </a:cubicBezTo>
                <a:lnTo>
                  <a:pt x="6095926" y="2311171"/>
                </a:lnTo>
                <a:lnTo>
                  <a:pt x="6095999" y="2311888"/>
                </a:lnTo>
                <a:cubicBezTo>
                  <a:pt x="6095999" y="2311888"/>
                  <a:pt x="6095999" y="2311888"/>
                  <a:pt x="6095896" y="2784449"/>
                </a:cubicBezTo>
                <a:cubicBezTo>
                  <a:pt x="6095896" y="2784449"/>
                  <a:pt x="6095896" y="2784449"/>
                  <a:pt x="6095210" y="2784450"/>
                </a:cubicBezTo>
                <a:lnTo>
                  <a:pt x="6094720" y="2784451"/>
                </a:lnTo>
                <a:lnTo>
                  <a:pt x="6094720" y="2881981"/>
                </a:lnTo>
                <a:lnTo>
                  <a:pt x="6094720" y="3094524"/>
                </a:lnTo>
                <a:lnTo>
                  <a:pt x="6094720" y="3223754"/>
                </a:lnTo>
                <a:lnTo>
                  <a:pt x="6094720" y="3316620"/>
                </a:lnTo>
                <a:lnTo>
                  <a:pt x="6094720" y="3436291"/>
                </a:lnTo>
                <a:lnTo>
                  <a:pt x="6094720" y="3524159"/>
                </a:lnTo>
                <a:lnTo>
                  <a:pt x="6094720" y="3612822"/>
                </a:lnTo>
                <a:lnTo>
                  <a:pt x="6096000" y="3625155"/>
                </a:lnTo>
                <a:cubicBezTo>
                  <a:pt x="6096000" y="3625155"/>
                  <a:pt x="6096000" y="3625155"/>
                  <a:pt x="6095930" y="3941730"/>
                </a:cubicBezTo>
                <a:lnTo>
                  <a:pt x="6095926" y="3966224"/>
                </a:lnTo>
                <a:lnTo>
                  <a:pt x="6096000" y="3966938"/>
                </a:lnTo>
                <a:cubicBezTo>
                  <a:pt x="6096000" y="3966938"/>
                  <a:pt x="6096000" y="3966938"/>
                  <a:pt x="6095995" y="3991859"/>
                </a:cubicBezTo>
                <a:lnTo>
                  <a:pt x="6095993" y="4001046"/>
                </a:lnTo>
                <a:lnTo>
                  <a:pt x="6095999" y="4001118"/>
                </a:lnTo>
                <a:cubicBezTo>
                  <a:pt x="6095999" y="4001118"/>
                  <a:pt x="6095999" y="4001118"/>
                  <a:pt x="6095930" y="4317694"/>
                </a:cubicBezTo>
                <a:lnTo>
                  <a:pt x="6095926" y="4342186"/>
                </a:lnTo>
                <a:lnTo>
                  <a:pt x="6096000" y="4342902"/>
                </a:lnTo>
                <a:cubicBezTo>
                  <a:pt x="6096000" y="4342902"/>
                  <a:pt x="6096000" y="4342902"/>
                  <a:pt x="6095896" y="4815458"/>
                </a:cubicBezTo>
                <a:cubicBezTo>
                  <a:pt x="6095896" y="4815458"/>
                  <a:pt x="6095896" y="4815458"/>
                  <a:pt x="6095209" y="4815459"/>
                </a:cubicBezTo>
                <a:lnTo>
                  <a:pt x="6094720" y="4815459"/>
                </a:lnTo>
                <a:lnTo>
                  <a:pt x="6094720" y="4901060"/>
                </a:lnTo>
                <a:lnTo>
                  <a:pt x="6094720" y="5109958"/>
                </a:lnTo>
                <a:lnTo>
                  <a:pt x="6094720" y="5202832"/>
                </a:lnTo>
                <a:lnTo>
                  <a:pt x="6094720" y="5242844"/>
                </a:lnTo>
                <a:lnTo>
                  <a:pt x="6094720" y="5544616"/>
                </a:lnTo>
                <a:lnTo>
                  <a:pt x="6094720" y="5884479"/>
                </a:lnTo>
                <a:lnTo>
                  <a:pt x="6094720" y="6186250"/>
                </a:lnTo>
                <a:lnTo>
                  <a:pt x="6094720" y="6226262"/>
                </a:lnTo>
                <a:lnTo>
                  <a:pt x="6094720" y="6528034"/>
                </a:lnTo>
                <a:lnTo>
                  <a:pt x="5774783" y="6528034"/>
                </a:lnTo>
                <a:lnTo>
                  <a:pt x="5597638" y="6528034"/>
                </a:lnTo>
                <a:lnTo>
                  <a:pt x="3636760" y="6528034"/>
                </a:lnTo>
                <a:lnTo>
                  <a:pt x="3459615" y="6528034"/>
                </a:lnTo>
                <a:lnTo>
                  <a:pt x="3139677" y="6528034"/>
                </a:lnTo>
                <a:lnTo>
                  <a:pt x="3139677" y="6528032"/>
                </a:lnTo>
                <a:lnTo>
                  <a:pt x="2962532" y="6528032"/>
                </a:lnTo>
                <a:lnTo>
                  <a:pt x="841782" y="6528032"/>
                </a:lnTo>
                <a:lnTo>
                  <a:pt x="841782" y="6527773"/>
                </a:lnTo>
                <a:lnTo>
                  <a:pt x="761978" y="6527791"/>
                </a:lnTo>
                <a:cubicBezTo>
                  <a:pt x="674323" y="6527273"/>
                  <a:pt x="590019" y="6491819"/>
                  <a:pt x="528166" y="6429965"/>
                </a:cubicBezTo>
                <a:cubicBezTo>
                  <a:pt x="528166" y="6429965"/>
                  <a:pt x="528166" y="6429965"/>
                  <a:pt x="97826" y="5999627"/>
                </a:cubicBezTo>
                <a:cubicBezTo>
                  <a:pt x="35315" y="5937116"/>
                  <a:pt x="519" y="5853470"/>
                  <a:pt x="2" y="5765813"/>
                </a:cubicBezTo>
                <a:cubicBezTo>
                  <a:pt x="2" y="5765813"/>
                  <a:pt x="2" y="5765813"/>
                  <a:pt x="57" y="5512346"/>
                </a:cubicBezTo>
                <a:lnTo>
                  <a:pt x="67" y="5464670"/>
                </a:lnTo>
                <a:lnTo>
                  <a:pt x="2" y="5464039"/>
                </a:lnTo>
                <a:cubicBezTo>
                  <a:pt x="2" y="5464039"/>
                  <a:pt x="2" y="5464039"/>
                  <a:pt x="7" y="5439119"/>
                </a:cubicBezTo>
                <a:lnTo>
                  <a:pt x="10" y="5424128"/>
                </a:lnTo>
                <a:lnTo>
                  <a:pt x="0" y="5424029"/>
                </a:lnTo>
                <a:cubicBezTo>
                  <a:pt x="0" y="5424029"/>
                  <a:pt x="0" y="5424029"/>
                  <a:pt x="55" y="5170563"/>
                </a:cubicBezTo>
                <a:lnTo>
                  <a:pt x="66" y="5122889"/>
                </a:lnTo>
                <a:lnTo>
                  <a:pt x="0" y="5122257"/>
                </a:lnTo>
                <a:cubicBezTo>
                  <a:pt x="0" y="5122257"/>
                  <a:pt x="0" y="5122257"/>
                  <a:pt x="103" y="4649702"/>
                </a:cubicBezTo>
                <a:cubicBezTo>
                  <a:pt x="103" y="4649702"/>
                  <a:pt x="103" y="4649702"/>
                  <a:pt x="790" y="4649701"/>
                </a:cubicBezTo>
                <a:lnTo>
                  <a:pt x="1276" y="4649700"/>
                </a:lnTo>
                <a:lnTo>
                  <a:pt x="1277" y="3891898"/>
                </a:lnTo>
                <a:lnTo>
                  <a:pt x="1" y="3879598"/>
                </a:lnTo>
                <a:cubicBezTo>
                  <a:pt x="1" y="3879598"/>
                  <a:pt x="1" y="3879598"/>
                  <a:pt x="70" y="3563023"/>
                </a:cubicBezTo>
                <a:lnTo>
                  <a:pt x="76" y="3538548"/>
                </a:lnTo>
                <a:lnTo>
                  <a:pt x="0" y="3537818"/>
                </a:lnTo>
                <a:cubicBezTo>
                  <a:pt x="0" y="3537818"/>
                  <a:pt x="0" y="3537818"/>
                  <a:pt x="103" y="3065277"/>
                </a:cubicBezTo>
                <a:cubicBezTo>
                  <a:pt x="103" y="3065277"/>
                  <a:pt x="103" y="3065277"/>
                  <a:pt x="791" y="3065276"/>
                </a:cubicBezTo>
                <a:lnTo>
                  <a:pt x="1277" y="3065275"/>
                </a:lnTo>
                <a:lnTo>
                  <a:pt x="1277" y="2686371"/>
                </a:lnTo>
                <a:lnTo>
                  <a:pt x="2" y="2674072"/>
                </a:lnTo>
                <a:cubicBezTo>
                  <a:pt x="2" y="2674072"/>
                  <a:pt x="2" y="2674072"/>
                  <a:pt x="70" y="2357496"/>
                </a:cubicBezTo>
                <a:lnTo>
                  <a:pt x="75" y="2333023"/>
                </a:lnTo>
                <a:lnTo>
                  <a:pt x="0" y="2332286"/>
                </a:lnTo>
                <a:cubicBezTo>
                  <a:pt x="0" y="2332286"/>
                  <a:pt x="0" y="2332286"/>
                  <a:pt x="102" y="1859734"/>
                </a:cubicBezTo>
                <a:cubicBezTo>
                  <a:pt x="102" y="1859734"/>
                  <a:pt x="102" y="1859734"/>
                  <a:pt x="790" y="1859730"/>
                </a:cubicBezTo>
                <a:lnTo>
                  <a:pt x="1277" y="1859730"/>
                </a:lnTo>
                <a:lnTo>
                  <a:pt x="1277" y="734186"/>
                </a:lnTo>
                <a:lnTo>
                  <a:pt x="1278" y="734186"/>
                </a:lnTo>
                <a:lnTo>
                  <a:pt x="1278" y="1"/>
                </a:lnTo>
                <a:close/>
              </a:path>
            </a:pathLst>
          </a:custGeom>
          <a:solidFill>
            <a:srgbClr val="FFD839"/>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Title 1">
            <a:extLst>
              <a:ext uri="{FF2B5EF4-FFF2-40B4-BE49-F238E27FC236}">
                <a16:creationId xmlns:a16="http://schemas.microsoft.com/office/drawing/2014/main" id="{99929713-92BF-C5AE-255B-E700DC18B264}"/>
              </a:ext>
            </a:extLst>
          </p:cNvPr>
          <p:cNvSpPr>
            <a:spLocks noGrp="1"/>
          </p:cNvSpPr>
          <p:nvPr>
            <p:ph type="title"/>
          </p:nvPr>
        </p:nvSpPr>
        <p:spPr>
          <a:xfrm>
            <a:off x="493714" y="579438"/>
            <a:ext cx="5113896" cy="792162"/>
          </a:xfrm>
        </p:spPr>
        <p:txBody>
          <a:bodyPr anchor="t">
            <a:noAutofit/>
          </a:bodyPr>
          <a:lstStyle>
            <a:lvl1pPr>
              <a:lnSpc>
                <a:spcPct val="85000"/>
              </a:lnSpc>
              <a:defRPr/>
            </a:lvl1pPr>
          </a:lstStyle>
          <a:p>
            <a:r>
              <a:rPr lang="en-US"/>
              <a:t>Click to edit Master title style</a:t>
            </a:r>
          </a:p>
        </p:txBody>
      </p:sp>
      <p:sp>
        <p:nvSpPr>
          <p:cNvPr id="5" name="Text Placeholder 12">
            <a:extLst>
              <a:ext uri="{FF2B5EF4-FFF2-40B4-BE49-F238E27FC236}">
                <a16:creationId xmlns:a16="http://schemas.microsoft.com/office/drawing/2014/main" id="{920AE283-D579-E34E-7789-64765852C9CF}"/>
              </a:ext>
            </a:extLst>
          </p:cNvPr>
          <p:cNvSpPr>
            <a:spLocks noGrp="1"/>
          </p:cNvSpPr>
          <p:nvPr>
            <p:ph type="body" sz="quarter" idx="14"/>
          </p:nvPr>
        </p:nvSpPr>
        <p:spPr>
          <a:xfrm>
            <a:off x="6572250" y="1382889"/>
            <a:ext cx="5126366" cy="336374"/>
          </a:xfrm>
        </p:spPr>
        <p:txBody>
          <a:bodyPr anchor="t">
            <a:noAutofit/>
          </a:bodyPr>
          <a:lstStyle>
            <a:lvl1pPr marL="0" indent="0">
              <a:buNone/>
              <a:defRPr sz="2100">
                <a:solidFill>
                  <a:schemeClr val="accent1"/>
                </a:solidFill>
                <a:latin typeface="+mj-lt"/>
              </a:defRPr>
            </a:lvl1pPr>
          </a:lstStyle>
          <a:p>
            <a:pPr lvl="0"/>
            <a:r>
              <a:rPr lang="en-US"/>
              <a:t>Click to edit Master text styles</a:t>
            </a:r>
          </a:p>
        </p:txBody>
      </p:sp>
      <p:sp>
        <p:nvSpPr>
          <p:cNvPr id="9" name="Subtitle 2">
            <a:extLst>
              <a:ext uri="{FF2B5EF4-FFF2-40B4-BE49-F238E27FC236}">
                <a16:creationId xmlns:a16="http://schemas.microsoft.com/office/drawing/2014/main" id="{913D57F8-6390-CDE9-60EB-FC8B8483AA89}"/>
              </a:ext>
            </a:extLst>
          </p:cNvPr>
          <p:cNvSpPr>
            <a:spLocks noGrp="1"/>
          </p:cNvSpPr>
          <p:nvPr>
            <p:ph type="subTitle" idx="1"/>
          </p:nvPr>
        </p:nvSpPr>
        <p:spPr>
          <a:xfrm>
            <a:off x="493714" y="1371600"/>
            <a:ext cx="5113896" cy="347663"/>
          </a:xfrm>
        </p:spPr>
        <p:txBody>
          <a:bodyPr anchor="t">
            <a:noAutofit/>
          </a:bodyPr>
          <a:lstStyle>
            <a:lvl1pPr marL="0" indent="0" algn="l">
              <a:buNone/>
              <a:defRPr sz="21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ext Placeholder 11">
            <a:extLst>
              <a:ext uri="{FF2B5EF4-FFF2-40B4-BE49-F238E27FC236}">
                <a16:creationId xmlns:a16="http://schemas.microsoft.com/office/drawing/2014/main" id="{FF517ECE-082F-3056-AFD9-60411B053E86}"/>
              </a:ext>
            </a:extLst>
          </p:cNvPr>
          <p:cNvSpPr>
            <a:spLocks noGrp="1"/>
          </p:cNvSpPr>
          <p:nvPr>
            <p:ph type="body" sz="quarter" idx="16"/>
          </p:nvPr>
        </p:nvSpPr>
        <p:spPr>
          <a:xfrm>
            <a:off x="6572250" y="579439"/>
            <a:ext cx="5126365" cy="792162"/>
          </a:xfrm>
        </p:spPr>
        <p:txBody>
          <a:bodyPr anchor="t">
            <a:noAutofit/>
          </a:bodyPr>
          <a:lstStyle>
            <a:lvl1pPr marL="0" indent="0">
              <a:lnSpc>
                <a:spcPct val="85000"/>
              </a:lnSpc>
              <a:buNone/>
              <a:defRPr sz="3400">
                <a:solidFill>
                  <a:schemeClr val="accent1"/>
                </a:solidFill>
                <a:latin typeface="+mn-lt"/>
              </a:defRPr>
            </a:lvl1pPr>
          </a:lstStyle>
          <a:p>
            <a:pPr lvl="0"/>
            <a:r>
              <a:rPr lang="en-US"/>
              <a:t>Click to edit Master text styles</a:t>
            </a:r>
          </a:p>
        </p:txBody>
      </p:sp>
      <p:sp>
        <p:nvSpPr>
          <p:cNvPr id="3" name="Footer Placeholder 66">
            <a:extLst>
              <a:ext uri="{FF2B5EF4-FFF2-40B4-BE49-F238E27FC236}">
                <a16:creationId xmlns:a16="http://schemas.microsoft.com/office/drawing/2014/main" id="{7072184A-0627-5E87-1FC2-7D37EE5AD4B2}"/>
              </a:ext>
            </a:extLst>
          </p:cNvPr>
          <p:cNvSpPr>
            <a:spLocks noGrp="1"/>
          </p:cNvSpPr>
          <p:nvPr>
            <p:ph type="ftr" sz="quarter" idx="3"/>
          </p:nvPr>
        </p:nvSpPr>
        <p:spPr>
          <a:xfrm>
            <a:off x="493290" y="6405456"/>
            <a:ext cx="5124874" cy="107722"/>
          </a:xfrm>
          <a:prstGeom prst="rect">
            <a:avLst/>
          </a:prstGeom>
        </p:spPr>
        <p:txBody>
          <a:bodyPr vert="horz" lIns="0" tIns="0" rIns="0" bIns="0" rtlCol="0" anchor="b"/>
          <a:lstStyle>
            <a:lvl1pPr algn="l">
              <a:defRPr sz="700">
                <a:solidFill>
                  <a:schemeClr val="tx2"/>
                </a:solidFill>
              </a:defRPr>
            </a:lvl1pPr>
          </a:lstStyle>
          <a:p>
            <a:endParaRPr lang="en-US"/>
          </a:p>
        </p:txBody>
      </p:sp>
      <p:sp>
        <p:nvSpPr>
          <p:cNvPr id="13" name="Content Placeholder 18">
            <a:extLst>
              <a:ext uri="{FF2B5EF4-FFF2-40B4-BE49-F238E27FC236}">
                <a16:creationId xmlns:a16="http://schemas.microsoft.com/office/drawing/2014/main" id="{3B320906-55E2-D76D-6628-39A846DD0602}"/>
              </a:ext>
            </a:extLst>
          </p:cNvPr>
          <p:cNvSpPr>
            <a:spLocks noGrp="1"/>
          </p:cNvSpPr>
          <p:nvPr>
            <p:ph sz="quarter" idx="10"/>
          </p:nvPr>
        </p:nvSpPr>
        <p:spPr>
          <a:xfrm>
            <a:off x="493288" y="2397125"/>
            <a:ext cx="5124876" cy="3771900"/>
          </a:xfrm>
        </p:spPr>
        <p:txBody>
          <a:bodyPr/>
          <a:lstStyle>
            <a:lvl1pPr>
              <a:defRPr>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a:solidFill>
                  <a:schemeClr val="tx1"/>
                </a:solidFill>
              </a:defRPr>
            </a:lvl6pPr>
            <a:lvl7pPr>
              <a:defRPr>
                <a:solidFill>
                  <a:schemeClr val="tx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8">
            <a:extLst>
              <a:ext uri="{FF2B5EF4-FFF2-40B4-BE49-F238E27FC236}">
                <a16:creationId xmlns:a16="http://schemas.microsoft.com/office/drawing/2014/main" id="{4E339EF2-FA4D-9028-CABB-32DEB12B3371}"/>
              </a:ext>
            </a:extLst>
          </p:cNvPr>
          <p:cNvSpPr>
            <a:spLocks noGrp="1"/>
          </p:cNvSpPr>
          <p:nvPr>
            <p:ph sz="quarter" idx="11"/>
          </p:nvPr>
        </p:nvSpPr>
        <p:spPr>
          <a:xfrm>
            <a:off x="6574140" y="2394727"/>
            <a:ext cx="5124475" cy="3771900"/>
          </a:xfrm>
        </p:spPr>
        <p:txBody>
          <a:bodyPr/>
          <a:lstStyle>
            <a:lvl1pPr>
              <a:defRPr sz="1600">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vl5pPr>
              <a:defRPr sz="1600">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5D0E5E60-1762-2EA0-94BA-D40F05FFAE68}"/>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180146" y="6513177"/>
            <a:ext cx="516553" cy="157025"/>
          </a:xfrm>
          <a:prstGeom prst="rect">
            <a:avLst/>
          </a:prstGeom>
        </p:spPr>
      </p:pic>
    </p:spTree>
    <p:extLst>
      <p:ext uri="{BB962C8B-B14F-4D97-AF65-F5344CB8AC3E}">
        <p14:creationId xmlns:p14="http://schemas.microsoft.com/office/powerpoint/2010/main" val="173168101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mparison Sol Left">
    <p:spTree>
      <p:nvGrpSpPr>
        <p:cNvPr id="1" name=""/>
        <p:cNvGrpSpPr/>
        <p:nvPr/>
      </p:nvGrpSpPr>
      <p:grpSpPr>
        <a:xfrm>
          <a:off x="0" y="0"/>
          <a:ext cx="0" cy="0"/>
          <a:chOff x="0" y="0"/>
          <a:chExt cx="0" cy="0"/>
        </a:xfrm>
      </p:grpSpPr>
      <p:sp>
        <p:nvSpPr>
          <p:cNvPr id="311" name="Freeform: Shape 310">
            <a:extLst>
              <a:ext uri="{FF2B5EF4-FFF2-40B4-BE49-F238E27FC236}">
                <a16:creationId xmlns:a16="http://schemas.microsoft.com/office/drawing/2014/main" id="{FA3D5559-630B-68EB-88DB-BCC345505905}"/>
              </a:ext>
            </a:extLst>
          </p:cNvPr>
          <p:cNvSpPr/>
          <p:nvPr/>
        </p:nvSpPr>
        <p:spPr>
          <a:xfrm flipH="1">
            <a:off x="0" y="329967"/>
            <a:ext cx="6096000" cy="6528034"/>
          </a:xfrm>
          <a:custGeom>
            <a:avLst/>
            <a:gdLst>
              <a:gd name="connsiteX0" fmla="*/ 498361 w 6096000"/>
              <a:gd name="connsiteY0" fmla="*/ 0 h 6528034"/>
              <a:gd name="connsiteX1" fmla="*/ 2956322 w 6096000"/>
              <a:gd name="connsiteY1" fmla="*/ 0 h 6528034"/>
              <a:gd name="connsiteX2" fmla="*/ 2956322 w 6096000"/>
              <a:gd name="connsiteY2" fmla="*/ 1 h 6528034"/>
              <a:gd name="connsiteX3" fmla="*/ 3133467 w 6096000"/>
              <a:gd name="connsiteY3" fmla="*/ 1 h 6528034"/>
              <a:gd name="connsiteX4" fmla="*/ 5254219 w 6096000"/>
              <a:gd name="connsiteY4" fmla="*/ 1 h 6528034"/>
              <a:gd name="connsiteX5" fmla="*/ 5254219 w 6096000"/>
              <a:gd name="connsiteY5" fmla="*/ 2612 h 6528034"/>
              <a:gd name="connsiteX6" fmla="*/ 5334022 w 6096000"/>
              <a:gd name="connsiteY6" fmla="*/ 2594 h 6528034"/>
              <a:gd name="connsiteX7" fmla="*/ 5567834 w 6096000"/>
              <a:gd name="connsiteY7" fmla="*/ 100419 h 6528034"/>
              <a:gd name="connsiteX8" fmla="*/ 5998174 w 6096000"/>
              <a:gd name="connsiteY8" fmla="*/ 530758 h 6528034"/>
              <a:gd name="connsiteX9" fmla="*/ 6089287 w 6096000"/>
              <a:gd name="connsiteY9" fmla="*/ 699850 h 6528034"/>
              <a:gd name="connsiteX10" fmla="*/ 6092847 w 6096000"/>
              <a:gd name="connsiteY10" fmla="*/ 734186 h 6528034"/>
              <a:gd name="connsiteX11" fmla="*/ 6094720 w 6096000"/>
              <a:gd name="connsiteY11" fmla="*/ 734187 h 6528034"/>
              <a:gd name="connsiteX12" fmla="*/ 6094720 w 6096000"/>
              <a:gd name="connsiteY12" fmla="*/ 752239 h 6528034"/>
              <a:gd name="connsiteX13" fmla="*/ 6096000 w 6096000"/>
              <a:gd name="connsiteY13" fmla="*/ 764572 h 6528034"/>
              <a:gd name="connsiteX14" fmla="*/ 6095930 w 6096000"/>
              <a:gd name="connsiteY14" fmla="*/ 1081147 h 6528034"/>
              <a:gd name="connsiteX15" fmla="*/ 6095926 w 6096000"/>
              <a:gd name="connsiteY15" fmla="*/ 1105640 h 6528034"/>
              <a:gd name="connsiteX16" fmla="*/ 6096000 w 6096000"/>
              <a:gd name="connsiteY16" fmla="*/ 1106355 h 6528034"/>
              <a:gd name="connsiteX17" fmla="*/ 6095896 w 6096000"/>
              <a:gd name="connsiteY17" fmla="*/ 1578910 h 6528034"/>
              <a:gd name="connsiteX18" fmla="*/ 6095210 w 6096000"/>
              <a:gd name="connsiteY18" fmla="*/ 1578912 h 6528034"/>
              <a:gd name="connsiteX19" fmla="*/ 6094720 w 6096000"/>
              <a:gd name="connsiteY19" fmla="*/ 1578914 h 6528034"/>
              <a:gd name="connsiteX20" fmla="*/ 6094720 w 6096000"/>
              <a:gd name="connsiteY20" fmla="*/ 1676436 h 6528034"/>
              <a:gd name="connsiteX21" fmla="*/ 6094720 w 6096000"/>
              <a:gd name="connsiteY21" fmla="*/ 1939724 h 6528034"/>
              <a:gd name="connsiteX22" fmla="*/ 6094720 w 6096000"/>
              <a:gd name="connsiteY22" fmla="*/ 1957771 h 6528034"/>
              <a:gd name="connsiteX23" fmla="*/ 6096000 w 6096000"/>
              <a:gd name="connsiteY23" fmla="*/ 1970105 h 6528034"/>
              <a:gd name="connsiteX24" fmla="*/ 6095930 w 6096000"/>
              <a:gd name="connsiteY24" fmla="*/ 2286686 h 6528034"/>
              <a:gd name="connsiteX25" fmla="*/ 6095926 w 6096000"/>
              <a:gd name="connsiteY25" fmla="*/ 2311171 h 6528034"/>
              <a:gd name="connsiteX26" fmla="*/ 6095999 w 6096000"/>
              <a:gd name="connsiteY26" fmla="*/ 2311888 h 6528034"/>
              <a:gd name="connsiteX27" fmla="*/ 6095896 w 6096000"/>
              <a:gd name="connsiteY27" fmla="*/ 2784449 h 6528034"/>
              <a:gd name="connsiteX28" fmla="*/ 6095210 w 6096000"/>
              <a:gd name="connsiteY28" fmla="*/ 2784450 h 6528034"/>
              <a:gd name="connsiteX29" fmla="*/ 6094720 w 6096000"/>
              <a:gd name="connsiteY29" fmla="*/ 2784451 h 6528034"/>
              <a:gd name="connsiteX30" fmla="*/ 6094720 w 6096000"/>
              <a:gd name="connsiteY30" fmla="*/ 2881981 h 6528034"/>
              <a:gd name="connsiteX31" fmla="*/ 6094720 w 6096000"/>
              <a:gd name="connsiteY31" fmla="*/ 3094524 h 6528034"/>
              <a:gd name="connsiteX32" fmla="*/ 6094720 w 6096000"/>
              <a:gd name="connsiteY32" fmla="*/ 3223754 h 6528034"/>
              <a:gd name="connsiteX33" fmla="*/ 6094720 w 6096000"/>
              <a:gd name="connsiteY33" fmla="*/ 3316620 h 6528034"/>
              <a:gd name="connsiteX34" fmla="*/ 6094720 w 6096000"/>
              <a:gd name="connsiteY34" fmla="*/ 3436291 h 6528034"/>
              <a:gd name="connsiteX35" fmla="*/ 6094720 w 6096000"/>
              <a:gd name="connsiteY35" fmla="*/ 3524159 h 6528034"/>
              <a:gd name="connsiteX36" fmla="*/ 6094720 w 6096000"/>
              <a:gd name="connsiteY36" fmla="*/ 3612822 h 6528034"/>
              <a:gd name="connsiteX37" fmla="*/ 6096000 w 6096000"/>
              <a:gd name="connsiteY37" fmla="*/ 3625155 h 6528034"/>
              <a:gd name="connsiteX38" fmla="*/ 6095930 w 6096000"/>
              <a:gd name="connsiteY38" fmla="*/ 3941730 h 6528034"/>
              <a:gd name="connsiteX39" fmla="*/ 6095926 w 6096000"/>
              <a:gd name="connsiteY39" fmla="*/ 3966224 h 6528034"/>
              <a:gd name="connsiteX40" fmla="*/ 6096000 w 6096000"/>
              <a:gd name="connsiteY40" fmla="*/ 3966938 h 6528034"/>
              <a:gd name="connsiteX41" fmla="*/ 6095995 w 6096000"/>
              <a:gd name="connsiteY41" fmla="*/ 3991859 h 6528034"/>
              <a:gd name="connsiteX42" fmla="*/ 6095993 w 6096000"/>
              <a:gd name="connsiteY42" fmla="*/ 4001046 h 6528034"/>
              <a:gd name="connsiteX43" fmla="*/ 6095999 w 6096000"/>
              <a:gd name="connsiteY43" fmla="*/ 4001118 h 6528034"/>
              <a:gd name="connsiteX44" fmla="*/ 6095930 w 6096000"/>
              <a:gd name="connsiteY44" fmla="*/ 4317694 h 6528034"/>
              <a:gd name="connsiteX45" fmla="*/ 6095926 w 6096000"/>
              <a:gd name="connsiteY45" fmla="*/ 4342186 h 6528034"/>
              <a:gd name="connsiteX46" fmla="*/ 6096000 w 6096000"/>
              <a:gd name="connsiteY46" fmla="*/ 4342902 h 6528034"/>
              <a:gd name="connsiteX47" fmla="*/ 6095896 w 6096000"/>
              <a:gd name="connsiteY47" fmla="*/ 4815458 h 6528034"/>
              <a:gd name="connsiteX48" fmla="*/ 6095209 w 6096000"/>
              <a:gd name="connsiteY48" fmla="*/ 4815459 h 6528034"/>
              <a:gd name="connsiteX49" fmla="*/ 6094720 w 6096000"/>
              <a:gd name="connsiteY49" fmla="*/ 4815459 h 6528034"/>
              <a:gd name="connsiteX50" fmla="*/ 6094720 w 6096000"/>
              <a:gd name="connsiteY50" fmla="*/ 4901060 h 6528034"/>
              <a:gd name="connsiteX51" fmla="*/ 6094720 w 6096000"/>
              <a:gd name="connsiteY51" fmla="*/ 5109958 h 6528034"/>
              <a:gd name="connsiteX52" fmla="*/ 6094720 w 6096000"/>
              <a:gd name="connsiteY52" fmla="*/ 5202832 h 6528034"/>
              <a:gd name="connsiteX53" fmla="*/ 6094720 w 6096000"/>
              <a:gd name="connsiteY53" fmla="*/ 5242844 h 6528034"/>
              <a:gd name="connsiteX54" fmla="*/ 6094720 w 6096000"/>
              <a:gd name="connsiteY54" fmla="*/ 5544616 h 6528034"/>
              <a:gd name="connsiteX55" fmla="*/ 6094720 w 6096000"/>
              <a:gd name="connsiteY55" fmla="*/ 5884479 h 6528034"/>
              <a:gd name="connsiteX56" fmla="*/ 6094720 w 6096000"/>
              <a:gd name="connsiteY56" fmla="*/ 6186250 h 6528034"/>
              <a:gd name="connsiteX57" fmla="*/ 6094720 w 6096000"/>
              <a:gd name="connsiteY57" fmla="*/ 6226262 h 6528034"/>
              <a:gd name="connsiteX58" fmla="*/ 6094720 w 6096000"/>
              <a:gd name="connsiteY58" fmla="*/ 6528034 h 6528034"/>
              <a:gd name="connsiteX59" fmla="*/ 5774783 w 6096000"/>
              <a:gd name="connsiteY59" fmla="*/ 6528034 h 6528034"/>
              <a:gd name="connsiteX60" fmla="*/ 5597638 w 6096000"/>
              <a:gd name="connsiteY60" fmla="*/ 6528034 h 6528034"/>
              <a:gd name="connsiteX61" fmla="*/ 3636760 w 6096000"/>
              <a:gd name="connsiteY61" fmla="*/ 6528034 h 6528034"/>
              <a:gd name="connsiteX62" fmla="*/ 3459615 w 6096000"/>
              <a:gd name="connsiteY62" fmla="*/ 6528034 h 6528034"/>
              <a:gd name="connsiteX63" fmla="*/ 3139677 w 6096000"/>
              <a:gd name="connsiteY63" fmla="*/ 6528034 h 6528034"/>
              <a:gd name="connsiteX64" fmla="*/ 3139677 w 6096000"/>
              <a:gd name="connsiteY64" fmla="*/ 6528032 h 6528034"/>
              <a:gd name="connsiteX65" fmla="*/ 2962532 w 6096000"/>
              <a:gd name="connsiteY65" fmla="*/ 6528032 h 6528034"/>
              <a:gd name="connsiteX66" fmla="*/ 841782 w 6096000"/>
              <a:gd name="connsiteY66" fmla="*/ 6528032 h 6528034"/>
              <a:gd name="connsiteX67" fmla="*/ 841782 w 6096000"/>
              <a:gd name="connsiteY67" fmla="*/ 6527773 h 6528034"/>
              <a:gd name="connsiteX68" fmla="*/ 761978 w 6096000"/>
              <a:gd name="connsiteY68" fmla="*/ 6527791 h 6528034"/>
              <a:gd name="connsiteX69" fmla="*/ 528166 w 6096000"/>
              <a:gd name="connsiteY69" fmla="*/ 6429965 h 6528034"/>
              <a:gd name="connsiteX70" fmla="*/ 97826 w 6096000"/>
              <a:gd name="connsiteY70" fmla="*/ 5999627 h 6528034"/>
              <a:gd name="connsiteX71" fmla="*/ 2 w 6096000"/>
              <a:gd name="connsiteY71" fmla="*/ 5765813 h 6528034"/>
              <a:gd name="connsiteX72" fmla="*/ 57 w 6096000"/>
              <a:gd name="connsiteY72" fmla="*/ 5512346 h 6528034"/>
              <a:gd name="connsiteX73" fmla="*/ 67 w 6096000"/>
              <a:gd name="connsiteY73" fmla="*/ 5464670 h 6528034"/>
              <a:gd name="connsiteX74" fmla="*/ 2 w 6096000"/>
              <a:gd name="connsiteY74" fmla="*/ 5464039 h 6528034"/>
              <a:gd name="connsiteX75" fmla="*/ 7 w 6096000"/>
              <a:gd name="connsiteY75" fmla="*/ 5439119 h 6528034"/>
              <a:gd name="connsiteX76" fmla="*/ 10 w 6096000"/>
              <a:gd name="connsiteY76" fmla="*/ 5424128 h 6528034"/>
              <a:gd name="connsiteX77" fmla="*/ 0 w 6096000"/>
              <a:gd name="connsiteY77" fmla="*/ 5424029 h 6528034"/>
              <a:gd name="connsiteX78" fmla="*/ 55 w 6096000"/>
              <a:gd name="connsiteY78" fmla="*/ 5170563 h 6528034"/>
              <a:gd name="connsiteX79" fmla="*/ 66 w 6096000"/>
              <a:gd name="connsiteY79" fmla="*/ 5122889 h 6528034"/>
              <a:gd name="connsiteX80" fmla="*/ 0 w 6096000"/>
              <a:gd name="connsiteY80" fmla="*/ 5122257 h 6528034"/>
              <a:gd name="connsiteX81" fmla="*/ 103 w 6096000"/>
              <a:gd name="connsiteY81" fmla="*/ 4649702 h 6528034"/>
              <a:gd name="connsiteX82" fmla="*/ 790 w 6096000"/>
              <a:gd name="connsiteY82" fmla="*/ 4649701 h 6528034"/>
              <a:gd name="connsiteX83" fmla="*/ 1276 w 6096000"/>
              <a:gd name="connsiteY83" fmla="*/ 4649700 h 6528034"/>
              <a:gd name="connsiteX84" fmla="*/ 1277 w 6096000"/>
              <a:gd name="connsiteY84" fmla="*/ 3891898 h 6528034"/>
              <a:gd name="connsiteX85" fmla="*/ 1 w 6096000"/>
              <a:gd name="connsiteY85" fmla="*/ 3879598 h 6528034"/>
              <a:gd name="connsiteX86" fmla="*/ 70 w 6096000"/>
              <a:gd name="connsiteY86" fmla="*/ 3563023 h 6528034"/>
              <a:gd name="connsiteX87" fmla="*/ 76 w 6096000"/>
              <a:gd name="connsiteY87" fmla="*/ 3538548 h 6528034"/>
              <a:gd name="connsiteX88" fmla="*/ 0 w 6096000"/>
              <a:gd name="connsiteY88" fmla="*/ 3537818 h 6528034"/>
              <a:gd name="connsiteX89" fmla="*/ 103 w 6096000"/>
              <a:gd name="connsiteY89" fmla="*/ 3065277 h 6528034"/>
              <a:gd name="connsiteX90" fmla="*/ 791 w 6096000"/>
              <a:gd name="connsiteY90" fmla="*/ 3065276 h 6528034"/>
              <a:gd name="connsiteX91" fmla="*/ 1277 w 6096000"/>
              <a:gd name="connsiteY91" fmla="*/ 3065275 h 6528034"/>
              <a:gd name="connsiteX92" fmla="*/ 1277 w 6096000"/>
              <a:gd name="connsiteY92" fmla="*/ 2686371 h 6528034"/>
              <a:gd name="connsiteX93" fmla="*/ 2 w 6096000"/>
              <a:gd name="connsiteY93" fmla="*/ 2674072 h 6528034"/>
              <a:gd name="connsiteX94" fmla="*/ 70 w 6096000"/>
              <a:gd name="connsiteY94" fmla="*/ 2357496 h 6528034"/>
              <a:gd name="connsiteX95" fmla="*/ 75 w 6096000"/>
              <a:gd name="connsiteY95" fmla="*/ 2333023 h 6528034"/>
              <a:gd name="connsiteX96" fmla="*/ 0 w 6096000"/>
              <a:gd name="connsiteY96" fmla="*/ 2332286 h 6528034"/>
              <a:gd name="connsiteX97" fmla="*/ 102 w 6096000"/>
              <a:gd name="connsiteY97" fmla="*/ 1859734 h 6528034"/>
              <a:gd name="connsiteX98" fmla="*/ 790 w 6096000"/>
              <a:gd name="connsiteY98" fmla="*/ 1859730 h 6528034"/>
              <a:gd name="connsiteX99" fmla="*/ 1277 w 6096000"/>
              <a:gd name="connsiteY99" fmla="*/ 1859730 h 6528034"/>
              <a:gd name="connsiteX100" fmla="*/ 1277 w 6096000"/>
              <a:gd name="connsiteY100" fmla="*/ 734186 h 6528034"/>
              <a:gd name="connsiteX101" fmla="*/ 1278 w 6096000"/>
              <a:gd name="connsiteY101" fmla="*/ 734186 h 6528034"/>
              <a:gd name="connsiteX102" fmla="*/ 1278 w 6096000"/>
              <a:gd name="connsiteY102" fmla="*/ 1 h 652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6096000" h="6528034">
                <a:moveTo>
                  <a:pt x="498361" y="0"/>
                </a:moveTo>
                <a:lnTo>
                  <a:pt x="2956322" y="0"/>
                </a:lnTo>
                <a:lnTo>
                  <a:pt x="2956322" y="1"/>
                </a:lnTo>
                <a:lnTo>
                  <a:pt x="3133467" y="1"/>
                </a:lnTo>
                <a:lnTo>
                  <a:pt x="5254219" y="1"/>
                </a:lnTo>
                <a:lnTo>
                  <a:pt x="5254219" y="2612"/>
                </a:lnTo>
                <a:lnTo>
                  <a:pt x="5334022" y="2594"/>
                </a:lnTo>
                <a:cubicBezTo>
                  <a:pt x="5421676" y="3113"/>
                  <a:pt x="5505980" y="38567"/>
                  <a:pt x="5567834" y="100419"/>
                </a:cubicBezTo>
                <a:cubicBezTo>
                  <a:pt x="5567834" y="100419"/>
                  <a:pt x="5567834" y="100419"/>
                  <a:pt x="5998174" y="530758"/>
                </a:cubicBezTo>
                <a:cubicBezTo>
                  <a:pt x="6045058" y="577643"/>
                  <a:pt x="6076350" y="636415"/>
                  <a:pt x="6089287" y="699850"/>
                </a:cubicBezTo>
                <a:lnTo>
                  <a:pt x="6092847" y="734186"/>
                </a:lnTo>
                <a:lnTo>
                  <a:pt x="6094720" y="734187"/>
                </a:lnTo>
                <a:lnTo>
                  <a:pt x="6094720" y="752239"/>
                </a:lnTo>
                <a:lnTo>
                  <a:pt x="6096000" y="764572"/>
                </a:lnTo>
                <a:cubicBezTo>
                  <a:pt x="6096000" y="764572"/>
                  <a:pt x="6096000" y="764572"/>
                  <a:pt x="6095930" y="1081147"/>
                </a:cubicBezTo>
                <a:lnTo>
                  <a:pt x="6095926" y="1105640"/>
                </a:lnTo>
                <a:lnTo>
                  <a:pt x="6096000" y="1106355"/>
                </a:lnTo>
                <a:cubicBezTo>
                  <a:pt x="6096000" y="1106355"/>
                  <a:pt x="6096000" y="1106355"/>
                  <a:pt x="6095896" y="1578910"/>
                </a:cubicBezTo>
                <a:cubicBezTo>
                  <a:pt x="6095896" y="1578910"/>
                  <a:pt x="6095896" y="1578910"/>
                  <a:pt x="6095210" y="1578912"/>
                </a:cubicBezTo>
                <a:lnTo>
                  <a:pt x="6094720" y="1578914"/>
                </a:lnTo>
                <a:lnTo>
                  <a:pt x="6094720" y="1676436"/>
                </a:lnTo>
                <a:lnTo>
                  <a:pt x="6094720" y="1939724"/>
                </a:lnTo>
                <a:lnTo>
                  <a:pt x="6094720" y="1957771"/>
                </a:lnTo>
                <a:lnTo>
                  <a:pt x="6096000" y="1970105"/>
                </a:lnTo>
                <a:cubicBezTo>
                  <a:pt x="6096000" y="1970105"/>
                  <a:pt x="6096000" y="1970105"/>
                  <a:pt x="6095930" y="2286686"/>
                </a:cubicBezTo>
                <a:lnTo>
                  <a:pt x="6095926" y="2311171"/>
                </a:lnTo>
                <a:lnTo>
                  <a:pt x="6095999" y="2311888"/>
                </a:lnTo>
                <a:cubicBezTo>
                  <a:pt x="6095999" y="2311888"/>
                  <a:pt x="6095999" y="2311888"/>
                  <a:pt x="6095896" y="2784449"/>
                </a:cubicBezTo>
                <a:cubicBezTo>
                  <a:pt x="6095896" y="2784449"/>
                  <a:pt x="6095896" y="2784449"/>
                  <a:pt x="6095210" y="2784450"/>
                </a:cubicBezTo>
                <a:lnTo>
                  <a:pt x="6094720" y="2784451"/>
                </a:lnTo>
                <a:lnTo>
                  <a:pt x="6094720" y="2881981"/>
                </a:lnTo>
                <a:lnTo>
                  <a:pt x="6094720" y="3094524"/>
                </a:lnTo>
                <a:lnTo>
                  <a:pt x="6094720" y="3223754"/>
                </a:lnTo>
                <a:lnTo>
                  <a:pt x="6094720" y="3316620"/>
                </a:lnTo>
                <a:lnTo>
                  <a:pt x="6094720" y="3436291"/>
                </a:lnTo>
                <a:lnTo>
                  <a:pt x="6094720" y="3524159"/>
                </a:lnTo>
                <a:lnTo>
                  <a:pt x="6094720" y="3612822"/>
                </a:lnTo>
                <a:lnTo>
                  <a:pt x="6096000" y="3625155"/>
                </a:lnTo>
                <a:cubicBezTo>
                  <a:pt x="6096000" y="3625155"/>
                  <a:pt x="6096000" y="3625155"/>
                  <a:pt x="6095930" y="3941730"/>
                </a:cubicBezTo>
                <a:lnTo>
                  <a:pt x="6095926" y="3966224"/>
                </a:lnTo>
                <a:lnTo>
                  <a:pt x="6096000" y="3966938"/>
                </a:lnTo>
                <a:cubicBezTo>
                  <a:pt x="6096000" y="3966938"/>
                  <a:pt x="6096000" y="3966938"/>
                  <a:pt x="6095995" y="3991859"/>
                </a:cubicBezTo>
                <a:lnTo>
                  <a:pt x="6095993" y="4001046"/>
                </a:lnTo>
                <a:lnTo>
                  <a:pt x="6095999" y="4001118"/>
                </a:lnTo>
                <a:cubicBezTo>
                  <a:pt x="6095999" y="4001118"/>
                  <a:pt x="6095999" y="4001118"/>
                  <a:pt x="6095930" y="4317694"/>
                </a:cubicBezTo>
                <a:lnTo>
                  <a:pt x="6095926" y="4342186"/>
                </a:lnTo>
                <a:lnTo>
                  <a:pt x="6096000" y="4342902"/>
                </a:lnTo>
                <a:cubicBezTo>
                  <a:pt x="6096000" y="4342902"/>
                  <a:pt x="6096000" y="4342902"/>
                  <a:pt x="6095896" y="4815458"/>
                </a:cubicBezTo>
                <a:cubicBezTo>
                  <a:pt x="6095896" y="4815458"/>
                  <a:pt x="6095896" y="4815458"/>
                  <a:pt x="6095209" y="4815459"/>
                </a:cubicBezTo>
                <a:lnTo>
                  <a:pt x="6094720" y="4815459"/>
                </a:lnTo>
                <a:lnTo>
                  <a:pt x="6094720" y="4901060"/>
                </a:lnTo>
                <a:lnTo>
                  <a:pt x="6094720" y="5109958"/>
                </a:lnTo>
                <a:lnTo>
                  <a:pt x="6094720" y="5202832"/>
                </a:lnTo>
                <a:lnTo>
                  <a:pt x="6094720" y="5242844"/>
                </a:lnTo>
                <a:lnTo>
                  <a:pt x="6094720" y="5544616"/>
                </a:lnTo>
                <a:lnTo>
                  <a:pt x="6094720" y="5884479"/>
                </a:lnTo>
                <a:lnTo>
                  <a:pt x="6094720" y="6186250"/>
                </a:lnTo>
                <a:lnTo>
                  <a:pt x="6094720" y="6226262"/>
                </a:lnTo>
                <a:lnTo>
                  <a:pt x="6094720" y="6528034"/>
                </a:lnTo>
                <a:lnTo>
                  <a:pt x="5774783" y="6528034"/>
                </a:lnTo>
                <a:lnTo>
                  <a:pt x="5597638" y="6528034"/>
                </a:lnTo>
                <a:lnTo>
                  <a:pt x="3636760" y="6528034"/>
                </a:lnTo>
                <a:lnTo>
                  <a:pt x="3459615" y="6528034"/>
                </a:lnTo>
                <a:lnTo>
                  <a:pt x="3139677" y="6528034"/>
                </a:lnTo>
                <a:lnTo>
                  <a:pt x="3139677" y="6528032"/>
                </a:lnTo>
                <a:lnTo>
                  <a:pt x="2962532" y="6528032"/>
                </a:lnTo>
                <a:lnTo>
                  <a:pt x="841782" y="6528032"/>
                </a:lnTo>
                <a:lnTo>
                  <a:pt x="841782" y="6527773"/>
                </a:lnTo>
                <a:lnTo>
                  <a:pt x="761978" y="6527791"/>
                </a:lnTo>
                <a:cubicBezTo>
                  <a:pt x="674323" y="6527273"/>
                  <a:pt x="590019" y="6491819"/>
                  <a:pt x="528166" y="6429965"/>
                </a:cubicBezTo>
                <a:cubicBezTo>
                  <a:pt x="528166" y="6429965"/>
                  <a:pt x="528166" y="6429965"/>
                  <a:pt x="97826" y="5999627"/>
                </a:cubicBezTo>
                <a:cubicBezTo>
                  <a:pt x="35315" y="5937116"/>
                  <a:pt x="519" y="5853470"/>
                  <a:pt x="2" y="5765813"/>
                </a:cubicBezTo>
                <a:cubicBezTo>
                  <a:pt x="2" y="5765813"/>
                  <a:pt x="2" y="5765813"/>
                  <a:pt x="57" y="5512346"/>
                </a:cubicBezTo>
                <a:lnTo>
                  <a:pt x="67" y="5464670"/>
                </a:lnTo>
                <a:lnTo>
                  <a:pt x="2" y="5464039"/>
                </a:lnTo>
                <a:cubicBezTo>
                  <a:pt x="2" y="5464039"/>
                  <a:pt x="2" y="5464039"/>
                  <a:pt x="7" y="5439119"/>
                </a:cubicBezTo>
                <a:lnTo>
                  <a:pt x="10" y="5424128"/>
                </a:lnTo>
                <a:lnTo>
                  <a:pt x="0" y="5424029"/>
                </a:lnTo>
                <a:cubicBezTo>
                  <a:pt x="0" y="5424029"/>
                  <a:pt x="0" y="5424029"/>
                  <a:pt x="55" y="5170563"/>
                </a:cubicBezTo>
                <a:lnTo>
                  <a:pt x="66" y="5122889"/>
                </a:lnTo>
                <a:lnTo>
                  <a:pt x="0" y="5122257"/>
                </a:lnTo>
                <a:cubicBezTo>
                  <a:pt x="0" y="5122257"/>
                  <a:pt x="0" y="5122257"/>
                  <a:pt x="103" y="4649702"/>
                </a:cubicBezTo>
                <a:cubicBezTo>
                  <a:pt x="103" y="4649702"/>
                  <a:pt x="103" y="4649702"/>
                  <a:pt x="790" y="4649701"/>
                </a:cubicBezTo>
                <a:lnTo>
                  <a:pt x="1276" y="4649700"/>
                </a:lnTo>
                <a:lnTo>
                  <a:pt x="1277" y="3891898"/>
                </a:lnTo>
                <a:lnTo>
                  <a:pt x="1" y="3879598"/>
                </a:lnTo>
                <a:cubicBezTo>
                  <a:pt x="1" y="3879598"/>
                  <a:pt x="1" y="3879598"/>
                  <a:pt x="70" y="3563023"/>
                </a:cubicBezTo>
                <a:lnTo>
                  <a:pt x="76" y="3538548"/>
                </a:lnTo>
                <a:lnTo>
                  <a:pt x="0" y="3537818"/>
                </a:lnTo>
                <a:cubicBezTo>
                  <a:pt x="0" y="3537818"/>
                  <a:pt x="0" y="3537818"/>
                  <a:pt x="103" y="3065277"/>
                </a:cubicBezTo>
                <a:cubicBezTo>
                  <a:pt x="103" y="3065277"/>
                  <a:pt x="103" y="3065277"/>
                  <a:pt x="791" y="3065276"/>
                </a:cubicBezTo>
                <a:lnTo>
                  <a:pt x="1277" y="3065275"/>
                </a:lnTo>
                <a:lnTo>
                  <a:pt x="1277" y="2686371"/>
                </a:lnTo>
                <a:lnTo>
                  <a:pt x="2" y="2674072"/>
                </a:lnTo>
                <a:cubicBezTo>
                  <a:pt x="2" y="2674072"/>
                  <a:pt x="2" y="2674072"/>
                  <a:pt x="70" y="2357496"/>
                </a:cubicBezTo>
                <a:lnTo>
                  <a:pt x="75" y="2333023"/>
                </a:lnTo>
                <a:lnTo>
                  <a:pt x="0" y="2332286"/>
                </a:lnTo>
                <a:cubicBezTo>
                  <a:pt x="0" y="2332286"/>
                  <a:pt x="0" y="2332286"/>
                  <a:pt x="102" y="1859734"/>
                </a:cubicBezTo>
                <a:cubicBezTo>
                  <a:pt x="102" y="1859734"/>
                  <a:pt x="102" y="1859734"/>
                  <a:pt x="790" y="1859730"/>
                </a:cubicBezTo>
                <a:lnTo>
                  <a:pt x="1277" y="1859730"/>
                </a:lnTo>
                <a:lnTo>
                  <a:pt x="1277" y="734186"/>
                </a:lnTo>
                <a:lnTo>
                  <a:pt x="1278" y="734186"/>
                </a:lnTo>
                <a:lnTo>
                  <a:pt x="1278" y="1"/>
                </a:lnTo>
                <a:close/>
              </a:path>
            </a:pathLst>
          </a:custGeom>
          <a:solidFill>
            <a:srgbClr val="FFD839"/>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Title 1">
            <a:extLst>
              <a:ext uri="{FF2B5EF4-FFF2-40B4-BE49-F238E27FC236}">
                <a16:creationId xmlns:a16="http://schemas.microsoft.com/office/drawing/2014/main" id="{99929713-92BF-C5AE-255B-E700DC18B264}"/>
              </a:ext>
            </a:extLst>
          </p:cNvPr>
          <p:cNvSpPr>
            <a:spLocks noGrp="1"/>
          </p:cNvSpPr>
          <p:nvPr>
            <p:ph type="title"/>
          </p:nvPr>
        </p:nvSpPr>
        <p:spPr>
          <a:xfrm>
            <a:off x="493714" y="579438"/>
            <a:ext cx="5113896" cy="792162"/>
          </a:xfrm>
        </p:spPr>
        <p:txBody>
          <a:bodyPr anchor="t">
            <a:noAutofit/>
          </a:bodyPr>
          <a:lstStyle>
            <a:lvl1pPr>
              <a:lnSpc>
                <a:spcPct val="85000"/>
              </a:lnSpc>
              <a:defRPr>
                <a:solidFill>
                  <a:schemeClr val="accent1"/>
                </a:solidFill>
              </a:defRPr>
            </a:lvl1pPr>
          </a:lstStyle>
          <a:p>
            <a:r>
              <a:rPr lang="en-US"/>
              <a:t>Click to edit Master title style</a:t>
            </a:r>
          </a:p>
        </p:txBody>
      </p:sp>
      <p:sp>
        <p:nvSpPr>
          <p:cNvPr id="5" name="Text Placeholder 12">
            <a:extLst>
              <a:ext uri="{FF2B5EF4-FFF2-40B4-BE49-F238E27FC236}">
                <a16:creationId xmlns:a16="http://schemas.microsoft.com/office/drawing/2014/main" id="{920AE283-D579-E34E-7789-64765852C9CF}"/>
              </a:ext>
            </a:extLst>
          </p:cNvPr>
          <p:cNvSpPr>
            <a:spLocks noGrp="1"/>
          </p:cNvSpPr>
          <p:nvPr>
            <p:ph type="body" sz="quarter" idx="14"/>
          </p:nvPr>
        </p:nvSpPr>
        <p:spPr>
          <a:xfrm>
            <a:off x="6572250" y="1382889"/>
            <a:ext cx="5126366" cy="336374"/>
          </a:xfrm>
        </p:spPr>
        <p:txBody>
          <a:bodyPr anchor="t">
            <a:noAutofit/>
          </a:bodyPr>
          <a:lstStyle>
            <a:lvl1pPr marL="0" indent="0">
              <a:buNone/>
              <a:defRPr sz="2100">
                <a:solidFill>
                  <a:schemeClr val="tx1"/>
                </a:solidFill>
                <a:latin typeface="+mj-lt"/>
              </a:defRPr>
            </a:lvl1pPr>
          </a:lstStyle>
          <a:p>
            <a:pPr lvl="0"/>
            <a:r>
              <a:rPr lang="en-US"/>
              <a:t>Click to edit Master text styles</a:t>
            </a:r>
          </a:p>
        </p:txBody>
      </p:sp>
      <p:sp>
        <p:nvSpPr>
          <p:cNvPr id="9" name="Subtitle 2">
            <a:extLst>
              <a:ext uri="{FF2B5EF4-FFF2-40B4-BE49-F238E27FC236}">
                <a16:creationId xmlns:a16="http://schemas.microsoft.com/office/drawing/2014/main" id="{913D57F8-6390-CDE9-60EB-FC8B8483AA89}"/>
              </a:ext>
            </a:extLst>
          </p:cNvPr>
          <p:cNvSpPr>
            <a:spLocks noGrp="1"/>
          </p:cNvSpPr>
          <p:nvPr>
            <p:ph type="subTitle" idx="1"/>
          </p:nvPr>
        </p:nvSpPr>
        <p:spPr>
          <a:xfrm>
            <a:off x="493714" y="1371600"/>
            <a:ext cx="5113896" cy="347663"/>
          </a:xfrm>
        </p:spPr>
        <p:txBody>
          <a:bodyPr anchor="t">
            <a:noAutofit/>
          </a:bodyPr>
          <a:lstStyle>
            <a:lvl1pPr marL="0" indent="0" algn="l">
              <a:buNone/>
              <a:defRPr sz="2100">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ext Placeholder 11">
            <a:extLst>
              <a:ext uri="{FF2B5EF4-FFF2-40B4-BE49-F238E27FC236}">
                <a16:creationId xmlns:a16="http://schemas.microsoft.com/office/drawing/2014/main" id="{FF517ECE-082F-3056-AFD9-60411B053E86}"/>
              </a:ext>
            </a:extLst>
          </p:cNvPr>
          <p:cNvSpPr>
            <a:spLocks noGrp="1"/>
          </p:cNvSpPr>
          <p:nvPr>
            <p:ph type="body" sz="quarter" idx="16"/>
          </p:nvPr>
        </p:nvSpPr>
        <p:spPr>
          <a:xfrm>
            <a:off x="6572250" y="579439"/>
            <a:ext cx="5126365" cy="792162"/>
          </a:xfrm>
        </p:spPr>
        <p:txBody>
          <a:bodyPr anchor="t">
            <a:noAutofit/>
          </a:bodyPr>
          <a:lstStyle>
            <a:lvl1pPr marL="0" indent="0">
              <a:lnSpc>
                <a:spcPct val="85000"/>
              </a:lnSpc>
              <a:buNone/>
              <a:defRPr sz="3400">
                <a:solidFill>
                  <a:schemeClr val="tx1"/>
                </a:solidFill>
                <a:latin typeface="+mn-lt"/>
              </a:defRPr>
            </a:lvl1pPr>
          </a:lstStyle>
          <a:p>
            <a:pPr lvl="0"/>
            <a:r>
              <a:rPr lang="en-US"/>
              <a:t>Click to edit Master text styles</a:t>
            </a:r>
          </a:p>
        </p:txBody>
      </p:sp>
      <p:sp>
        <p:nvSpPr>
          <p:cNvPr id="3" name="Footer Placeholder 66">
            <a:extLst>
              <a:ext uri="{FF2B5EF4-FFF2-40B4-BE49-F238E27FC236}">
                <a16:creationId xmlns:a16="http://schemas.microsoft.com/office/drawing/2014/main" id="{7072184A-0627-5E87-1FC2-7D37EE5AD4B2}"/>
              </a:ext>
            </a:extLst>
          </p:cNvPr>
          <p:cNvSpPr>
            <a:spLocks noGrp="1"/>
          </p:cNvSpPr>
          <p:nvPr>
            <p:ph type="ftr" sz="quarter" idx="3"/>
          </p:nvPr>
        </p:nvSpPr>
        <p:spPr>
          <a:xfrm>
            <a:off x="493290" y="6405456"/>
            <a:ext cx="5124874" cy="107722"/>
          </a:xfrm>
          <a:prstGeom prst="rect">
            <a:avLst/>
          </a:prstGeom>
        </p:spPr>
        <p:txBody>
          <a:bodyPr vert="horz" lIns="0" tIns="0" rIns="0" bIns="0" rtlCol="0" anchor="b"/>
          <a:lstStyle>
            <a:lvl1pPr algn="l">
              <a:defRPr sz="700">
                <a:solidFill>
                  <a:schemeClr val="accent1"/>
                </a:solidFill>
              </a:defRPr>
            </a:lvl1pPr>
          </a:lstStyle>
          <a:p>
            <a:endParaRPr lang="en-US"/>
          </a:p>
        </p:txBody>
      </p:sp>
      <p:sp>
        <p:nvSpPr>
          <p:cNvPr id="7" name="TextBox 6">
            <a:extLst>
              <a:ext uri="{FF2B5EF4-FFF2-40B4-BE49-F238E27FC236}">
                <a16:creationId xmlns:a16="http://schemas.microsoft.com/office/drawing/2014/main" id="{7DEB71E7-1179-EC2C-43ED-992A6AA2C284}"/>
              </a:ext>
            </a:extLst>
          </p:cNvPr>
          <p:cNvSpPr txBox="1"/>
          <p:nvPr userDrawn="1"/>
        </p:nvSpPr>
        <p:spPr>
          <a:xfrm>
            <a:off x="493288" y="6562481"/>
            <a:ext cx="5293842" cy="107722"/>
          </a:xfrm>
          <a:prstGeom prst="rect">
            <a:avLst/>
          </a:prstGeom>
          <a:noFill/>
        </p:spPr>
        <p:txBody>
          <a:bodyPr wrap="square" lIns="0" tIns="0" rIns="0" bIns="0">
            <a:spAutoFit/>
          </a:bodyPr>
          <a:lstStyle/>
          <a:p>
            <a:r>
              <a:rPr lang="en-US" sz="700">
                <a:solidFill>
                  <a:schemeClr val="accent1"/>
                </a:solidFill>
              </a:rPr>
              <a:t>© 2024 Veeam Software. Confidential information. All rights reserved. All trademarks are the property of their respective owners. </a:t>
            </a:r>
          </a:p>
        </p:txBody>
      </p:sp>
      <p:sp>
        <p:nvSpPr>
          <p:cNvPr id="8" name="Content Placeholder 18">
            <a:extLst>
              <a:ext uri="{FF2B5EF4-FFF2-40B4-BE49-F238E27FC236}">
                <a16:creationId xmlns:a16="http://schemas.microsoft.com/office/drawing/2014/main" id="{D8EA5D3A-7B2B-487A-59C0-D47866C30FD9}"/>
              </a:ext>
            </a:extLst>
          </p:cNvPr>
          <p:cNvSpPr>
            <a:spLocks noGrp="1"/>
          </p:cNvSpPr>
          <p:nvPr>
            <p:ph sz="quarter" idx="10"/>
          </p:nvPr>
        </p:nvSpPr>
        <p:spPr>
          <a:xfrm>
            <a:off x="493288" y="2397125"/>
            <a:ext cx="5124876" cy="3771900"/>
          </a:xfrm>
        </p:spPr>
        <p:txBody>
          <a:bodyPr/>
          <a:lstStyle>
            <a:lvl1pPr>
              <a:defRPr>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vl5pPr>
              <a:defRPr sz="1600">
                <a:solidFill>
                  <a:schemeClr val="accent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8">
            <a:extLst>
              <a:ext uri="{FF2B5EF4-FFF2-40B4-BE49-F238E27FC236}">
                <a16:creationId xmlns:a16="http://schemas.microsoft.com/office/drawing/2014/main" id="{CD918205-7518-ABBB-E53E-287EB7C712CD}"/>
              </a:ext>
            </a:extLst>
          </p:cNvPr>
          <p:cNvSpPr>
            <a:spLocks noGrp="1"/>
          </p:cNvSpPr>
          <p:nvPr>
            <p:ph sz="quarter" idx="11"/>
          </p:nvPr>
        </p:nvSpPr>
        <p:spPr>
          <a:xfrm>
            <a:off x="6574140" y="2394727"/>
            <a:ext cx="5124475" cy="3771900"/>
          </a:xfrm>
        </p:spPr>
        <p:txBody>
          <a:bodyPr/>
          <a:lstStyle>
            <a:lvl1pPr>
              <a:defRPr>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a:solidFill>
                  <a:schemeClr val="tx1"/>
                </a:solidFill>
              </a:defRPr>
            </a:lvl6pPr>
            <a:lvl7pPr>
              <a:defRPr>
                <a:solidFill>
                  <a:schemeClr val="tx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866669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mparison Black Right">
    <p:spTree>
      <p:nvGrpSpPr>
        <p:cNvPr id="1" name=""/>
        <p:cNvGrpSpPr/>
        <p:nvPr/>
      </p:nvGrpSpPr>
      <p:grpSpPr>
        <a:xfrm>
          <a:off x="0" y="0"/>
          <a:ext cx="0" cy="0"/>
          <a:chOff x="0" y="0"/>
          <a:chExt cx="0" cy="0"/>
        </a:xfrm>
      </p:grpSpPr>
      <p:sp>
        <p:nvSpPr>
          <p:cNvPr id="311" name="Freeform: Shape 310">
            <a:extLst>
              <a:ext uri="{FF2B5EF4-FFF2-40B4-BE49-F238E27FC236}">
                <a16:creationId xmlns:a16="http://schemas.microsoft.com/office/drawing/2014/main" id="{FA3D5559-630B-68EB-88DB-BCC345505905}"/>
              </a:ext>
            </a:extLst>
          </p:cNvPr>
          <p:cNvSpPr/>
          <p:nvPr/>
        </p:nvSpPr>
        <p:spPr>
          <a:xfrm>
            <a:off x="6096000" y="329967"/>
            <a:ext cx="6096000" cy="6528034"/>
          </a:xfrm>
          <a:custGeom>
            <a:avLst/>
            <a:gdLst>
              <a:gd name="connsiteX0" fmla="*/ 498361 w 6096000"/>
              <a:gd name="connsiteY0" fmla="*/ 0 h 6528034"/>
              <a:gd name="connsiteX1" fmla="*/ 2956322 w 6096000"/>
              <a:gd name="connsiteY1" fmla="*/ 0 h 6528034"/>
              <a:gd name="connsiteX2" fmla="*/ 2956322 w 6096000"/>
              <a:gd name="connsiteY2" fmla="*/ 1 h 6528034"/>
              <a:gd name="connsiteX3" fmla="*/ 3133467 w 6096000"/>
              <a:gd name="connsiteY3" fmla="*/ 1 h 6528034"/>
              <a:gd name="connsiteX4" fmla="*/ 5254219 w 6096000"/>
              <a:gd name="connsiteY4" fmla="*/ 1 h 6528034"/>
              <a:gd name="connsiteX5" fmla="*/ 5254219 w 6096000"/>
              <a:gd name="connsiteY5" fmla="*/ 2612 h 6528034"/>
              <a:gd name="connsiteX6" fmla="*/ 5334022 w 6096000"/>
              <a:gd name="connsiteY6" fmla="*/ 2594 h 6528034"/>
              <a:gd name="connsiteX7" fmla="*/ 5567834 w 6096000"/>
              <a:gd name="connsiteY7" fmla="*/ 100419 h 6528034"/>
              <a:gd name="connsiteX8" fmla="*/ 5998174 w 6096000"/>
              <a:gd name="connsiteY8" fmla="*/ 530758 h 6528034"/>
              <a:gd name="connsiteX9" fmla="*/ 6089287 w 6096000"/>
              <a:gd name="connsiteY9" fmla="*/ 699850 h 6528034"/>
              <a:gd name="connsiteX10" fmla="*/ 6092847 w 6096000"/>
              <a:gd name="connsiteY10" fmla="*/ 734186 h 6528034"/>
              <a:gd name="connsiteX11" fmla="*/ 6094720 w 6096000"/>
              <a:gd name="connsiteY11" fmla="*/ 734187 h 6528034"/>
              <a:gd name="connsiteX12" fmla="*/ 6094720 w 6096000"/>
              <a:gd name="connsiteY12" fmla="*/ 752239 h 6528034"/>
              <a:gd name="connsiteX13" fmla="*/ 6096000 w 6096000"/>
              <a:gd name="connsiteY13" fmla="*/ 764572 h 6528034"/>
              <a:gd name="connsiteX14" fmla="*/ 6095930 w 6096000"/>
              <a:gd name="connsiteY14" fmla="*/ 1081147 h 6528034"/>
              <a:gd name="connsiteX15" fmla="*/ 6095926 w 6096000"/>
              <a:gd name="connsiteY15" fmla="*/ 1105640 h 6528034"/>
              <a:gd name="connsiteX16" fmla="*/ 6096000 w 6096000"/>
              <a:gd name="connsiteY16" fmla="*/ 1106355 h 6528034"/>
              <a:gd name="connsiteX17" fmla="*/ 6095896 w 6096000"/>
              <a:gd name="connsiteY17" fmla="*/ 1578910 h 6528034"/>
              <a:gd name="connsiteX18" fmla="*/ 6095210 w 6096000"/>
              <a:gd name="connsiteY18" fmla="*/ 1578912 h 6528034"/>
              <a:gd name="connsiteX19" fmla="*/ 6094720 w 6096000"/>
              <a:gd name="connsiteY19" fmla="*/ 1578914 h 6528034"/>
              <a:gd name="connsiteX20" fmla="*/ 6094720 w 6096000"/>
              <a:gd name="connsiteY20" fmla="*/ 1676436 h 6528034"/>
              <a:gd name="connsiteX21" fmla="*/ 6094720 w 6096000"/>
              <a:gd name="connsiteY21" fmla="*/ 1939724 h 6528034"/>
              <a:gd name="connsiteX22" fmla="*/ 6094720 w 6096000"/>
              <a:gd name="connsiteY22" fmla="*/ 1957771 h 6528034"/>
              <a:gd name="connsiteX23" fmla="*/ 6096000 w 6096000"/>
              <a:gd name="connsiteY23" fmla="*/ 1970105 h 6528034"/>
              <a:gd name="connsiteX24" fmla="*/ 6095930 w 6096000"/>
              <a:gd name="connsiteY24" fmla="*/ 2286686 h 6528034"/>
              <a:gd name="connsiteX25" fmla="*/ 6095926 w 6096000"/>
              <a:gd name="connsiteY25" fmla="*/ 2311171 h 6528034"/>
              <a:gd name="connsiteX26" fmla="*/ 6095999 w 6096000"/>
              <a:gd name="connsiteY26" fmla="*/ 2311888 h 6528034"/>
              <a:gd name="connsiteX27" fmla="*/ 6095896 w 6096000"/>
              <a:gd name="connsiteY27" fmla="*/ 2784449 h 6528034"/>
              <a:gd name="connsiteX28" fmla="*/ 6095210 w 6096000"/>
              <a:gd name="connsiteY28" fmla="*/ 2784450 h 6528034"/>
              <a:gd name="connsiteX29" fmla="*/ 6094720 w 6096000"/>
              <a:gd name="connsiteY29" fmla="*/ 2784451 h 6528034"/>
              <a:gd name="connsiteX30" fmla="*/ 6094720 w 6096000"/>
              <a:gd name="connsiteY30" fmla="*/ 2881981 h 6528034"/>
              <a:gd name="connsiteX31" fmla="*/ 6094720 w 6096000"/>
              <a:gd name="connsiteY31" fmla="*/ 3094524 h 6528034"/>
              <a:gd name="connsiteX32" fmla="*/ 6094720 w 6096000"/>
              <a:gd name="connsiteY32" fmla="*/ 3223754 h 6528034"/>
              <a:gd name="connsiteX33" fmla="*/ 6094720 w 6096000"/>
              <a:gd name="connsiteY33" fmla="*/ 3316620 h 6528034"/>
              <a:gd name="connsiteX34" fmla="*/ 6094720 w 6096000"/>
              <a:gd name="connsiteY34" fmla="*/ 3436291 h 6528034"/>
              <a:gd name="connsiteX35" fmla="*/ 6094720 w 6096000"/>
              <a:gd name="connsiteY35" fmla="*/ 3524159 h 6528034"/>
              <a:gd name="connsiteX36" fmla="*/ 6094720 w 6096000"/>
              <a:gd name="connsiteY36" fmla="*/ 3612822 h 6528034"/>
              <a:gd name="connsiteX37" fmla="*/ 6096000 w 6096000"/>
              <a:gd name="connsiteY37" fmla="*/ 3625155 h 6528034"/>
              <a:gd name="connsiteX38" fmla="*/ 6095930 w 6096000"/>
              <a:gd name="connsiteY38" fmla="*/ 3941730 h 6528034"/>
              <a:gd name="connsiteX39" fmla="*/ 6095926 w 6096000"/>
              <a:gd name="connsiteY39" fmla="*/ 3966224 h 6528034"/>
              <a:gd name="connsiteX40" fmla="*/ 6096000 w 6096000"/>
              <a:gd name="connsiteY40" fmla="*/ 3966938 h 6528034"/>
              <a:gd name="connsiteX41" fmla="*/ 6095995 w 6096000"/>
              <a:gd name="connsiteY41" fmla="*/ 3991859 h 6528034"/>
              <a:gd name="connsiteX42" fmla="*/ 6095993 w 6096000"/>
              <a:gd name="connsiteY42" fmla="*/ 4001046 h 6528034"/>
              <a:gd name="connsiteX43" fmla="*/ 6095999 w 6096000"/>
              <a:gd name="connsiteY43" fmla="*/ 4001118 h 6528034"/>
              <a:gd name="connsiteX44" fmla="*/ 6095930 w 6096000"/>
              <a:gd name="connsiteY44" fmla="*/ 4317694 h 6528034"/>
              <a:gd name="connsiteX45" fmla="*/ 6095926 w 6096000"/>
              <a:gd name="connsiteY45" fmla="*/ 4342186 h 6528034"/>
              <a:gd name="connsiteX46" fmla="*/ 6096000 w 6096000"/>
              <a:gd name="connsiteY46" fmla="*/ 4342902 h 6528034"/>
              <a:gd name="connsiteX47" fmla="*/ 6095896 w 6096000"/>
              <a:gd name="connsiteY47" fmla="*/ 4815458 h 6528034"/>
              <a:gd name="connsiteX48" fmla="*/ 6095209 w 6096000"/>
              <a:gd name="connsiteY48" fmla="*/ 4815459 h 6528034"/>
              <a:gd name="connsiteX49" fmla="*/ 6094720 w 6096000"/>
              <a:gd name="connsiteY49" fmla="*/ 4815459 h 6528034"/>
              <a:gd name="connsiteX50" fmla="*/ 6094720 w 6096000"/>
              <a:gd name="connsiteY50" fmla="*/ 4901060 h 6528034"/>
              <a:gd name="connsiteX51" fmla="*/ 6094720 w 6096000"/>
              <a:gd name="connsiteY51" fmla="*/ 5109958 h 6528034"/>
              <a:gd name="connsiteX52" fmla="*/ 6094720 w 6096000"/>
              <a:gd name="connsiteY52" fmla="*/ 5202832 h 6528034"/>
              <a:gd name="connsiteX53" fmla="*/ 6094720 w 6096000"/>
              <a:gd name="connsiteY53" fmla="*/ 5242844 h 6528034"/>
              <a:gd name="connsiteX54" fmla="*/ 6094720 w 6096000"/>
              <a:gd name="connsiteY54" fmla="*/ 5544616 h 6528034"/>
              <a:gd name="connsiteX55" fmla="*/ 6094720 w 6096000"/>
              <a:gd name="connsiteY55" fmla="*/ 5884479 h 6528034"/>
              <a:gd name="connsiteX56" fmla="*/ 6094720 w 6096000"/>
              <a:gd name="connsiteY56" fmla="*/ 6186250 h 6528034"/>
              <a:gd name="connsiteX57" fmla="*/ 6094720 w 6096000"/>
              <a:gd name="connsiteY57" fmla="*/ 6226262 h 6528034"/>
              <a:gd name="connsiteX58" fmla="*/ 6094720 w 6096000"/>
              <a:gd name="connsiteY58" fmla="*/ 6528034 h 6528034"/>
              <a:gd name="connsiteX59" fmla="*/ 5774783 w 6096000"/>
              <a:gd name="connsiteY59" fmla="*/ 6528034 h 6528034"/>
              <a:gd name="connsiteX60" fmla="*/ 5597638 w 6096000"/>
              <a:gd name="connsiteY60" fmla="*/ 6528034 h 6528034"/>
              <a:gd name="connsiteX61" fmla="*/ 3636760 w 6096000"/>
              <a:gd name="connsiteY61" fmla="*/ 6528034 h 6528034"/>
              <a:gd name="connsiteX62" fmla="*/ 3459615 w 6096000"/>
              <a:gd name="connsiteY62" fmla="*/ 6528034 h 6528034"/>
              <a:gd name="connsiteX63" fmla="*/ 3139677 w 6096000"/>
              <a:gd name="connsiteY63" fmla="*/ 6528034 h 6528034"/>
              <a:gd name="connsiteX64" fmla="*/ 3139677 w 6096000"/>
              <a:gd name="connsiteY64" fmla="*/ 6528032 h 6528034"/>
              <a:gd name="connsiteX65" fmla="*/ 2962532 w 6096000"/>
              <a:gd name="connsiteY65" fmla="*/ 6528032 h 6528034"/>
              <a:gd name="connsiteX66" fmla="*/ 841782 w 6096000"/>
              <a:gd name="connsiteY66" fmla="*/ 6528032 h 6528034"/>
              <a:gd name="connsiteX67" fmla="*/ 841782 w 6096000"/>
              <a:gd name="connsiteY67" fmla="*/ 6527773 h 6528034"/>
              <a:gd name="connsiteX68" fmla="*/ 761978 w 6096000"/>
              <a:gd name="connsiteY68" fmla="*/ 6527791 h 6528034"/>
              <a:gd name="connsiteX69" fmla="*/ 528166 w 6096000"/>
              <a:gd name="connsiteY69" fmla="*/ 6429965 h 6528034"/>
              <a:gd name="connsiteX70" fmla="*/ 97826 w 6096000"/>
              <a:gd name="connsiteY70" fmla="*/ 5999627 h 6528034"/>
              <a:gd name="connsiteX71" fmla="*/ 2 w 6096000"/>
              <a:gd name="connsiteY71" fmla="*/ 5765813 h 6528034"/>
              <a:gd name="connsiteX72" fmla="*/ 57 w 6096000"/>
              <a:gd name="connsiteY72" fmla="*/ 5512346 h 6528034"/>
              <a:gd name="connsiteX73" fmla="*/ 67 w 6096000"/>
              <a:gd name="connsiteY73" fmla="*/ 5464670 h 6528034"/>
              <a:gd name="connsiteX74" fmla="*/ 2 w 6096000"/>
              <a:gd name="connsiteY74" fmla="*/ 5464039 h 6528034"/>
              <a:gd name="connsiteX75" fmla="*/ 7 w 6096000"/>
              <a:gd name="connsiteY75" fmla="*/ 5439119 h 6528034"/>
              <a:gd name="connsiteX76" fmla="*/ 10 w 6096000"/>
              <a:gd name="connsiteY76" fmla="*/ 5424128 h 6528034"/>
              <a:gd name="connsiteX77" fmla="*/ 0 w 6096000"/>
              <a:gd name="connsiteY77" fmla="*/ 5424029 h 6528034"/>
              <a:gd name="connsiteX78" fmla="*/ 55 w 6096000"/>
              <a:gd name="connsiteY78" fmla="*/ 5170563 h 6528034"/>
              <a:gd name="connsiteX79" fmla="*/ 66 w 6096000"/>
              <a:gd name="connsiteY79" fmla="*/ 5122889 h 6528034"/>
              <a:gd name="connsiteX80" fmla="*/ 0 w 6096000"/>
              <a:gd name="connsiteY80" fmla="*/ 5122257 h 6528034"/>
              <a:gd name="connsiteX81" fmla="*/ 103 w 6096000"/>
              <a:gd name="connsiteY81" fmla="*/ 4649702 h 6528034"/>
              <a:gd name="connsiteX82" fmla="*/ 790 w 6096000"/>
              <a:gd name="connsiteY82" fmla="*/ 4649701 h 6528034"/>
              <a:gd name="connsiteX83" fmla="*/ 1276 w 6096000"/>
              <a:gd name="connsiteY83" fmla="*/ 4649700 h 6528034"/>
              <a:gd name="connsiteX84" fmla="*/ 1277 w 6096000"/>
              <a:gd name="connsiteY84" fmla="*/ 3891898 h 6528034"/>
              <a:gd name="connsiteX85" fmla="*/ 1 w 6096000"/>
              <a:gd name="connsiteY85" fmla="*/ 3879598 h 6528034"/>
              <a:gd name="connsiteX86" fmla="*/ 70 w 6096000"/>
              <a:gd name="connsiteY86" fmla="*/ 3563023 h 6528034"/>
              <a:gd name="connsiteX87" fmla="*/ 76 w 6096000"/>
              <a:gd name="connsiteY87" fmla="*/ 3538548 h 6528034"/>
              <a:gd name="connsiteX88" fmla="*/ 0 w 6096000"/>
              <a:gd name="connsiteY88" fmla="*/ 3537818 h 6528034"/>
              <a:gd name="connsiteX89" fmla="*/ 103 w 6096000"/>
              <a:gd name="connsiteY89" fmla="*/ 3065277 h 6528034"/>
              <a:gd name="connsiteX90" fmla="*/ 791 w 6096000"/>
              <a:gd name="connsiteY90" fmla="*/ 3065276 h 6528034"/>
              <a:gd name="connsiteX91" fmla="*/ 1277 w 6096000"/>
              <a:gd name="connsiteY91" fmla="*/ 3065275 h 6528034"/>
              <a:gd name="connsiteX92" fmla="*/ 1277 w 6096000"/>
              <a:gd name="connsiteY92" fmla="*/ 2686371 h 6528034"/>
              <a:gd name="connsiteX93" fmla="*/ 2 w 6096000"/>
              <a:gd name="connsiteY93" fmla="*/ 2674072 h 6528034"/>
              <a:gd name="connsiteX94" fmla="*/ 70 w 6096000"/>
              <a:gd name="connsiteY94" fmla="*/ 2357496 h 6528034"/>
              <a:gd name="connsiteX95" fmla="*/ 75 w 6096000"/>
              <a:gd name="connsiteY95" fmla="*/ 2333023 h 6528034"/>
              <a:gd name="connsiteX96" fmla="*/ 0 w 6096000"/>
              <a:gd name="connsiteY96" fmla="*/ 2332286 h 6528034"/>
              <a:gd name="connsiteX97" fmla="*/ 102 w 6096000"/>
              <a:gd name="connsiteY97" fmla="*/ 1859734 h 6528034"/>
              <a:gd name="connsiteX98" fmla="*/ 790 w 6096000"/>
              <a:gd name="connsiteY98" fmla="*/ 1859730 h 6528034"/>
              <a:gd name="connsiteX99" fmla="*/ 1277 w 6096000"/>
              <a:gd name="connsiteY99" fmla="*/ 1859730 h 6528034"/>
              <a:gd name="connsiteX100" fmla="*/ 1277 w 6096000"/>
              <a:gd name="connsiteY100" fmla="*/ 734186 h 6528034"/>
              <a:gd name="connsiteX101" fmla="*/ 1278 w 6096000"/>
              <a:gd name="connsiteY101" fmla="*/ 734186 h 6528034"/>
              <a:gd name="connsiteX102" fmla="*/ 1278 w 6096000"/>
              <a:gd name="connsiteY102" fmla="*/ 1 h 652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6096000" h="6528034">
                <a:moveTo>
                  <a:pt x="498361" y="0"/>
                </a:moveTo>
                <a:lnTo>
                  <a:pt x="2956322" y="0"/>
                </a:lnTo>
                <a:lnTo>
                  <a:pt x="2956322" y="1"/>
                </a:lnTo>
                <a:lnTo>
                  <a:pt x="3133467" y="1"/>
                </a:lnTo>
                <a:lnTo>
                  <a:pt x="5254219" y="1"/>
                </a:lnTo>
                <a:lnTo>
                  <a:pt x="5254219" y="2612"/>
                </a:lnTo>
                <a:lnTo>
                  <a:pt x="5334022" y="2594"/>
                </a:lnTo>
                <a:cubicBezTo>
                  <a:pt x="5421676" y="3113"/>
                  <a:pt x="5505980" y="38567"/>
                  <a:pt x="5567834" y="100419"/>
                </a:cubicBezTo>
                <a:cubicBezTo>
                  <a:pt x="5567834" y="100419"/>
                  <a:pt x="5567834" y="100419"/>
                  <a:pt x="5998174" y="530758"/>
                </a:cubicBezTo>
                <a:cubicBezTo>
                  <a:pt x="6045058" y="577643"/>
                  <a:pt x="6076350" y="636415"/>
                  <a:pt x="6089287" y="699850"/>
                </a:cubicBezTo>
                <a:lnTo>
                  <a:pt x="6092847" y="734186"/>
                </a:lnTo>
                <a:lnTo>
                  <a:pt x="6094720" y="734187"/>
                </a:lnTo>
                <a:lnTo>
                  <a:pt x="6094720" y="752239"/>
                </a:lnTo>
                <a:lnTo>
                  <a:pt x="6096000" y="764572"/>
                </a:lnTo>
                <a:cubicBezTo>
                  <a:pt x="6096000" y="764572"/>
                  <a:pt x="6096000" y="764572"/>
                  <a:pt x="6095930" y="1081147"/>
                </a:cubicBezTo>
                <a:lnTo>
                  <a:pt x="6095926" y="1105640"/>
                </a:lnTo>
                <a:lnTo>
                  <a:pt x="6096000" y="1106355"/>
                </a:lnTo>
                <a:cubicBezTo>
                  <a:pt x="6096000" y="1106355"/>
                  <a:pt x="6096000" y="1106355"/>
                  <a:pt x="6095896" y="1578910"/>
                </a:cubicBezTo>
                <a:cubicBezTo>
                  <a:pt x="6095896" y="1578910"/>
                  <a:pt x="6095896" y="1578910"/>
                  <a:pt x="6095210" y="1578912"/>
                </a:cubicBezTo>
                <a:lnTo>
                  <a:pt x="6094720" y="1578914"/>
                </a:lnTo>
                <a:lnTo>
                  <a:pt x="6094720" y="1676436"/>
                </a:lnTo>
                <a:lnTo>
                  <a:pt x="6094720" y="1939724"/>
                </a:lnTo>
                <a:lnTo>
                  <a:pt x="6094720" y="1957771"/>
                </a:lnTo>
                <a:lnTo>
                  <a:pt x="6096000" y="1970105"/>
                </a:lnTo>
                <a:cubicBezTo>
                  <a:pt x="6096000" y="1970105"/>
                  <a:pt x="6096000" y="1970105"/>
                  <a:pt x="6095930" y="2286686"/>
                </a:cubicBezTo>
                <a:lnTo>
                  <a:pt x="6095926" y="2311171"/>
                </a:lnTo>
                <a:lnTo>
                  <a:pt x="6095999" y="2311888"/>
                </a:lnTo>
                <a:cubicBezTo>
                  <a:pt x="6095999" y="2311888"/>
                  <a:pt x="6095999" y="2311888"/>
                  <a:pt x="6095896" y="2784449"/>
                </a:cubicBezTo>
                <a:cubicBezTo>
                  <a:pt x="6095896" y="2784449"/>
                  <a:pt x="6095896" y="2784449"/>
                  <a:pt x="6095210" y="2784450"/>
                </a:cubicBezTo>
                <a:lnTo>
                  <a:pt x="6094720" y="2784451"/>
                </a:lnTo>
                <a:lnTo>
                  <a:pt x="6094720" y="2881981"/>
                </a:lnTo>
                <a:lnTo>
                  <a:pt x="6094720" y="3094524"/>
                </a:lnTo>
                <a:lnTo>
                  <a:pt x="6094720" y="3223754"/>
                </a:lnTo>
                <a:lnTo>
                  <a:pt x="6094720" y="3316620"/>
                </a:lnTo>
                <a:lnTo>
                  <a:pt x="6094720" y="3436291"/>
                </a:lnTo>
                <a:lnTo>
                  <a:pt x="6094720" y="3524159"/>
                </a:lnTo>
                <a:lnTo>
                  <a:pt x="6094720" y="3612822"/>
                </a:lnTo>
                <a:lnTo>
                  <a:pt x="6096000" y="3625155"/>
                </a:lnTo>
                <a:cubicBezTo>
                  <a:pt x="6096000" y="3625155"/>
                  <a:pt x="6096000" y="3625155"/>
                  <a:pt x="6095930" y="3941730"/>
                </a:cubicBezTo>
                <a:lnTo>
                  <a:pt x="6095926" y="3966224"/>
                </a:lnTo>
                <a:lnTo>
                  <a:pt x="6096000" y="3966938"/>
                </a:lnTo>
                <a:cubicBezTo>
                  <a:pt x="6096000" y="3966938"/>
                  <a:pt x="6096000" y="3966938"/>
                  <a:pt x="6095995" y="3991859"/>
                </a:cubicBezTo>
                <a:lnTo>
                  <a:pt x="6095993" y="4001046"/>
                </a:lnTo>
                <a:lnTo>
                  <a:pt x="6095999" y="4001118"/>
                </a:lnTo>
                <a:cubicBezTo>
                  <a:pt x="6095999" y="4001118"/>
                  <a:pt x="6095999" y="4001118"/>
                  <a:pt x="6095930" y="4317694"/>
                </a:cubicBezTo>
                <a:lnTo>
                  <a:pt x="6095926" y="4342186"/>
                </a:lnTo>
                <a:lnTo>
                  <a:pt x="6096000" y="4342902"/>
                </a:lnTo>
                <a:cubicBezTo>
                  <a:pt x="6096000" y="4342902"/>
                  <a:pt x="6096000" y="4342902"/>
                  <a:pt x="6095896" y="4815458"/>
                </a:cubicBezTo>
                <a:cubicBezTo>
                  <a:pt x="6095896" y="4815458"/>
                  <a:pt x="6095896" y="4815458"/>
                  <a:pt x="6095209" y="4815459"/>
                </a:cubicBezTo>
                <a:lnTo>
                  <a:pt x="6094720" y="4815459"/>
                </a:lnTo>
                <a:lnTo>
                  <a:pt x="6094720" y="4901060"/>
                </a:lnTo>
                <a:lnTo>
                  <a:pt x="6094720" y="5109958"/>
                </a:lnTo>
                <a:lnTo>
                  <a:pt x="6094720" y="5202832"/>
                </a:lnTo>
                <a:lnTo>
                  <a:pt x="6094720" y="5242844"/>
                </a:lnTo>
                <a:lnTo>
                  <a:pt x="6094720" y="5544616"/>
                </a:lnTo>
                <a:lnTo>
                  <a:pt x="6094720" y="5884479"/>
                </a:lnTo>
                <a:lnTo>
                  <a:pt x="6094720" y="6186250"/>
                </a:lnTo>
                <a:lnTo>
                  <a:pt x="6094720" y="6226262"/>
                </a:lnTo>
                <a:lnTo>
                  <a:pt x="6094720" y="6528034"/>
                </a:lnTo>
                <a:lnTo>
                  <a:pt x="5774783" y="6528034"/>
                </a:lnTo>
                <a:lnTo>
                  <a:pt x="5597638" y="6528034"/>
                </a:lnTo>
                <a:lnTo>
                  <a:pt x="3636760" y="6528034"/>
                </a:lnTo>
                <a:lnTo>
                  <a:pt x="3459615" y="6528034"/>
                </a:lnTo>
                <a:lnTo>
                  <a:pt x="3139677" y="6528034"/>
                </a:lnTo>
                <a:lnTo>
                  <a:pt x="3139677" y="6528032"/>
                </a:lnTo>
                <a:lnTo>
                  <a:pt x="2962532" y="6528032"/>
                </a:lnTo>
                <a:lnTo>
                  <a:pt x="841782" y="6528032"/>
                </a:lnTo>
                <a:lnTo>
                  <a:pt x="841782" y="6527773"/>
                </a:lnTo>
                <a:lnTo>
                  <a:pt x="761978" y="6527791"/>
                </a:lnTo>
                <a:cubicBezTo>
                  <a:pt x="674323" y="6527273"/>
                  <a:pt x="590019" y="6491819"/>
                  <a:pt x="528166" y="6429965"/>
                </a:cubicBezTo>
                <a:cubicBezTo>
                  <a:pt x="528166" y="6429965"/>
                  <a:pt x="528166" y="6429965"/>
                  <a:pt x="97826" y="5999627"/>
                </a:cubicBezTo>
                <a:cubicBezTo>
                  <a:pt x="35315" y="5937116"/>
                  <a:pt x="519" y="5853470"/>
                  <a:pt x="2" y="5765813"/>
                </a:cubicBezTo>
                <a:cubicBezTo>
                  <a:pt x="2" y="5765813"/>
                  <a:pt x="2" y="5765813"/>
                  <a:pt x="57" y="5512346"/>
                </a:cubicBezTo>
                <a:lnTo>
                  <a:pt x="67" y="5464670"/>
                </a:lnTo>
                <a:lnTo>
                  <a:pt x="2" y="5464039"/>
                </a:lnTo>
                <a:cubicBezTo>
                  <a:pt x="2" y="5464039"/>
                  <a:pt x="2" y="5464039"/>
                  <a:pt x="7" y="5439119"/>
                </a:cubicBezTo>
                <a:lnTo>
                  <a:pt x="10" y="5424128"/>
                </a:lnTo>
                <a:lnTo>
                  <a:pt x="0" y="5424029"/>
                </a:lnTo>
                <a:cubicBezTo>
                  <a:pt x="0" y="5424029"/>
                  <a:pt x="0" y="5424029"/>
                  <a:pt x="55" y="5170563"/>
                </a:cubicBezTo>
                <a:lnTo>
                  <a:pt x="66" y="5122889"/>
                </a:lnTo>
                <a:lnTo>
                  <a:pt x="0" y="5122257"/>
                </a:lnTo>
                <a:cubicBezTo>
                  <a:pt x="0" y="5122257"/>
                  <a:pt x="0" y="5122257"/>
                  <a:pt x="103" y="4649702"/>
                </a:cubicBezTo>
                <a:cubicBezTo>
                  <a:pt x="103" y="4649702"/>
                  <a:pt x="103" y="4649702"/>
                  <a:pt x="790" y="4649701"/>
                </a:cubicBezTo>
                <a:lnTo>
                  <a:pt x="1276" y="4649700"/>
                </a:lnTo>
                <a:lnTo>
                  <a:pt x="1277" y="3891898"/>
                </a:lnTo>
                <a:lnTo>
                  <a:pt x="1" y="3879598"/>
                </a:lnTo>
                <a:cubicBezTo>
                  <a:pt x="1" y="3879598"/>
                  <a:pt x="1" y="3879598"/>
                  <a:pt x="70" y="3563023"/>
                </a:cubicBezTo>
                <a:lnTo>
                  <a:pt x="76" y="3538548"/>
                </a:lnTo>
                <a:lnTo>
                  <a:pt x="0" y="3537818"/>
                </a:lnTo>
                <a:cubicBezTo>
                  <a:pt x="0" y="3537818"/>
                  <a:pt x="0" y="3537818"/>
                  <a:pt x="103" y="3065277"/>
                </a:cubicBezTo>
                <a:cubicBezTo>
                  <a:pt x="103" y="3065277"/>
                  <a:pt x="103" y="3065277"/>
                  <a:pt x="791" y="3065276"/>
                </a:cubicBezTo>
                <a:lnTo>
                  <a:pt x="1277" y="3065275"/>
                </a:lnTo>
                <a:lnTo>
                  <a:pt x="1277" y="2686371"/>
                </a:lnTo>
                <a:lnTo>
                  <a:pt x="2" y="2674072"/>
                </a:lnTo>
                <a:cubicBezTo>
                  <a:pt x="2" y="2674072"/>
                  <a:pt x="2" y="2674072"/>
                  <a:pt x="70" y="2357496"/>
                </a:cubicBezTo>
                <a:lnTo>
                  <a:pt x="75" y="2333023"/>
                </a:lnTo>
                <a:lnTo>
                  <a:pt x="0" y="2332286"/>
                </a:lnTo>
                <a:cubicBezTo>
                  <a:pt x="0" y="2332286"/>
                  <a:pt x="0" y="2332286"/>
                  <a:pt x="102" y="1859734"/>
                </a:cubicBezTo>
                <a:cubicBezTo>
                  <a:pt x="102" y="1859734"/>
                  <a:pt x="102" y="1859734"/>
                  <a:pt x="790" y="1859730"/>
                </a:cubicBezTo>
                <a:lnTo>
                  <a:pt x="1277" y="1859730"/>
                </a:lnTo>
                <a:lnTo>
                  <a:pt x="1277" y="734186"/>
                </a:lnTo>
                <a:lnTo>
                  <a:pt x="1278" y="734186"/>
                </a:lnTo>
                <a:lnTo>
                  <a:pt x="1278" y="1"/>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Title 1">
            <a:extLst>
              <a:ext uri="{FF2B5EF4-FFF2-40B4-BE49-F238E27FC236}">
                <a16:creationId xmlns:a16="http://schemas.microsoft.com/office/drawing/2014/main" id="{99929713-92BF-C5AE-255B-E700DC18B264}"/>
              </a:ext>
            </a:extLst>
          </p:cNvPr>
          <p:cNvSpPr>
            <a:spLocks noGrp="1"/>
          </p:cNvSpPr>
          <p:nvPr>
            <p:ph type="title"/>
          </p:nvPr>
        </p:nvSpPr>
        <p:spPr>
          <a:xfrm>
            <a:off x="493713" y="579438"/>
            <a:ext cx="5113896" cy="792162"/>
          </a:xfrm>
        </p:spPr>
        <p:txBody>
          <a:bodyPr>
            <a:noAutofit/>
          </a:bodyPr>
          <a:lstStyle>
            <a:lvl1pPr>
              <a:lnSpc>
                <a:spcPct val="85000"/>
              </a:lnSpc>
              <a:defRPr/>
            </a:lvl1pPr>
          </a:lstStyle>
          <a:p>
            <a:r>
              <a:rPr lang="en-US"/>
              <a:t>Click to edit Master title style</a:t>
            </a:r>
          </a:p>
        </p:txBody>
      </p:sp>
      <p:sp>
        <p:nvSpPr>
          <p:cNvPr id="5" name="Text Placeholder 12">
            <a:extLst>
              <a:ext uri="{FF2B5EF4-FFF2-40B4-BE49-F238E27FC236}">
                <a16:creationId xmlns:a16="http://schemas.microsoft.com/office/drawing/2014/main" id="{920AE283-D579-E34E-7789-64765852C9CF}"/>
              </a:ext>
            </a:extLst>
          </p:cNvPr>
          <p:cNvSpPr>
            <a:spLocks noGrp="1"/>
          </p:cNvSpPr>
          <p:nvPr>
            <p:ph type="body" sz="quarter" idx="14"/>
          </p:nvPr>
        </p:nvSpPr>
        <p:spPr>
          <a:xfrm>
            <a:off x="6567257" y="1382889"/>
            <a:ext cx="5131359" cy="336374"/>
          </a:xfrm>
        </p:spPr>
        <p:txBody>
          <a:bodyPr>
            <a:noAutofit/>
          </a:bodyPr>
          <a:lstStyle>
            <a:lvl1pPr marL="0" indent="0">
              <a:buNone/>
              <a:defRPr sz="2100">
                <a:solidFill>
                  <a:schemeClr val="bg1"/>
                </a:solidFill>
              </a:defRPr>
            </a:lvl1pPr>
          </a:lstStyle>
          <a:p>
            <a:pPr lvl="0"/>
            <a:r>
              <a:rPr lang="en-US"/>
              <a:t>Click to edit Master text styles</a:t>
            </a:r>
          </a:p>
        </p:txBody>
      </p:sp>
      <p:sp>
        <p:nvSpPr>
          <p:cNvPr id="9" name="Subtitle 2">
            <a:extLst>
              <a:ext uri="{FF2B5EF4-FFF2-40B4-BE49-F238E27FC236}">
                <a16:creationId xmlns:a16="http://schemas.microsoft.com/office/drawing/2014/main" id="{913D57F8-6390-CDE9-60EB-FC8B8483AA89}"/>
              </a:ext>
            </a:extLst>
          </p:cNvPr>
          <p:cNvSpPr>
            <a:spLocks noGrp="1"/>
          </p:cNvSpPr>
          <p:nvPr>
            <p:ph type="subTitle" idx="1"/>
          </p:nvPr>
        </p:nvSpPr>
        <p:spPr>
          <a:xfrm>
            <a:off x="493712" y="1371600"/>
            <a:ext cx="5113897" cy="347663"/>
          </a:xfrm>
        </p:spPr>
        <p:txBody>
          <a:bodyPr>
            <a:noAutofit/>
          </a:bodyPr>
          <a:lstStyle>
            <a:lvl1pPr marL="0" indent="0" algn="l">
              <a:buNone/>
              <a:defRPr sz="21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ext Placeholder 11">
            <a:extLst>
              <a:ext uri="{FF2B5EF4-FFF2-40B4-BE49-F238E27FC236}">
                <a16:creationId xmlns:a16="http://schemas.microsoft.com/office/drawing/2014/main" id="{FF517ECE-082F-3056-AFD9-60411B053E86}"/>
              </a:ext>
            </a:extLst>
          </p:cNvPr>
          <p:cNvSpPr>
            <a:spLocks noGrp="1"/>
          </p:cNvSpPr>
          <p:nvPr>
            <p:ph type="body" sz="quarter" idx="16"/>
          </p:nvPr>
        </p:nvSpPr>
        <p:spPr>
          <a:xfrm>
            <a:off x="6572250" y="579439"/>
            <a:ext cx="5126365" cy="792162"/>
          </a:xfrm>
        </p:spPr>
        <p:txBody>
          <a:bodyPr anchor="b">
            <a:noAutofit/>
          </a:bodyPr>
          <a:lstStyle>
            <a:lvl1pPr marL="0" indent="0">
              <a:lnSpc>
                <a:spcPct val="85000"/>
              </a:lnSpc>
              <a:buNone/>
              <a:defRPr sz="3400">
                <a:solidFill>
                  <a:schemeClr val="bg1"/>
                </a:solidFill>
                <a:latin typeface="+mn-lt"/>
              </a:defRPr>
            </a:lvl1pPr>
          </a:lstStyle>
          <a:p>
            <a:pPr lvl="0"/>
            <a:r>
              <a:rPr lang="en-US"/>
              <a:t>Click to edit Master text styles</a:t>
            </a:r>
          </a:p>
        </p:txBody>
      </p:sp>
      <p:sp>
        <p:nvSpPr>
          <p:cNvPr id="8" name="Footer Placeholder 66">
            <a:extLst>
              <a:ext uri="{FF2B5EF4-FFF2-40B4-BE49-F238E27FC236}">
                <a16:creationId xmlns:a16="http://schemas.microsoft.com/office/drawing/2014/main" id="{C84DD61B-4070-C209-5ED2-587D11C44E6E}"/>
              </a:ext>
            </a:extLst>
          </p:cNvPr>
          <p:cNvSpPr>
            <a:spLocks noGrp="1"/>
          </p:cNvSpPr>
          <p:nvPr>
            <p:ph type="ftr" sz="quarter" idx="3"/>
          </p:nvPr>
        </p:nvSpPr>
        <p:spPr>
          <a:xfrm>
            <a:off x="493290" y="6405456"/>
            <a:ext cx="5124874" cy="107722"/>
          </a:xfrm>
          <a:prstGeom prst="rect">
            <a:avLst/>
          </a:prstGeom>
        </p:spPr>
        <p:txBody>
          <a:bodyPr vert="horz" lIns="0" tIns="0" rIns="0" bIns="0" rtlCol="0" anchor="b"/>
          <a:lstStyle>
            <a:lvl1pPr algn="l">
              <a:defRPr sz="700">
                <a:solidFill>
                  <a:schemeClr val="tx2"/>
                </a:solidFill>
              </a:defRPr>
            </a:lvl1pPr>
          </a:lstStyle>
          <a:p>
            <a:endParaRPr lang="en-US"/>
          </a:p>
        </p:txBody>
      </p:sp>
      <p:sp>
        <p:nvSpPr>
          <p:cNvPr id="12" name="Content Placeholder 18">
            <a:extLst>
              <a:ext uri="{FF2B5EF4-FFF2-40B4-BE49-F238E27FC236}">
                <a16:creationId xmlns:a16="http://schemas.microsoft.com/office/drawing/2014/main" id="{030F02E5-3A21-1A0B-347D-813FEE3EE26C}"/>
              </a:ext>
            </a:extLst>
          </p:cNvPr>
          <p:cNvSpPr>
            <a:spLocks noGrp="1"/>
          </p:cNvSpPr>
          <p:nvPr>
            <p:ph sz="quarter" idx="10"/>
          </p:nvPr>
        </p:nvSpPr>
        <p:spPr>
          <a:xfrm>
            <a:off x="493288" y="2397125"/>
            <a:ext cx="5124876" cy="37719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8">
            <a:extLst>
              <a:ext uri="{FF2B5EF4-FFF2-40B4-BE49-F238E27FC236}">
                <a16:creationId xmlns:a16="http://schemas.microsoft.com/office/drawing/2014/main" id="{D3E8E79D-E1D3-984B-5618-5734B3FFD598}"/>
              </a:ext>
            </a:extLst>
          </p:cNvPr>
          <p:cNvSpPr>
            <a:spLocks noGrp="1"/>
          </p:cNvSpPr>
          <p:nvPr>
            <p:ph sz="quarter" idx="11"/>
          </p:nvPr>
        </p:nvSpPr>
        <p:spPr>
          <a:xfrm>
            <a:off x="6574140" y="2394727"/>
            <a:ext cx="5124475" cy="3771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Freeform: Shape 16">
            <a:extLst>
              <a:ext uri="{FF2B5EF4-FFF2-40B4-BE49-F238E27FC236}">
                <a16:creationId xmlns:a16="http://schemas.microsoft.com/office/drawing/2014/main" id="{27C4BAFF-333F-7E42-7723-267CF24F5150}"/>
              </a:ext>
            </a:extLst>
          </p:cNvPr>
          <p:cNvSpPr/>
          <p:nvPr/>
        </p:nvSpPr>
        <p:spPr>
          <a:xfrm>
            <a:off x="11180146" y="6513177"/>
            <a:ext cx="516913" cy="156999"/>
          </a:xfrm>
          <a:custGeom>
            <a:avLst/>
            <a:gdLst>
              <a:gd name="connsiteX0" fmla="*/ 0 w 516913"/>
              <a:gd name="connsiteY0" fmla="*/ 156999 h 156999"/>
              <a:gd name="connsiteX1" fmla="*/ 0 w 516913"/>
              <a:gd name="connsiteY1" fmla="*/ 44765 h 156999"/>
              <a:gd name="connsiteX2" fmla="*/ 5423 w 516913"/>
              <a:gd name="connsiteY2" fmla="*/ 31671 h 156999"/>
              <a:gd name="connsiteX3" fmla="*/ 31671 w 516913"/>
              <a:gd name="connsiteY3" fmla="*/ 5423 h 156999"/>
              <a:gd name="connsiteX4" fmla="*/ 44765 w 516913"/>
              <a:gd name="connsiteY4" fmla="*/ 0 h 156999"/>
              <a:gd name="connsiteX5" fmla="*/ 516913 w 516913"/>
              <a:gd name="connsiteY5" fmla="*/ 0 h 156999"/>
              <a:gd name="connsiteX6" fmla="*/ 516896 w 516913"/>
              <a:gd name="connsiteY6" fmla="*/ 112251 h 156999"/>
              <a:gd name="connsiteX7" fmla="*/ 511473 w 516913"/>
              <a:gd name="connsiteY7" fmla="*/ 125345 h 156999"/>
              <a:gd name="connsiteX8" fmla="*/ 485517 w 516913"/>
              <a:gd name="connsiteY8" fmla="*/ 151302 h 156999"/>
              <a:gd name="connsiteX9" fmla="*/ 472423 w 516913"/>
              <a:gd name="connsiteY9" fmla="*/ 156725 h 156999"/>
              <a:gd name="connsiteX10" fmla="*/ 0 w 516913"/>
              <a:gd name="connsiteY10" fmla="*/ 156999 h 156999"/>
              <a:gd name="connsiteX11" fmla="*/ 44765 w 516913"/>
              <a:gd name="connsiteY11" fmla="*/ 2403 h 156999"/>
              <a:gd name="connsiteX12" fmla="*/ 33370 w 516913"/>
              <a:gd name="connsiteY12" fmla="*/ 7122 h 156999"/>
              <a:gd name="connsiteX13" fmla="*/ 7122 w 516913"/>
              <a:gd name="connsiteY13" fmla="*/ 33370 h 156999"/>
              <a:gd name="connsiteX14" fmla="*/ 2403 w 516913"/>
              <a:gd name="connsiteY14" fmla="*/ 44765 h 156999"/>
              <a:gd name="connsiteX15" fmla="*/ 2403 w 516913"/>
              <a:gd name="connsiteY15" fmla="*/ 154597 h 156999"/>
              <a:gd name="connsiteX16" fmla="*/ 472423 w 516913"/>
              <a:gd name="connsiteY16" fmla="*/ 154322 h 156999"/>
              <a:gd name="connsiteX17" fmla="*/ 483818 w 516913"/>
              <a:gd name="connsiteY17" fmla="*/ 149603 h 156999"/>
              <a:gd name="connsiteX18" fmla="*/ 509774 w 516913"/>
              <a:gd name="connsiteY18" fmla="*/ 123646 h 156999"/>
              <a:gd name="connsiteX19" fmla="*/ 514494 w 516913"/>
              <a:gd name="connsiteY19" fmla="*/ 112251 h 156999"/>
              <a:gd name="connsiteX20" fmla="*/ 514511 w 516913"/>
              <a:gd name="connsiteY20" fmla="*/ 2403 h 156999"/>
              <a:gd name="connsiteX21" fmla="*/ 44765 w 516913"/>
              <a:gd name="connsiteY21" fmla="*/ 2403 h 156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16913" h="156999">
                <a:moveTo>
                  <a:pt x="0" y="156999"/>
                </a:moveTo>
                <a:lnTo>
                  <a:pt x="0" y="44765"/>
                </a:lnTo>
                <a:cubicBezTo>
                  <a:pt x="0" y="39891"/>
                  <a:pt x="1974" y="35120"/>
                  <a:pt x="5423" y="31671"/>
                </a:cubicBezTo>
                <a:lnTo>
                  <a:pt x="31671" y="5423"/>
                </a:lnTo>
                <a:cubicBezTo>
                  <a:pt x="35120" y="1974"/>
                  <a:pt x="39891" y="0"/>
                  <a:pt x="44765" y="0"/>
                </a:cubicBezTo>
                <a:lnTo>
                  <a:pt x="516913" y="0"/>
                </a:lnTo>
                <a:lnTo>
                  <a:pt x="516896" y="112251"/>
                </a:lnTo>
                <a:cubicBezTo>
                  <a:pt x="516896" y="117125"/>
                  <a:pt x="514923" y="121905"/>
                  <a:pt x="511473" y="125345"/>
                </a:cubicBezTo>
                <a:lnTo>
                  <a:pt x="485517" y="151302"/>
                </a:lnTo>
                <a:cubicBezTo>
                  <a:pt x="482068" y="154751"/>
                  <a:pt x="477297" y="156725"/>
                  <a:pt x="472423" y="156725"/>
                </a:cubicBezTo>
                <a:lnTo>
                  <a:pt x="0" y="156999"/>
                </a:lnTo>
                <a:close/>
                <a:moveTo>
                  <a:pt x="44765" y="2403"/>
                </a:moveTo>
                <a:cubicBezTo>
                  <a:pt x="40518" y="2403"/>
                  <a:pt x="36365" y="4119"/>
                  <a:pt x="33370" y="7122"/>
                </a:cubicBezTo>
                <a:lnTo>
                  <a:pt x="7122" y="33370"/>
                </a:lnTo>
                <a:cubicBezTo>
                  <a:pt x="4119" y="36373"/>
                  <a:pt x="2403" y="40526"/>
                  <a:pt x="2403" y="44765"/>
                </a:cubicBezTo>
                <a:lnTo>
                  <a:pt x="2403" y="154597"/>
                </a:lnTo>
                <a:lnTo>
                  <a:pt x="472423" y="154322"/>
                </a:lnTo>
                <a:cubicBezTo>
                  <a:pt x="476670" y="154322"/>
                  <a:pt x="480823" y="152606"/>
                  <a:pt x="483818" y="149603"/>
                </a:cubicBezTo>
                <a:lnTo>
                  <a:pt x="509774" y="123646"/>
                </a:lnTo>
                <a:cubicBezTo>
                  <a:pt x="512778" y="120643"/>
                  <a:pt x="514494" y="116490"/>
                  <a:pt x="514494" y="112251"/>
                </a:cubicBezTo>
                <a:lnTo>
                  <a:pt x="514511" y="2403"/>
                </a:lnTo>
                <a:lnTo>
                  <a:pt x="44765" y="2403"/>
                </a:lnTo>
                <a:close/>
              </a:path>
            </a:pathLst>
          </a:custGeom>
          <a:solidFill>
            <a:srgbClr val="FFFFFF"/>
          </a:solidFill>
          <a:ln w="854"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C4C45999-51C5-AFB7-459F-1EE998FDE39E}"/>
              </a:ext>
            </a:extLst>
          </p:cNvPr>
          <p:cNvSpPr/>
          <p:nvPr/>
        </p:nvSpPr>
        <p:spPr>
          <a:xfrm>
            <a:off x="11181484" y="6514378"/>
            <a:ext cx="385930" cy="154714"/>
          </a:xfrm>
          <a:custGeom>
            <a:avLst/>
            <a:gdLst>
              <a:gd name="connsiteX0" fmla="*/ 0 w 385930"/>
              <a:gd name="connsiteY0" fmla="*/ 58588 h 154714"/>
              <a:gd name="connsiteX1" fmla="*/ 0 w 385930"/>
              <a:gd name="connsiteY1" fmla="*/ 154605 h 154714"/>
              <a:gd name="connsiteX2" fmla="*/ 172282 w 385930"/>
              <a:gd name="connsiteY2" fmla="*/ 154605 h 154714"/>
              <a:gd name="connsiteX3" fmla="*/ 207016 w 385930"/>
              <a:gd name="connsiteY3" fmla="*/ 152143 h 154714"/>
              <a:gd name="connsiteX4" fmla="*/ 272349 w 385930"/>
              <a:gd name="connsiteY4" fmla="*/ 113358 h 154714"/>
              <a:gd name="connsiteX5" fmla="*/ 385930 w 385930"/>
              <a:gd name="connsiteY5" fmla="*/ 0 h 154714"/>
              <a:gd name="connsiteX6" fmla="*/ 214009 w 385930"/>
              <a:gd name="connsiteY6" fmla="*/ 17 h 154714"/>
              <a:gd name="connsiteX7" fmla="*/ 95579 w 385930"/>
              <a:gd name="connsiteY7" fmla="*/ 117966 h 154714"/>
              <a:gd name="connsiteX8" fmla="*/ 78676 w 385930"/>
              <a:gd name="connsiteY8" fmla="*/ 126452 h 154714"/>
              <a:gd name="connsiteX9" fmla="*/ 63445 w 385930"/>
              <a:gd name="connsiteY9" fmla="*/ 121364 h 154714"/>
              <a:gd name="connsiteX10" fmla="*/ 0 w 385930"/>
              <a:gd name="connsiteY10" fmla="*/ 58588 h 154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5930" h="154714">
                <a:moveTo>
                  <a:pt x="0" y="58588"/>
                </a:moveTo>
                <a:lnTo>
                  <a:pt x="0" y="154605"/>
                </a:lnTo>
                <a:lnTo>
                  <a:pt x="172282" y="154605"/>
                </a:lnTo>
                <a:cubicBezTo>
                  <a:pt x="172282" y="154605"/>
                  <a:pt x="191820" y="155506"/>
                  <a:pt x="207016" y="152143"/>
                </a:cubicBezTo>
                <a:cubicBezTo>
                  <a:pt x="234937" y="145965"/>
                  <a:pt x="251566" y="134141"/>
                  <a:pt x="272349" y="113358"/>
                </a:cubicBezTo>
                <a:cubicBezTo>
                  <a:pt x="307409" y="78281"/>
                  <a:pt x="385930" y="0"/>
                  <a:pt x="385930" y="0"/>
                </a:cubicBezTo>
                <a:lnTo>
                  <a:pt x="214009" y="17"/>
                </a:lnTo>
                <a:lnTo>
                  <a:pt x="95579" y="117966"/>
                </a:lnTo>
                <a:cubicBezTo>
                  <a:pt x="95579" y="117966"/>
                  <a:pt x="88458" y="126555"/>
                  <a:pt x="78676" y="126452"/>
                </a:cubicBezTo>
                <a:cubicBezTo>
                  <a:pt x="68053" y="126332"/>
                  <a:pt x="63445" y="121364"/>
                  <a:pt x="63445" y="121364"/>
                </a:cubicBezTo>
                <a:lnTo>
                  <a:pt x="0" y="58588"/>
                </a:lnTo>
                <a:close/>
              </a:path>
            </a:pathLst>
          </a:custGeom>
          <a:solidFill>
            <a:srgbClr val="FFFFFF">
              <a:alpha val="25000"/>
            </a:srgbClr>
          </a:solidFill>
          <a:ln w="854" cap="flat">
            <a:noFill/>
            <a:prstDash val="solid"/>
            <a:miter/>
          </a:ln>
        </p:spPr>
        <p:txBody>
          <a:bodyPr rtlCol="0" anchor="ctr"/>
          <a:lstStyle/>
          <a:p>
            <a:endParaRPr lang="en-US"/>
          </a:p>
        </p:txBody>
      </p:sp>
      <p:grpSp>
        <p:nvGrpSpPr>
          <p:cNvPr id="19" name="Graphic 13">
            <a:extLst>
              <a:ext uri="{FF2B5EF4-FFF2-40B4-BE49-F238E27FC236}">
                <a16:creationId xmlns:a16="http://schemas.microsoft.com/office/drawing/2014/main" id="{67F2EDC4-FCD4-1D23-EB68-2CB16F424738}"/>
              </a:ext>
            </a:extLst>
          </p:cNvPr>
          <p:cNvGrpSpPr/>
          <p:nvPr/>
        </p:nvGrpSpPr>
        <p:grpSpPr>
          <a:xfrm>
            <a:off x="11217977" y="6552879"/>
            <a:ext cx="432093" cy="77405"/>
            <a:chOff x="11217977" y="6552879"/>
            <a:chExt cx="432093" cy="77405"/>
          </a:xfrm>
          <a:solidFill>
            <a:srgbClr val="FFFFFF"/>
          </a:solidFill>
        </p:grpSpPr>
        <p:sp>
          <p:nvSpPr>
            <p:cNvPr id="21" name="Freeform: Shape 20">
              <a:extLst>
                <a:ext uri="{FF2B5EF4-FFF2-40B4-BE49-F238E27FC236}">
                  <a16:creationId xmlns:a16="http://schemas.microsoft.com/office/drawing/2014/main" id="{B7F6395B-FAED-8B44-547F-01E1E3E8DE01}"/>
                </a:ext>
              </a:extLst>
            </p:cNvPr>
            <p:cNvSpPr/>
            <p:nvPr/>
          </p:nvSpPr>
          <p:spPr>
            <a:xfrm>
              <a:off x="11217977" y="6554492"/>
              <a:ext cx="84553" cy="74230"/>
            </a:xfrm>
            <a:custGeom>
              <a:avLst/>
              <a:gdLst>
                <a:gd name="connsiteX0" fmla="*/ 35549 w 84553"/>
                <a:gd name="connsiteY0" fmla="*/ 74231 h 74230"/>
                <a:gd name="connsiteX1" fmla="*/ 0 w 84553"/>
                <a:gd name="connsiteY1" fmla="*/ 0 h 74230"/>
                <a:gd name="connsiteX2" fmla="*/ 16020 w 84553"/>
                <a:gd name="connsiteY2" fmla="*/ 0 h 74230"/>
                <a:gd name="connsiteX3" fmla="*/ 42045 w 84553"/>
                <a:gd name="connsiteY3" fmla="*/ 55825 h 74230"/>
                <a:gd name="connsiteX4" fmla="*/ 42354 w 84553"/>
                <a:gd name="connsiteY4" fmla="*/ 55825 h 74230"/>
                <a:gd name="connsiteX5" fmla="*/ 68379 w 84553"/>
                <a:gd name="connsiteY5" fmla="*/ 0 h 74230"/>
                <a:gd name="connsiteX6" fmla="*/ 84553 w 84553"/>
                <a:gd name="connsiteY6" fmla="*/ 0 h 74230"/>
                <a:gd name="connsiteX7" fmla="*/ 49004 w 84553"/>
                <a:gd name="connsiteY7" fmla="*/ 74231 h 74230"/>
                <a:gd name="connsiteX8" fmla="*/ 35532 w 84553"/>
                <a:gd name="connsiteY8" fmla="*/ 74231 h 74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553" h="74230">
                  <a:moveTo>
                    <a:pt x="35549" y="74231"/>
                  </a:moveTo>
                  <a:lnTo>
                    <a:pt x="0" y="0"/>
                  </a:lnTo>
                  <a:lnTo>
                    <a:pt x="16020" y="0"/>
                  </a:lnTo>
                  <a:cubicBezTo>
                    <a:pt x="16020" y="0"/>
                    <a:pt x="41427" y="53140"/>
                    <a:pt x="42045" y="55825"/>
                  </a:cubicBezTo>
                  <a:lnTo>
                    <a:pt x="42354" y="55825"/>
                  </a:lnTo>
                  <a:cubicBezTo>
                    <a:pt x="42989" y="53131"/>
                    <a:pt x="68379" y="0"/>
                    <a:pt x="68379" y="0"/>
                  </a:cubicBezTo>
                  <a:lnTo>
                    <a:pt x="84553" y="0"/>
                  </a:lnTo>
                  <a:lnTo>
                    <a:pt x="49004" y="74231"/>
                  </a:lnTo>
                  <a:lnTo>
                    <a:pt x="35532" y="74231"/>
                  </a:lnTo>
                  <a:close/>
                </a:path>
              </a:pathLst>
            </a:custGeom>
            <a:solidFill>
              <a:srgbClr val="FFFFFF"/>
            </a:solidFill>
            <a:ln w="85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9A50CB50-2E0F-D927-83CC-3D3AAF4D0EB5}"/>
                </a:ext>
              </a:extLst>
            </p:cNvPr>
            <p:cNvSpPr/>
            <p:nvPr/>
          </p:nvSpPr>
          <p:spPr>
            <a:xfrm>
              <a:off x="11298755" y="6552879"/>
              <a:ext cx="72960" cy="77397"/>
            </a:xfrm>
            <a:custGeom>
              <a:avLst/>
              <a:gdLst>
                <a:gd name="connsiteX0" fmla="*/ 72635 w 72960"/>
                <a:gd name="connsiteY0" fmla="*/ 44422 h 77397"/>
                <a:gd name="connsiteX1" fmla="*/ 15068 w 72960"/>
                <a:gd name="connsiteY1" fmla="*/ 44422 h 77397"/>
                <a:gd name="connsiteX2" fmla="*/ 37437 w 72960"/>
                <a:gd name="connsiteY2" fmla="*/ 64080 h 77397"/>
                <a:gd name="connsiteX3" fmla="*/ 56152 w 72960"/>
                <a:gd name="connsiteY3" fmla="*/ 53612 h 77397"/>
                <a:gd name="connsiteX4" fmla="*/ 71056 w 72960"/>
                <a:gd name="connsiteY4" fmla="*/ 53612 h 77397"/>
                <a:gd name="connsiteX5" fmla="*/ 37429 w 72960"/>
                <a:gd name="connsiteY5" fmla="*/ 77397 h 77397"/>
                <a:gd name="connsiteX6" fmla="*/ 0 w 72960"/>
                <a:gd name="connsiteY6" fmla="*/ 38699 h 77397"/>
                <a:gd name="connsiteX7" fmla="*/ 37429 w 72960"/>
                <a:gd name="connsiteY7" fmla="*/ 0 h 77397"/>
                <a:gd name="connsiteX8" fmla="*/ 72961 w 72960"/>
                <a:gd name="connsiteY8" fmla="*/ 38699 h 77397"/>
                <a:gd name="connsiteX9" fmla="*/ 72652 w 72960"/>
                <a:gd name="connsiteY9" fmla="*/ 44422 h 77397"/>
                <a:gd name="connsiteX10" fmla="*/ 15222 w 72960"/>
                <a:gd name="connsiteY10" fmla="*/ 32366 h 77397"/>
                <a:gd name="connsiteX11" fmla="*/ 57893 w 72960"/>
                <a:gd name="connsiteY11" fmla="*/ 32366 h 77397"/>
                <a:gd name="connsiteX12" fmla="*/ 37437 w 72960"/>
                <a:gd name="connsiteY12" fmla="*/ 13343 h 77397"/>
                <a:gd name="connsiteX13" fmla="*/ 15222 w 72960"/>
                <a:gd name="connsiteY13" fmla="*/ 32366 h 77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960" h="77397">
                  <a:moveTo>
                    <a:pt x="72635" y="44422"/>
                  </a:moveTo>
                  <a:lnTo>
                    <a:pt x="15068" y="44422"/>
                  </a:lnTo>
                  <a:cubicBezTo>
                    <a:pt x="17135" y="56478"/>
                    <a:pt x="25999" y="64080"/>
                    <a:pt x="37437" y="64080"/>
                  </a:cubicBezTo>
                  <a:cubicBezTo>
                    <a:pt x="46799" y="64080"/>
                    <a:pt x="52977" y="60425"/>
                    <a:pt x="56152" y="53612"/>
                  </a:cubicBezTo>
                  <a:lnTo>
                    <a:pt x="71056" y="53612"/>
                  </a:lnTo>
                  <a:cubicBezTo>
                    <a:pt x="66603" y="67718"/>
                    <a:pt x="53775" y="77397"/>
                    <a:pt x="37429" y="77397"/>
                  </a:cubicBezTo>
                  <a:cubicBezTo>
                    <a:pt x="15857" y="77397"/>
                    <a:pt x="0" y="61703"/>
                    <a:pt x="0" y="38699"/>
                  </a:cubicBezTo>
                  <a:cubicBezTo>
                    <a:pt x="0" y="15694"/>
                    <a:pt x="15539" y="0"/>
                    <a:pt x="37429" y="0"/>
                  </a:cubicBezTo>
                  <a:cubicBezTo>
                    <a:pt x="56932" y="0"/>
                    <a:pt x="72961" y="16664"/>
                    <a:pt x="72961" y="38699"/>
                  </a:cubicBezTo>
                  <a:cubicBezTo>
                    <a:pt x="72961" y="40921"/>
                    <a:pt x="72961" y="42199"/>
                    <a:pt x="72652" y="44422"/>
                  </a:cubicBezTo>
                  <a:close/>
                  <a:moveTo>
                    <a:pt x="15222" y="32366"/>
                  </a:moveTo>
                  <a:lnTo>
                    <a:pt x="57893" y="32366"/>
                  </a:lnTo>
                  <a:cubicBezTo>
                    <a:pt x="56941" y="22207"/>
                    <a:pt x="48704" y="13343"/>
                    <a:pt x="37437" y="13343"/>
                  </a:cubicBezTo>
                  <a:cubicBezTo>
                    <a:pt x="25999" y="13326"/>
                    <a:pt x="17427" y="20791"/>
                    <a:pt x="15222" y="32366"/>
                  </a:cubicBezTo>
                  <a:close/>
                </a:path>
              </a:pathLst>
            </a:custGeom>
            <a:solidFill>
              <a:srgbClr val="FFFFFF"/>
            </a:solidFill>
            <a:ln w="854"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BDAB4271-616D-B208-A85C-D14751FE8063}"/>
                </a:ext>
              </a:extLst>
            </p:cNvPr>
            <p:cNvSpPr/>
            <p:nvPr/>
          </p:nvSpPr>
          <p:spPr>
            <a:xfrm>
              <a:off x="11377723" y="6552879"/>
              <a:ext cx="72960" cy="77397"/>
            </a:xfrm>
            <a:custGeom>
              <a:avLst/>
              <a:gdLst>
                <a:gd name="connsiteX0" fmla="*/ 72635 w 72960"/>
                <a:gd name="connsiteY0" fmla="*/ 44422 h 77397"/>
                <a:gd name="connsiteX1" fmla="*/ 15068 w 72960"/>
                <a:gd name="connsiteY1" fmla="*/ 44422 h 77397"/>
                <a:gd name="connsiteX2" fmla="*/ 37437 w 72960"/>
                <a:gd name="connsiteY2" fmla="*/ 64080 h 77397"/>
                <a:gd name="connsiteX3" fmla="*/ 56152 w 72960"/>
                <a:gd name="connsiteY3" fmla="*/ 53612 h 77397"/>
                <a:gd name="connsiteX4" fmla="*/ 71056 w 72960"/>
                <a:gd name="connsiteY4" fmla="*/ 53612 h 77397"/>
                <a:gd name="connsiteX5" fmla="*/ 37429 w 72960"/>
                <a:gd name="connsiteY5" fmla="*/ 77397 h 77397"/>
                <a:gd name="connsiteX6" fmla="*/ 0 w 72960"/>
                <a:gd name="connsiteY6" fmla="*/ 38699 h 77397"/>
                <a:gd name="connsiteX7" fmla="*/ 37429 w 72960"/>
                <a:gd name="connsiteY7" fmla="*/ 0 h 77397"/>
                <a:gd name="connsiteX8" fmla="*/ 72961 w 72960"/>
                <a:gd name="connsiteY8" fmla="*/ 38699 h 77397"/>
                <a:gd name="connsiteX9" fmla="*/ 72652 w 72960"/>
                <a:gd name="connsiteY9" fmla="*/ 44422 h 77397"/>
                <a:gd name="connsiteX10" fmla="*/ 15222 w 72960"/>
                <a:gd name="connsiteY10" fmla="*/ 32366 h 77397"/>
                <a:gd name="connsiteX11" fmla="*/ 57893 w 72960"/>
                <a:gd name="connsiteY11" fmla="*/ 32366 h 77397"/>
                <a:gd name="connsiteX12" fmla="*/ 37437 w 72960"/>
                <a:gd name="connsiteY12" fmla="*/ 13343 h 77397"/>
                <a:gd name="connsiteX13" fmla="*/ 15222 w 72960"/>
                <a:gd name="connsiteY13" fmla="*/ 32366 h 77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960" h="77397">
                  <a:moveTo>
                    <a:pt x="72635" y="44422"/>
                  </a:moveTo>
                  <a:lnTo>
                    <a:pt x="15068" y="44422"/>
                  </a:lnTo>
                  <a:cubicBezTo>
                    <a:pt x="17135" y="56478"/>
                    <a:pt x="25999" y="64080"/>
                    <a:pt x="37437" y="64080"/>
                  </a:cubicBezTo>
                  <a:cubicBezTo>
                    <a:pt x="46799" y="64080"/>
                    <a:pt x="52977" y="60425"/>
                    <a:pt x="56152" y="53612"/>
                  </a:cubicBezTo>
                  <a:lnTo>
                    <a:pt x="71056" y="53612"/>
                  </a:lnTo>
                  <a:cubicBezTo>
                    <a:pt x="66603" y="67718"/>
                    <a:pt x="53775" y="77397"/>
                    <a:pt x="37429" y="77397"/>
                  </a:cubicBezTo>
                  <a:cubicBezTo>
                    <a:pt x="15857" y="77397"/>
                    <a:pt x="0" y="61703"/>
                    <a:pt x="0" y="38699"/>
                  </a:cubicBezTo>
                  <a:cubicBezTo>
                    <a:pt x="0" y="15694"/>
                    <a:pt x="15539" y="0"/>
                    <a:pt x="37429" y="0"/>
                  </a:cubicBezTo>
                  <a:cubicBezTo>
                    <a:pt x="56932" y="0"/>
                    <a:pt x="72961" y="16664"/>
                    <a:pt x="72961" y="38699"/>
                  </a:cubicBezTo>
                  <a:cubicBezTo>
                    <a:pt x="72961" y="40921"/>
                    <a:pt x="72961" y="42199"/>
                    <a:pt x="72652" y="44422"/>
                  </a:cubicBezTo>
                  <a:close/>
                  <a:moveTo>
                    <a:pt x="15222" y="32366"/>
                  </a:moveTo>
                  <a:lnTo>
                    <a:pt x="57893" y="32366"/>
                  </a:lnTo>
                  <a:cubicBezTo>
                    <a:pt x="56941" y="22207"/>
                    <a:pt x="48704" y="13343"/>
                    <a:pt x="37437" y="13343"/>
                  </a:cubicBezTo>
                  <a:cubicBezTo>
                    <a:pt x="25999" y="13326"/>
                    <a:pt x="17444" y="20791"/>
                    <a:pt x="15222" y="32366"/>
                  </a:cubicBezTo>
                  <a:close/>
                </a:path>
              </a:pathLst>
            </a:custGeom>
            <a:solidFill>
              <a:srgbClr val="FFFFFF"/>
            </a:solidFill>
            <a:ln w="854"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70B5B143-F251-2BE9-F6F9-ABB0BB0CC29B}"/>
                </a:ext>
              </a:extLst>
            </p:cNvPr>
            <p:cNvSpPr/>
            <p:nvPr/>
          </p:nvSpPr>
          <p:spPr>
            <a:xfrm>
              <a:off x="11456536" y="6552888"/>
              <a:ext cx="74556" cy="77397"/>
            </a:xfrm>
            <a:custGeom>
              <a:avLst/>
              <a:gdLst>
                <a:gd name="connsiteX0" fmla="*/ 74557 w 74556"/>
                <a:gd name="connsiteY0" fmla="*/ 38699 h 77397"/>
                <a:gd name="connsiteX1" fmla="*/ 74557 w 74556"/>
                <a:gd name="connsiteY1" fmla="*/ 75810 h 77397"/>
                <a:gd name="connsiteX2" fmla="*/ 61712 w 74556"/>
                <a:gd name="connsiteY2" fmla="*/ 75810 h 77397"/>
                <a:gd name="connsiteX3" fmla="*/ 60433 w 74556"/>
                <a:gd name="connsiteY3" fmla="*/ 64234 h 77397"/>
                <a:gd name="connsiteX4" fmla="*/ 35687 w 74556"/>
                <a:gd name="connsiteY4" fmla="*/ 77397 h 77397"/>
                <a:gd name="connsiteX5" fmla="*/ 0 w 74556"/>
                <a:gd name="connsiteY5" fmla="*/ 38699 h 77397"/>
                <a:gd name="connsiteX6" fmla="*/ 37583 w 74556"/>
                <a:gd name="connsiteY6" fmla="*/ 0 h 77397"/>
                <a:gd name="connsiteX7" fmla="*/ 74557 w 74556"/>
                <a:gd name="connsiteY7" fmla="*/ 38699 h 77397"/>
                <a:gd name="connsiteX8" fmla="*/ 59953 w 74556"/>
                <a:gd name="connsiteY8" fmla="*/ 38699 h 77397"/>
                <a:gd name="connsiteX9" fmla="*/ 37583 w 74556"/>
                <a:gd name="connsiteY9" fmla="*/ 13326 h 77397"/>
                <a:gd name="connsiteX10" fmla="*/ 14596 w 74556"/>
                <a:gd name="connsiteY10" fmla="*/ 38699 h 77397"/>
                <a:gd name="connsiteX11" fmla="*/ 37583 w 74556"/>
                <a:gd name="connsiteY11" fmla="*/ 64071 h 77397"/>
                <a:gd name="connsiteX12" fmla="*/ 59953 w 74556"/>
                <a:gd name="connsiteY12" fmla="*/ 38699 h 77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556" h="77397">
                  <a:moveTo>
                    <a:pt x="74557" y="38699"/>
                  </a:moveTo>
                  <a:lnTo>
                    <a:pt x="74557" y="75810"/>
                  </a:lnTo>
                  <a:lnTo>
                    <a:pt x="61712" y="75810"/>
                  </a:lnTo>
                  <a:lnTo>
                    <a:pt x="60433" y="64234"/>
                  </a:lnTo>
                  <a:cubicBezTo>
                    <a:pt x="54727" y="72806"/>
                    <a:pt x="44739" y="77397"/>
                    <a:pt x="35687" y="77397"/>
                  </a:cubicBezTo>
                  <a:cubicBezTo>
                    <a:pt x="15385" y="77397"/>
                    <a:pt x="0" y="61223"/>
                    <a:pt x="0" y="38699"/>
                  </a:cubicBezTo>
                  <a:cubicBezTo>
                    <a:pt x="0" y="16174"/>
                    <a:pt x="16492" y="0"/>
                    <a:pt x="37583" y="0"/>
                  </a:cubicBezTo>
                  <a:cubicBezTo>
                    <a:pt x="56950" y="0"/>
                    <a:pt x="74557" y="13952"/>
                    <a:pt x="74557" y="38699"/>
                  </a:cubicBezTo>
                  <a:close/>
                  <a:moveTo>
                    <a:pt x="59953" y="38699"/>
                  </a:moveTo>
                  <a:cubicBezTo>
                    <a:pt x="59953" y="22370"/>
                    <a:pt x="49176" y="13326"/>
                    <a:pt x="37583" y="13326"/>
                  </a:cubicBezTo>
                  <a:cubicBezTo>
                    <a:pt x="24892" y="13326"/>
                    <a:pt x="14596" y="23485"/>
                    <a:pt x="14596" y="38699"/>
                  </a:cubicBezTo>
                  <a:cubicBezTo>
                    <a:pt x="14596" y="53912"/>
                    <a:pt x="24120" y="64071"/>
                    <a:pt x="37583" y="64071"/>
                  </a:cubicBezTo>
                  <a:cubicBezTo>
                    <a:pt x="49021" y="64071"/>
                    <a:pt x="59953" y="54547"/>
                    <a:pt x="59953" y="38699"/>
                  </a:cubicBezTo>
                  <a:close/>
                </a:path>
              </a:pathLst>
            </a:custGeom>
            <a:solidFill>
              <a:srgbClr val="FFFFFF"/>
            </a:solidFill>
            <a:ln w="854"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A7531875-D653-0EB7-6941-CD61A183CC12}"/>
                </a:ext>
              </a:extLst>
            </p:cNvPr>
            <p:cNvSpPr/>
            <p:nvPr/>
          </p:nvSpPr>
          <p:spPr>
            <a:xfrm>
              <a:off x="11540926" y="6552913"/>
              <a:ext cx="109145" cy="75946"/>
            </a:xfrm>
            <a:custGeom>
              <a:avLst/>
              <a:gdLst>
                <a:gd name="connsiteX0" fmla="*/ 0 w 109145"/>
                <a:gd name="connsiteY0" fmla="*/ 75792 h 75946"/>
                <a:gd name="connsiteX1" fmla="*/ 0 w 109145"/>
                <a:gd name="connsiteY1" fmla="*/ 31868 h 75946"/>
                <a:gd name="connsiteX2" fmla="*/ 30461 w 109145"/>
                <a:gd name="connsiteY2" fmla="*/ 0 h 75946"/>
                <a:gd name="connsiteX3" fmla="*/ 54418 w 109145"/>
                <a:gd name="connsiteY3" fmla="*/ 13489 h 75946"/>
                <a:gd name="connsiteX4" fmla="*/ 54727 w 109145"/>
                <a:gd name="connsiteY4" fmla="*/ 13489 h 75946"/>
                <a:gd name="connsiteX5" fmla="*/ 78684 w 109145"/>
                <a:gd name="connsiteY5" fmla="*/ 0 h 75946"/>
                <a:gd name="connsiteX6" fmla="*/ 109145 w 109145"/>
                <a:gd name="connsiteY6" fmla="*/ 31868 h 75946"/>
                <a:gd name="connsiteX7" fmla="*/ 109145 w 109145"/>
                <a:gd name="connsiteY7" fmla="*/ 75792 h 75946"/>
                <a:gd name="connsiteX8" fmla="*/ 94558 w 109145"/>
                <a:gd name="connsiteY8" fmla="*/ 75792 h 75946"/>
                <a:gd name="connsiteX9" fmla="*/ 94558 w 109145"/>
                <a:gd name="connsiteY9" fmla="*/ 32967 h 75946"/>
                <a:gd name="connsiteX10" fmla="*/ 78229 w 109145"/>
                <a:gd name="connsiteY10" fmla="*/ 13617 h 75946"/>
                <a:gd name="connsiteX11" fmla="*/ 61901 w 109145"/>
                <a:gd name="connsiteY11" fmla="*/ 33276 h 75946"/>
                <a:gd name="connsiteX12" fmla="*/ 61901 w 109145"/>
                <a:gd name="connsiteY12" fmla="*/ 75947 h 75946"/>
                <a:gd name="connsiteX13" fmla="*/ 47314 w 109145"/>
                <a:gd name="connsiteY13" fmla="*/ 75947 h 75946"/>
                <a:gd name="connsiteX14" fmla="*/ 47314 w 109145"/>
                <a:gd name="connsiteY14" fmla="*/ 33276 h 75946"/>
                <a:gd name="connsiteX15" fmla="*/ 30985 w 109145"/>
                <a:gd name="connsiteY15" fmla="*/ 13617 h 75946"/>
                <a:gd name="connsiteX16" fmla="*/ 14656 w 109145"/>
                <a:gd name="connsiteY16" fmla="*/ 32967 h 75946"/>
                <a:gd name="connsiteX17" fmla="*/ 14656 w 109145"/>
                <a:gd name="connsiteY17" fmla="*/ 75792 h 75946"/>
                <a:gd name="connsiteX18" fmla="*/ 34 w 109145"/>
                <a:gd name="connsiteY18" fmla="*/ 75792 h 75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9145" h="75946">
                  <a:moveTo>
                    <a:pt x="0" y="75792"/>
                  </a:moveTo>
                  <a:lnTo>
                    <a:pt x="0" y="31868"/>
                  </a:lnTo>
                  <a:cubicBezTo>
                    <a:pt x="0" y="13309"/>
                    <a:pt x="11901" y="0"/>
                    <a:pt x="30461" y="0"/>
                  </a:cubicBezTo>
                  <a:cubicBezTo>
                    <a:pt x="45366" y="0"/>
                    <a:pt x="53294" y="9988"/>
                    <a:pt x="54418" y="13489"/>
                  </a:cubicBezTo>
                  <a:lnTo>
                    <a:pt x="54727" y="13489"/>
                  </a:lnTo>
                  <a:cubicBezTo>
                    <a:pt x="55834" y="10005"/>
                    <a:pt x="63763" y="0"/>
                    <a:pt x="78684" y="0"/>
                  </a:cubicBezTo>
                  <a:cubicBezTo>
                    <a:pt x="97244" y="0"/>
                    <a:pt x="109145" y="13317"/>
                    <a:pt x="109145" y="31868"/>
                  </a:cubicBezTo>
                  <a:lnTo>
                    <a:pt x="109145" y="75792"/>
                  </a:lnTo>
                  <a:lnTo>
                    <a:pt x="94558" y="75792"/>
                  </a:lnTo>
                  <a:lnTo>
                    <a:pt x="94558" y="32967"/>
                  </a:lnTo>
                  <a:cubicBezTo>
                    <a:pt x="94558" y="20911"/>
                    <a:pt x="89161" y="13617"/>
                    <a:pt x="78229" y="13617"/>
                  </a:cubicBezTo>
                  <a:cubicBezTo>
                    <a:pt x="67298" y="13617"/>
                    <a:pt x="61901" y="20911"/>
                    <a:pt x="61901" y="33276"/>
                  </a:cubicBezTo>
                  <a:lnTo>
                    <a:pt x="61901" y="75947"/>
                  </a:lnTo>
                  <a:lnTo>
                    <a:pt x="47314" y="75947"/>
                  </a:lnTo>
                  <a:lnTo>
                    <a:pt x="47314" y="33276"/>
                  </a:lnTo>
                  <a:cubicBezTo>
                    <a:pt x="47314" y="20911"/>
                    <a:pt x="41916" y="13617"/>
                    <a:pt x="30985" y="13617"/>
                  </a:cubicBezTo>
                  <a:cubicBezTo>
                    <a:pt x="20053" y="13617"/>
                    <a:pt x="14656" y="20911"/>
                    <a:pt x="14656" y="32967"/>
                  </a:cubicBezTo>
                  <a:lnTo>
                    <a:pt x="14656" y="75792"/>
                  </a:lnTo>
                  <a:lnTo>
                    <a:pt x="34" y="75792"/>
                  </a:lnTo>
                  <a:close/>
                </a:path>
              </a:pathLst>
            </a:custGeom>
            <a:solidFill>
              <a:srgbClr val="FFFFFF"/>
            </a:solidFill>
            <a:ln w="854" cap="flat">
              <a:noFill/>
              <a:prstDash val="solid"/>
              <a:miter/>
            </a:ln>
          </p:spPr>
          <p:txBody>
            <a:bodyPr rtlCol="0" anchor="ctr"/>
            <a:lstStyle/>
            <a:p>
              <a:endParaRPr lang="en-US"/>
            </a:p>
          </p:txBody>
        </p:sp>
      </p:grpSp>
    </p:spTree>
    <p:extLst>
      <p:ext uri="{BB962C8B-B14F-4D97-AF65-F5344CB8AC3E}">
        <p14:creationId xmlns:p14="http://schemas.microsoft.com/office/powerpoint/2010/main" val="257181975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mparison Black Left">
    <p:spTree>
      <p:nvGrpSpPr>
        <p:cNvPr id="1" name=""/>
        <p:cNvGrpSpPr/>
        <p:nvPr/>
      </p:nvGrpSpPr>
      <p:grpSpPr>
        <a:xfrm>
          <a:off x="0" y="0"/>
          <a:ext cx="0" cy="0"/>
          <a:chOff x="0" y="0"/>
          <a:chExt cx="0" cy="0"/>
        </a:xfrm>
      </p:grpSpPr>
      <p:sp>
        <p:nvSpPr>
          <p:cNvPr id="311" name="Freeform: Shape 310">
            <a:extLst>
              <a:ext uri="{FF2B5EF4-FFF2-40B4-BE49-F238E27FC236}">
                <a16:creationId xmlns:a16="http://schemas.microsoft.com/office/drawing/2014/main" id="{FA3D5559-630B-68EB-88DB-BCC345505905}"/>
              </a:ext>
            </a:extLst>
          </p:cNvPr>
          <p:cNvSpPr/>
          <p:nvPr/>
        </p:nvSpPr>
        <p:spPr>
          <a:xfrm flipH="1">
            <a:off x="0" y="329967"/>
            <a:ext cx="6096000" cy="6528034"/>
          </a:xfrm>
          <a:custGeom>
            <a:avLst/>
            <a:gdLst>
              <a:gd name="connsiteX0" fmla="*/ 498361 w 6096000"/>
              <a:gd name="connsiteY0" fmla="*/ 0 h 6528034"/>
              <a:gd name="connsiteX1" fmla="*/ 2956322 w 6096000"/>
              <a:gd name="connsiteY1" fmla="*/ 0 h 6528034"/>
              <a:gd name="connsiteX2" fmla="*/ 2956322 w 6096000"/>
              <a:gd name="connsiteY2" fmla="*/ 1 h 6528034"/>
              <a:gd name="connsiteX3" fmla="*/ 3133467 w 6096000"/>
              <a:gd name="connsiteY3" fmla="*/ 1 h 6528034"/>
              <a:gd name="connsiteX4" fmla="*/ 5254219 w 6096000"/>
              <a:gd name="connsiteY4" fmla="*/ 1 h 6528034"/>
              <a:gd name="connsiteX5" fmla="*/ 5254219 w 6096000"/>
              <a:gd name="connsiteY5" fmla="*/ 2612 h 6528034"/>
              <a:gd name="connsiteX6" fmla="*/ 5334022 w 6096000"/>
              <a:gd name="connsiteY6" fmla="*/ 2594 h 6528034"/>
              <a:gd name="connsiteX7" fmla="*/ 5567834 w 6096000"/>
              <a:gd name="connsiteY7" fmla="*/ 100419 h 6528034"/>
              <a:gd name="connsiteX8" fmla="*/ 5998174 w 6096000"/>
              <a:gd name="connsiteY8" fmla="*/ 530758 h 6528034"/>
              <a:gd name="connsiteX9" fmla="*/ 6089287 w 6096000"/>
              <a:gd name="connsiteY9" fmla="*/ 699850 h 6528034"/>
              <a:gd name="connsiteX10" fmla="*/ 6092847 w 6096000"/>
              <a:gd name="connsiteY10" fmla="*/ 734186 h 6528034"/>
              <a:gd name="connsiteX11" fmla="*/ 6094720 w 6096000"/>
              <a:gd name="connsiteY11" fmla="*/ 734187 h 6528034"/>
              <a:gd name="connsiteX12" fmla="*/ 6094720 w 6096000"/>
              <a:gd name="connsiteY12" fmla="*/ 752239 h 6528034"/>
              <a:gd name="connsiteX13" fmla="*/ 6096000 w 6096000"/>
              <a:gd name="connsiteY13" fmla="*/ 764572 h 6528034"/>
              <a:gd name="connsiteX14" fmla="*/ 6095930 w 6096000"/>
              <a:gd name="connsiteY14" fmla="*/ 1081147 h 6528034"/>
              <a:gd name="connsiteX15" fmla="*/ 6095926 w 6096000"/>
              <a:gd name="connsiteY15" fmla="*/ 1105640 h 6528034"/>
              <a:gd name="connsiteX16" fmla="*/ 6096000 w 6096000"/>
              <a:gd name="connsiteY16" fmla="*/ 1106355 h 6528034"/>
              <a:gd name="connsiteX17" fmla="*/ 6095896 w 6096000"/>
              <a:gd name="connsiteY17" fmla="*/ 1578910 h 6528034"/>
              <a:gd name="connsiteX18" fmla="*/ 6095210 w 6096000"/>
              <a:gd name="connsiteY18" fmla="*/ 1578912 h 6528034"/>
              <a:gd name="connsiteX19" fmla="*/ 6094720 w 6096000"/>
              <a:gd name="connsiteY19" fmla="*/ 1578914 h 6528034"/>
              <a:gd name="connsiteX20" fmla="*/ 6094720 w 6096000"/>
              <a:gd name="connsiteY20" fmla="*/ 1676436 h 6528034"/>
              <a:gd name="connsiteX21" fmla="*/ 6094720 w 6096000"/>
              <a:gd name="connsiteY21" fmla="*/ 1939724 h 6528034"/>
              <a:gd name="connsiteX22" fmla="*/ 6094720 w 6096000"/>
              <a:gd name="connsiteY22" fmla="*/ 1957771 h 6528034"/>
              <a:gd name="connsiteX23" fmla="*/ 6096000 w 6096000"/>
              <a:gd name="connsiteY23" fmla="*/ 1970105 h 6528034"/>
              <a:gd name="connsiteX24" fmla="*/ 6095930 w 6096000"/>
              <a:gd name="connsiteY24" fmla="*/ 2286686 h 6528034"/>
              <a:gd name="connsiteX25" fmla="*/ 6095926 w 6096000"/>
              <a:gd name="connsiteY25" fmla="*/ 2311171 h 6528034"/>
              <a:gd name="connsiteX26" fmla="*/ 6095999 w 6096000"/>
              <a:gd name="connsiteY26" fmla="*/ 2311888 h 6528034"/>
              <a:gd name="connsiteX27" fmla="*/ 6095896 w 6096000"/>
              <a:gd name="connsiteY27" fmla="*/ 2784449 h 6528034"/>
              <a:gd name="connsiteX28" fmla="*/ 6095210 w 6096000"/>
              <a:gd name="connsiteY28" fmla="*/ 2784450 h 6528034"/>
              <a:gd name="connsiteX29" fmla="*/ 6094720 w 6096000"/>
              <a:gd name="connsiteY29" fmla="*/ 2784451 h 6528034"/>
              <a:gd name="connsiteX30" fmla="*/ 6094720 w 6096000"/>
              <a:gd name="connsiteY30" fmla="*/ 2881981 h 6528034"/>
              <a:gd name="connsiteX31" fmla="*/ 6094720 w 6096000"/>
              <a:gd name="connsiteY31" fmla="*/ 3094524 h 6528034"/>
              <a:gd name="connsiteX32" fmla="*/ 6094720 w 6096000"/>
              <a:gd name="connsiteY32" fmla="*/ 3223754 h 6528034"/>
              <a:gd name="connsiteX33" fmla="*/ 6094720 w 6096000"/>
              <a:gd name="connsiteY33" fmla="*/ 3316620 h 6528034"/>
              <a:gd name="connsiteX34" fmla="*/ 6094720 w 6096000"/>
              <a:gd name="connsiteY34" fmla="*/ 3436291 h 6528034"/>
              <a:gd name="connsiteX35" fmla="*/ 6094720 w 6096000"/>
              <a:gd name="connsiteY35" fmla="*/ 3524159 h 6528034"/>
              <a:gd name="connsiteX36" fmla="*/ 6094720 w 6096000"/>
              <a:gd name="connsiteY36" fmla="*/ 3612822 h 6528034"/>
              <a:gd name="connsiteX37" fmla="*/ 6096000 w 6096000"/>
              <a:gd name="connsiteY37" fmla="*/ 3625155 h 6528034"/>
              <a:gd name="connsiteX38" fmla="*/ 6095930 w 6096000"/>
              <a:gd name="connsiteY38" fmla="*/ 3941730 h 6528034"/>
              <a:gd name="connsiteX39" fmla="*/ 6095926 w 6096000"/>
              <a:gd name="connsiteY39" fmla="*/ 3966224 h 6528034"/>
              <a:gd name="connsiteX40" fmla="*/ 6096000 w 6096000"/>
              <a:gd name="connsiteY40" fmla="*/ 3966938 h 6528034"/>
              <a:gd name="connsiteX41" fmla="*/ 6095995 w 6096000"/>
              <a:gd name="connsiteY41" fmla="*/ 3991859 h 6528034"/>
              <a:gd name="connsiteX42" fmla="*/ 6095993 w 6096000"/>
              <a:gd name="connsiteY42" fmla="*/ 4001046 h 6528034"/>
              <a:gd name="connsiteX43" fmla="*/ 6095999 w 6096000"/>
              <a:gd name="connsiteY43" fmla="*/ 4001118 h 6528034"/>
              <a:gd name="connsiteX44" fmla="*/ 6095930 w 6096000"/>
              <a:gd name="connsiteY44" fmla="*/ 4317694 h 6528034"/>
              <a:gd name="connsiteX45" fmla="*/ 6095926 w 6096000"/>
              <a:gd name="connsiteY45" fmla="*/ 4342186 h 6528034"/>
              <a:gd name="connsiteX46" fmla="*/ 6096000 w 6096000"/>
              <a:gd name="connsiteY46" fmla="*/ 4342902 h 6528034"/>
              <a:gd name="connsiteX47" fmla="*/ 6095896 w 6096000"/>
              <a:gd name="connsiteY47" fmla="*/ 4815458 h 6528034"/>
              <a:gd name="connsiteX48" fmla="*/ 6095209 w 6096000"/>
              <a:gd name="connsiteY48" fmla="*/ 4815459 h 6528034"/>
              <a:gd name="connsiteX49" fmla="*/ 6094720 w 6096000"/>
              <a:gd name="connsiteY49" fmla="*/ 4815459 h 6528034"/>
              <a:gd name="connsiteX50" fmla="*/ 6094720 w 6096000"/>
              <a:gd name="connsiteY50" fmla="*/ 4901060 h 6528034"/>
              <a:gd name="connsiteX51" fmla="*/ 6094720 w 6096000"/>
              <a:gd name="connsiteY51" fmla="*/ 5109958 h 6528034"/>
              <a:gd name="connsiteX52" fmla="*/ 6094720 w 6096000"/>
              <a:gd name="connsiteY52" fmla="*/ 5202832 h 6528034"/>
              <a:gd name="connsiteX53" fmla="*/ 6094720 w 6096000"/>
              <a:gd name="connsiteY53" fmla="*/ 5242844 h 6528034"/>
              <a:gd name="connsiteX54" fmla="*/ 6094720 w 6096000"/>
              <a:gd name="connsiteY54" fmla="*/ 5544616 h 6528034"/>
              <a:gd name="connsiteX55" fmla="*/ 6094720 w 6096000"/>
              <a:gd name="connsiteY55" fmla="*/ 5884479 h 6528034"/>
              <a:gd name="connsiteX56" fmla="*/ 6094720 w 6096000"/>
              <a:gd name="connsiteY56" fmla="*/ 6186250 h 6528034"/>
              <a:gd name="connsiteX57" fmla="*/ 6094720 w 6096000"/>
              <a:gd name="connsiteY57" fmla="*/ 6226262 h 6528034"/>
              <a:gd name="connsiteX58" fmla="*/ 6094720 w 6096000"/>
              <a:gd name="connsiteY58" fmla="*/ 6528034 h 6528034"/>
              <a:gd name="connsiteX59" fmla="*/ 5774783 w 6096000"/>
              <a:gd name="connsiteY59" fmla="*/ 6528034 h 6528034"/>
              <a:gd name="connsiteX60" fmla="*/ 5597638 w 6096000"/>
              <a:gd name="connsiteY60" fmla="*/ 6528034 h 6528034"/>
              <a:gd name="connsiteX61" fmla="*/ 3636760 w 6096000"/>
              <a:gd name="connsiteY61" fmla="*/ 6528034 h 6528034"/>
              <a:gd name="connsiteX62" fmla="*/ 3459615 w 6096000"/>
              <a:gd name="connsiteY62" fmla="*/ 6528034 h 6528034"/>
              <a:gd name="connsiteX63" fmla="*/ 3139677 w 6096000"/>
              <a:gd name="connsiteY63" fmla="*/ 6528034 h 6528034"/>
              <a:gd name="connsiteX64" fmla="*/ 3139677 w 6096000"/>
              <a:gd name="connsiteY64" fmla="*/ 6528032 h 6528034"/>
              <a:gd name="connsiteX65" fmla="*/ 2962532 w 6096000"/>
              <a:gd name="connsiteY65" fmla="*/ 6528032 h 6528034"/>
              <a:gd name="connsiteX66" fmla="*/ 841782 w 6096000"/>
              <a:gd name="connsiteY66" fmla="*/ 6528032 h 6528034"/>
              <a:gd name="connsiteX67" fmla="*/ 841782 w 6096000"/>
              <a:gd name="connsiteY67" fmla="*/ 6527773 h 6528034"/>
              <a:gd name="connsiteX68" fmla="*/ 761978 w 6096000"/>
              <a:gd name="connsiteY68" fmla="*/ 6527791 h 6528034"/>
              <a:gd name="connsiteX69" fmla="*/ 528166 w 6096000"/>
              <a:gd name="connsiteY69" fmla="*/ 6429965 h 6528034"/>
              <a:gd name="connsiteX70" fmla="*/ 97826 w 6096000"/>
              <a:gd name="connsiteY70" fmla="*/ 5999627 h 6528034"/>
              <a:gd name="connsiteX71" fmla="*/ 2 w 6096000"/>
              <a:gd name="connsiteY71" fmla="*/ 5765813 h 6528034"/>
              <a:gd name="connsiteX72" fmla="*/ 57 w 6096000"/>
              <a:gd name="connsiteY72" fmla="*/ 5512346 h 6528034"/>
              <a:gd name="connsiteX73" fmla="*/ 67 w 6096000"/>
              <a:gd name="connsiteY73" fmla="*/ 5464670 h 6528034"/>
              <a:gd name="connsiteX74" fmla="*/ 2 w 6096000"/>
              <a:gd name="connsiteY74" fmla="*/ 5464039 h 6528034"/>
              <a:gd name="connsiteX75" fmla="*/ 7 w 6096000"/>
              <a:gd name="connsiteY75" fmla="*/ 5439119 h 6528034"/>
              <a:gd name="connsiteX76" fmla="*/ 10 w 6096000"/>
              <a:gd name="connsiteY76" fmla="*/ 5424128 h 6528034"/>
              <a:gd name="connsiteX77" fmla="*/ 0 w 6096000"/>
              <a:gd name="connsiteY77" fmla="*/ 5424029 h 6528034"/>
              <a:gd name="connsiteX78" fmla="*/ 55 w 6096000"/>
              <a:gd name="connsiteY78" fmla="*/ 5170563 h 6528034"/>
              <a:gd name="connsiteX79" fmla="*/ 66 w 6096000"/>
              <a:gd name="connsiteY79" fmla="*/ 5122889 h 6528034"/>
              <a:gd name="connsiteX80" fmla="*/ 0 w 6096000"/>
              <a:gd name="connsiteY80" fmla="*/ 5122257 h 6528034"/>
              <a:gd name="connsiteX81" fmla="*/ 103 w 6096000"/>
              <a:gd name="connsiteY81" fmla="*/ 4649702 h 6528034"/>
              <a:gd name="connsiteX82" fmla="*/ 790 w 6096000"/>
              <a:gd name="connsiteY82" fmla="*/ 4649701 h 6528034"/>
              <a:gd name="connsiteX83" fmla="*/ 1276 w 6096000"/>
              <a:gd name="connsiteY83" fmla="*/ 4649700 h 6528034"/>
              <a:gd name="connsiteX84" fmla="*/ 1277 w 6096000"/>
              <a:gd name="connsiteY84" fmla="*/ 3891898 h 6528034"/>
              <a:gd name="connsiteX85" fmla="*/ 1 w 6096000"/>
              <a:gd name="connsiteY85" fmla="*/ 3879598 h 6528034"/>
              <a:gd name="connsiteX86" fmla="*/ 70 w 6096000"/>
              <a:gd name="connsiteY86" fmla="*/ 3563023 h 6528034"/>
              <a:gd name="connsiteX87" fmla="*/ 76 w 6096000"/>
              <a:gd name="connsiteY87" fmla="*/ 3538548 h 6528034"/>
              <a:gd name="connsiteX88" fmla="*/ 0 w 6096000"/>
              <a:gd name="connsiteY88" fmla="*/ 3537818 h 6528034"/>
              <a:gd name="connsiteX89" fmla="*/ 103 w 6096000"/>
              <a:gd name="connsiteY89" fmla="*/ 3065277 h 6528034"/>
              <a:gd name="connsiteX90" fmla="*/ 791 w 6096000"/>
              <a:gd name="connsiteY90" fmla="*/ 3065276 h 6528034"/>
              <a:gd name="connsiteX91" fmla="*/ 1277 w 6096000"/>
              <a:gd name="connsiteY91" fmla="*/ 3065275 h 6528034"/>
              <a:gd name="connsiteX92" fmla="*/ 1277 w 6096000"/>
              <a:gd name="connsiteY92" fmla="*/ 2686371 h 6528034"/>
              <a:gd name="connsiteX93" fmla="*/ 2 w 6096000"/>
              <a:gd name="connsiteY93" fmla="*/ 2674072 h 6528034"/>
              <a:gd name="connsiteX94" fmla="*/ 70 w 6096000"/>
              <a:gd name="connsiteY94" fmla="*/ 2357496 h 6528034"/>
              <a:gd name="connsiteX95" fmla="*/ 75 w 6096000"/>
              <a:gd name="connsiteY95" fmla="*/ 2333023 h 6528034"/>
              <a:gd name="connsiteX96" fmla="*/ 0 w 6096000"/>
              <a:gd name="connsiteY96" fmla="*/ 2332286 h 6528034"/>
              <a:gd name="connsiteX97" fmla="*/ 102 w 6096000"/>
              <a:gd name="connsiteY97" fmla="*/ 1859734 h 6528034"/>
              <a:gd name="connsiteX98" fmla="*/ 790 w 6096000"/>
              <a:gd name="connsiteY98" fmla="*/ 1859730 h 6528034"/>
              <a:gd name="connsiteX99" fmla="*/ 1277 w 6096000"/>
              <a:gd name="connsiteY99" fmla="*/ 1859730 h 6528034"/>
              <a:gd name="connsiteX100" fmla="*/ 1277 w 6096000"/>
              <a:gd name="connsiteY100" fmla="*/ 734186 h 6528034"/>
              <a:gd name="connsiteX101" fmla="*/ 1278 w 6096000"/>
              <a:gd name="connsiteY101" fmla="*/ 734186 h 6528034"/>
              <a:gd name="connsiteX102" fmla="*/ 1278 w 6096000"/>
              <a:gd name="connsiteY102" fmla="*/ 1 h 652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6096000" h="6528034">
                <a:moveTo>
                  <a:pt x="498361" y="0"/>
                </a:moveTo>
                <a:lnTo>
                  <a:pt x="2956322" y="0"/>
                </a:lnTo>
                <a:lnTo>
                  <a:pt x="2956322" y="1"/>
                </a:lnTo>
                <a:lnTo>
                  <a:pt x="3133467" y="1"/>
                </a:lnTo>
                <a:lnTo>
                  <a:pt x="5254219" y="1"/>
                </a:lnTo>
                <a:lnTo>
                  <a:pt x="5254219" y="2612"/>
                </a:lnTo>
                <a:lnTo>
                  <a:pt x="5334022" y="2594"/>
                </a:lnTo>
                <a:cubicBezTo>
                  <a:pt x="5421676" y="3113"/>
                  <a:pt x="5505980" y="38567"/>
                  <a:pt x="5567834" y="100419"/>
                </a:cubicBezTo>
                <a:cubicBezTo>
                  <a:pt x="5567834" y="100419"/>
                  <a:pt x="5567834" y="100419"/>
                  <a:pt x="5998174" y="530758"/>
                </a:cubicBezTo>
                <a:cubicBezTo>
                  <a:pt x="6045058" y="577643"/>
                  <a:pt x="6076350" y="636415"/>
                  <a:pt x="6089287" y="699850"/>
                </a:cubicBezTo>
                <a:lnTo>
                  <a:pt x="6092847" y="734186"/>
                </a:lnTo>
                <a:lnTo>
                  <a:pt x="6094720" y="734187"/>
                </a:lnTo>
                <a:lnTo>
                  <a:pt x="6094720" y="752239"/>
                </a:lnTo>
                <a:lnTo>
                  <a:pt x="6096000" y="764572"/>
                </a:lnTo>
                <a:cubicBezTo>
                  <a:pt x="6096000" y="764572"/>
                  <a:pt x="6096000" y="764572"/>
                  <a:pt x="6095930" y="1081147"/>
                </a:cubicBezTo>
                <a:lnTo>
                  <a:pt x="6095926" y="1105640"/>
                </a:lnTo>
                <a:lnTo>
                  <a:pt x="6096000" y="1106355"/>
                </a:lnTo>
                <a:cubicBezTo>
                  <a:pt x="6096000" y="1106355"/>
                  <a:pt x="6096000" y="1106355"/>
                  <a:pt x="6095896" y="1578910"/>
                </a:cubicBezTo>
                <a:cubicBezTo>
                  <a:pt x="6095896" y="1578910"/>
                  <a:pt x="6095896" y="1578910"/>
                  <a:pt x="6095210" y="1578912"/>
                </a:cubicBezTo>
                <a:lnTo>
                  <a:pt x="6094720" y="1578914"/>
                </a:lnTo>
                <a:lnTo>
                  <a:pt x="6094720" y="1676436"/>
                </a:lnTo>
                <a:lnTo>
                  <a:pt x="6094720" y="1939724"/>
                </a:lnTo>
                <a:lnTo>
                  <a:pt x="6094720" y="1957771"/>
                </a:lnTo>
                <a:lnTo>
                  <a:pt x="6096000" y="1970105"/>
                </a:lnTo>
                <a:cubicBezTo>
                  <a:pt x="6096000" y="1970105"/>
                  <a:pt x="6096000" y="1970105"/>
                  <a:pt x="6095930" y="2286686"/>
                </a:cubicBezTo>
                <a:lnTo>
                  <a:pt x="6095926" y="2311171"/>
                </a:lnTo>
                <a:lnTo>
                  <a:pt x="6095999" y="2311888"/>
                </a:lnTo>
                <a:cubicBezTo>
                  <a:pt x="6095999" y="2311888"/>
                  <a:pt x="6095999" y="2311888"/>
                  <a:pt x="6095896" y="2784449"/>
                </a:cubicBezTo>
                <a:cubicBezTo>
                  <a:pt x="6095896" y="2784449"/>
                  <a:pt x="6095896" y="2784449"/>
                  <a:pt x="6095210" y="2784450"/>
                </a:cubicBezTo>
                <a:lnTo>
                  <a:pt x="6094720" y="2784451"/>
                </a:lnTo>
                <a:lnTo>
                  <a:pt x="6094720" y="2881981"/>
                </a:lnTo>
                <a:lnTo>
                  <a:pt x="6094720" y="3094524"/>
                </a:lnTo>
                <a:lnTo>
                  <a:pt x="6094720" y="3223754"/>
                </a:lnTo>
                <a:lnTo>
                  <a:pt x="6094720" y="3316620"/>
                </a:lnTo>
                <a:lnTo>
                  <a:pt x="6094720" y="3436291"/>
                </a:lnTo>
                <a:lnTo>
                  <a:pt x="6094720" y="3524159"/>
                </a:lnTo>
                <a:lnTo>
                  <a:pt x="6094720" y="3612822"/>
                </a:lnTo>
                <a:lnTo>
                  <a:pt x="6096000" y="3625155"/>
                </a:lnTo>
                <a:cubicBezTo>
                  <a:pt x="6096000" y="3625155"/>
                  <a:pt x="6096000" y="3625155"/>
                  <a:pt x="6095930" y="3941730"/>
                </a:cubicBezTo>
                <a:lnTo>
                  <a:pt x="6095926" y="3966224"/>
                </a:lnTo>
                <a:lnTo>
                  <a:pt x="6096000" y="3966938"/>
                </a:lnTo>
                <a:cubicBezTo>
                  <a:pt x="6096000" y="3966938"/>
                  <a:pt x="6096000" y="3966938"/>
                  <a:pt x="6095995" y="3991859"/>
                </a:cubicBezTo>
                <a:lnTo>
                  <a:pt x="6095993" y="4001046"/>
                </a:lnTo>
                <a:lnTo>
                  <a:pt x="6095999" y="4001118"/>
                </a:lnTo>
                <a:cubicBezTo>
                  <a:pt x="6095999" y="4001118"/>
                  <a:pt x="6095999" y="4001118"/>
                  <a:pt x="6095930" y="4317694"/>
                </a:cubicBezTo>
                <a:lnTo>
                  <a:pt x="6095926" y="4342186"/>
                </a:lnTo>
                <a:lnTo>
                  <a:pt x="6096000" y="4342902"/>
                </a:lnTo>
                <a:cubicBezTo>
                  <a:pt x="6096000" y="4342902"/>
                  <a:pt x="6096000" y="4342902"/>
                  <a:pt x="6095896" y="4815458"/>
                </a:cubicBezTo>
                <a:cubicBezTo>
                  <a:pt x="6095896" y="4815458"/>
                  <a:pt x="6095896" y="4815458"/>
                  <a:pt x="6095209" y="4815459"/>
                </a:cubicBezTo>
                <a:lnTo>
                  <a:pt x="6094720" y="4815459"/>
                </a:lnTo>
                <a:lnTo>
                  <a:pt x="6094720" y="4901060"/>
                </a:lnTo>
                <a:lnTo>
                  <a:pt x="6094720" y="5109958"/>
                </a:lnTo>
                <a:lnTo>
                  <a:pt x="6094720" y="5202832"/>
                </a:lnTo>
                <a:lnTo>
                  <a:pt x="6094720" y="5242844"/>
                </a:lnTo>
                <a:lnTo>
                  <a:pt x="6094720" y="5544616"/>
                </a:lnTo>
                <a:lnTo>
                  <a:pt x="6094720" y="5884479"/>
                </a:lnTo>
                <a:lnTo>
                  <a:pt x="6094720" y="6186250"/>
                </a:lnTo>
                <a:lnTo>
                  <a:pt x="6094720" y="6226262"/>
                </a:lnTo>
                <a:lnTo>
                  <a:pt x="6094720" y="6528034"/>
                </a:lnTo>
                <a:lnTo>
                  <a:pt x="5774783" y="6528034"/>
                </a:lnTo>
                <a:lnTo>
                  <a:pt x="5597638" y="6528034"/>
                </a:lnTo>
                <a:lnTo>
                  <a:pt x="3636760" y="6528034"/>
                </a:lnTo>
                <a:lnTo>
                  <a:pt x="3459615" y="6528034"/>
                </a:lnTo>
                <a:lnTo>
                  <a:pt x="3139677" y="6528034"/>
                </a:lnTo>
                <a:lnTo>
                  <a:pt x="3139677" y="6528032"/>
                </a:lnTo>
                <a:lnTo>
                  <a:pt x="2962532" y="6528032"/>
                </a:lnTo>
                <a:lnTo>
                  <a:pt x="841782" y="6528032"/>
                </a:lnTo>
                <a:lnTo>
                  <a:pt x="841782" y="6527773"/>
                </a:lnTo>
                <a:lnTo>
                  <a:pt x="761978" y="6527791"/>
                </a:lnTo>
                <a:cubicBezTo>
                  <a:pt x="674323" y="6527273"/>
                  <a:pt x="590019" y="6491819"/>
                  <a:pt x="528166" y="6429965"/>
                </a:cubicBezTo>
                <a:cubicBezTo>
                  <a:pt x="528166" y="6429965"/>
                  <a:pt x="528166" y="6429965"/>
                  <a:pt x="97826" y="5999627"/>
                </a:cubicBezTo>
                <a:cubicBezTo>
                  <a:pt x="35315" y="5937116"/>
                  <a:pt x="519" y="5853470"/>
                  <a:pt x="2" y="5765813"/>
                </a:cubicBezTo>
                <a:cubicBezTo>
                  <a:pt x="2" y="5765813"/>
                  <a:pt x="2" y="5765813"/>
                  <a:pt x="57" y="5512346"/>
                </a:cubicBezTo>
                <a:lnTo>
                  <a:pt x="67" y="5464670"/>
                </a:lnTo>
                <a:lnTo>
                  <a:pt x="2" y="5464039"/>
                </a:lnTo>
                <a:cubicBezTo>
                  <a:pt x="2" y="5464039"/>
                  <a:pt x="2" y="5464039"/>
                  <a:pt x="7" y="5439119"/>
                </a:cubicBezTo>
                <a:lnTo>
                  <a:pt x="10" y="5424128"/>
                </a:lnTo>
                <a:lnTo>
                  <a:pt x="0" y="5424029"/>
                </a:lnTo>
                <a:cubicBezTo>
                  <a:pt x="0" y="5424029"/>
                  <a:pt x="0" y="5424029"/>
                  <a:pt x="55" y="5170563"/>
                </a:cubicBezTo>
                <a:lnTo>
                  <a:pt x="66" y="5122889"/>
                </a:lnTo>
                <a:lnTo>
                  <a:pt x="0" y="5122257"/>
                </a:lnTo>
                <a:cubicBezTo>
                  <a:pt x="0" y="5122257"/>
                  <a:pt x="0" y="5122257"/>
                  <a:pt x="103" y="4649702"/>
                </a:cubicBezTo>
                <a:cubicBezTo>
                  <a:pt x="103" y="4649702"/>
                  <a:pt x="103" y="4649702"/>
                  <a:pt x="790" y="4649701"/>
                </a:cubicBezTo>
                <a:lnTo>
                  <a:pt x="1276" y="4649700"/>
                </a:lnTo>
                <a:lnTo>
                  <a:pt x="1277" y="3891898"/>
                </a:lnTo>
                <a:lnTo>
                  <a:pt x="1" y="3879598"/>
                </a:lnTo>
                <a:cubicBezTo>
                  <a:pt x="1" y="3879598"/>
                  <a:pt x="1" y="3879598"/>
                  <a:pt x="70" y="3563023"/>
                </a:cubicBezTo>
                <a:lnTo>
                  <a:pt x="76" y="3538548"/>
                </a:lnTo>
                <a:lnTo>
                  <a:pt x="0" y="3537818"/>
                </a:lnTo>
                <a:cubicBezTo>
                  <a:pt x="0" y="3537818"/>
                  <a:pt x="0" y="3537818"/>
                  <a:pt x="103" y="3065277"/>
                </a:cubicBezTo>
                <a:cubicBezTo>
                  <a:pt x="103" y="3065277"/>
                  <a:pt x="103" y="3065277"/>
                  <a:pt x="791" y="3065276"/>
                </a:cubicBezTo>
                <a:lnTo>
                  <a:pt x="1277" y="3065275"/>
                </a:lnTo>
                <a:lnTo>
                  <a:pt x="1277" y="2686371"/>
                </a:lnTo>
                <a:lnTo>
                  <a:pt x="2" y="2674072"/>
                </a:lnTo>
                <a:cubicBezTo>
                  <a:pt x="2" y="2674072"/>
                  <a:pt x="2" y="2674072"/>
                  <a:pt x="70" y="2357496"/>
                </a:cubicBezTo>
                <a:lnTo>
                  <a:pt x="75" y="2333023"/>
                </a:lnTo>
                <a:lnTo>
                  <a:pt x="0" y="2332286"/>
                </a:lnTo>
                <a:cubicBezTo>
                  <a:pt x="0" y="2332286"/>
                  <a:pt x="0" y="2332286"/>
                  <a:pt x="102" y="1859734"/>
                </a:cubicBezTo>
                <a:cubicBezTo>
                  <a:pt x="102" y="1859734"/>
                  <a:pt x="102" y="1859734"/>
                  <a:pt x="790" y="1859730"/>
                </a:cubicBezTo>
                <a:lnTo>
                  <a:pt x="1277" y="1859730"/>
                </a:lnTo>
                <a:lnTo>
                  <a:pt x="1277" y="734186"/>
                </a:lnTo>
                <a:lnTo>
                  <a:pt x="1278" y="734186"/>
                </a:lnTo>
                <a:lnTo>
                  <a:pt x="1278" y="1"/>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Title 1">
            <a:extLst>
              <a:ext uri="{FF2B5EF4-FFF2-40B4-BE49-F238E27FC236}">
                <a16:creationId xmlns:a16="http://schemas.microsoft.com/office/drawing/2014/main" id="{99929713-92BF-C5AE-255B-E700DC18B264}"/>
              </a:ext>
            </a:extLst>
          </p:cNvPr>
          <p:cNvSpPr>
            <a:spLocks noGrp="1"/>
          </p:cNvSpPr>
          <p:nvPr>
            <p:ph type="title"/>
          </p:nvPr>
        </p:nvSpPr>
        <p:spPr>
          <a:xfrm>
            <a:off x="493713" y="579438"/>
            <a:ext cx="5113896" cy="792162"/>
          </a:xfrm>
        </p:spPr>
        <p:txBody>
          <a:bodyPr>
            <a:noAutofit/>
          </a:bodyPr>
          <a:lstStyle>
            <a:lvl1pPr>
              <a:lnSpc>
                <a:spcPct val="85000"/>
              </a:lnSpc>
              <a:defRPr>
                <a:solidFill>
                  <a:schemeClr val="bg1"/>
                </a:solidFill>
              </a:defRPr>
            </a:lvl1pPr>
          </a:lstStyle>
          <a:p>
            <a:r>
              <a:rPr lang="en-US"/>
              <a:t>Click to edit Master title style</a:t>
            </a:r>
          </a:p>
        </p:txBody>
      </p:sp>
      <p:sp>
        <p:nvSpPr>
          <p:cNvPr id="5" name="Text Placeholder 12">
            <a:extLst>
              <a:ext uri="{FF2B5EF4-FFF2-40B4-BE49-F238E27FC236}">
                <a16:creationId xmlns:a16="http://schemas.microsoft.com/office/drawing/2014/main" id="{920AE283-D579-E34E-7789-64765852C9CF}"/>
              </a:ext>
            </a:extLst>
          </p:cNvPr>
          <p:cNvSpPr>
            <a:spLocks noGrp="1"/>
          </p:cNvSpPr>
          <p:nvPr>
            <p:ph type="body" sz="quarter" idx="14"/>
          </p:nvPr>
        </p:nvSpPr>
        <p:spPr>
          <a:xfrm>
            <a:off x="6567257" y="1382889"/>
            <a:ext cx="5131359" cy="336374"/>
          </a:xfrm>
        </p:spPr>
        <p:txBody>
          <a:bodyPr>
            <a:noAutofit/>
          </a:bodyPr>
          <a:lstStyle>
            <a:lvl1pPr marL="0" indent="0">
              <a:buNone/>
              <a:defRPr sz="2100">
                <a:solidFill>
                  <a:schemeClr val="tx1"/>
                </a:solidFill>
              </a:defRPr>
            </a:lvl1pPr>
          </a:lstStyle>
          <a:p>
            <a:pPr lvl="0"/>
            <a:r>
              <a:rPr lang="en-US"/>
              <a:t>Click to edit Master text styles</a:t>
            </a:r>
          </a:p>
        </p:txBody>
      </p:sp>
      <p:sp>
        <p:nvSpPr>
          <p:cNvPr id="9" name="Subtitle 2">
            <a:extLst>
              <a:ext uri="{FF2B5EF4-FFF2-40B4-BE49-F238E27FC236}">
                <a16:creationId xmlns:a16="http://schemas.microsoft.com/office/drawing/2014/main" id="{913D57F8-6390-CDE9-60EB-FC8B8483AA89}"/>
              </a:ext>
            </a:extLst>
          </p:cNvPr>
          <p:cNvSpPr>
            <a:spLocks noGrp="1"/>
          </p:cNvSpPr>
          <p:nvPr>
            <p:ph type="subTitle" idx="1"/>
          </p:nvPr>
        </p:nvSpPr>
        <p:spPr>
          <a:xfrm>
            <a:off x="493712" y="1371600"/>
            <a:ext cx="5113897" cy="347663"/>
          </a:xfrm>
        </p:spPr>
        <p:txBody>
          <a:bodyPr>
            <a:noAutofit/>
          </a:bodyPr>
          <a:lstStyle>
            <a:lvl1pPr marL="0" indent="0" algn="l">
              <a:buNone/>
              <a:defRPr sz="21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ext Placeholder 11">
            <a:extLst>
              <a:ext uri="{FF2B5EF4-FFF2-40B4-BE49-F238E27FC236}">
                <a16:creationId xmlns:a16="http://schemas.microsoft.com/office/drawing/2014/main" id="{FF517ECE-082F-3056-AFD9-60411B053E86}"/>
              </a:ext>
            </a:extLst>
          </p:cNvPr>
          <p:cNvSpPr>
            <a:spLocks noGrp="1"/>
          </p:cNvSpPr>
          <p:nvPr>
            <p:ph type="body" sz="quarter" idx="16"/>
          </p:nvPr>
        </p:nvSpPr>
        <p:spPr>
          <a:xfrm>
            <a:off x="6572250" y="579439"/>
            <a:ext cx="5126365" cy="792162"/>
          </a:xfrm>
        </p:spPr>
        <p:txBody>
          <a:bodyPr anchor="b">
            <a:noAutofit/>
          </a:bodyPr>
          <a:lstStyle>
            <a:lvl1pPr marL="0" indent="0">
              <a:lnSpc>
                <a:spcPct val="85000"/>
              </a:lnSpc>
              <a:buNone/>
              <a:defRPr sz="3400">
                <a:solidFill>
                  <a:schemeClr val="tx1"/>
                </a:solidFill>
                <a:latin typeface="+mn-lt"/>
              </a:defRPr>
            </a:lvl1pPr>
          </a:lstStyle>
          <a:p>
            <a:pPr lvl="0"/>
            <a:r>
              <a:rPr lang="en-US"/>
              <a:t>Click to edit Master text styles</a:t>
            </a:r>
          </a:p>
        </p:txBody>
      </p:sp>
      <p:sp>
        <p:nvSpPr>
          <p:cNvPr id="8" name="Footer Placeholder 66">
            <a:extLst>
              <a:ext uri="{FF2B5EF4-FFF2-40B4-BE49-F238E27FC236}">
                <a16:creationId xmlns:a16="http://schemas.microsoft.com/office/drawing/2014/main" id="{C84DD61B-4070-C209-5ED2-587D11C44E6E}"/>
              </a:ext>
            </a:extLst>
          </p:cNvPr>
          <p:cNvSpPr>
            <a:spLocks noGrp="1"/>
          </p:cNvSpPr>
          <p:nvPr>
            <p:ph type="ftr" sz="quarter" idx="3"/>
          </p:nvPr>
        </p:nvSpPr>
        <p:spPr>
          <a:xfrm>
            <a:off x="493290" y="6405456"/>
            <a:ext cx="5124874" cy="107722"/>
          </a:xfrm>
          <a:prstGeom prst="rect">
            <a:avLst/>
          </a:prstGeom>
        </p:spPr>
        <p:txBody>
          <a:bodyPr vert="horz" lIns="0" tIns="0" rIns="0" bIns="0" rtlCol="0" anchor="b"/>
          <a:lstStyle>
            <a:lvl1pPr algn="l">
              <a:defRPr sz="700">
                <a:solidFill>
                  <a:schemeClr val="bg1"/>
                </a:solidFill>
              </a:defRPr>
            </a:lvl1pPr>
          </a:lstStyle>
          <a:p>
            <a:endParaRPr lang="en-US"/>
          </a:p>
        </p:txBody>
      </p:sp>
      <p:sp>
        <p:nvSpPr>
          <p:cNvPr id="2" name="Content Placeholder 18">
            <a:extLst>
              <a:ext uri="{FF2B5EF4-FFF2-40B4-BE49-F238E27FC236}">
                <a16:creationId xmlns:a16="http://schemas.microsoft.com/office/drawing/2014/main" id="{F582D2F8-1181-5FCC-997C-48991667BBB5}"/>
              </a:ext>
            </a:extLst>
          </p:cNvPr>
          <p:cNvSpPr>
            <a:spLocks noGrp="1"/>
          </p:cNvSpPr>
          <p:nvPr>
            <p:ph sz="quarter" idx="10"/>
          </p:nvPr>
        </p:nvSpPr>
        <p:spPr>
          <a:xfrm>
            <a:off x="493288" y="2397125"/>
            <a:ext cx="5124876" cy="3771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8">
            <a:extLst>
              <a:ext uri="{FF2B5EF4-FFF2-40B4-BE49-F238E27FC236}">
                <a16:creationId xmlns:a16="http://schemas.microsoft.com/office/drawing/2014/main" id="{101158F9-1BE5-6CCB-9F66-3D2F595BCE66}"/>
              </a:ext>
            </a:extLst>
          </p:cNvPr>
          <p:cNvSpPr>
            <a:spLocks noGrp="1"/>
          </p:cNvSpPr>
          <p:nvPr>
            <p:ph sz="quarter" idx="11"/>
          </p:nvPr>
        </p:nvSpPr>
        <p:spPr>
          <a:xfrm>
            <a:off x="6574140" y="2394727"/>
            <a:ext cx="5124475" cy="37719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59D19012-2F00-B026-AF1B-C0B1AAA46A1C}"/>
              </a:ext>
            </a:extLst>
          </p:cNvPr>
          <p:cNvSpPr txBox="1"/>
          <p:nvPr userDrawn="1"/>
        </p:nvSpPr>
        <p:spPr>
          <a:xfrm>
            <a:off x="493288" y="6562481"/>
            <a:ext cx="5293842" cy="107722"/>
          </a:xfrm>
          <a:prstGeom prst="rect">
            <a:avLst/>
          </a:prstGeom>
          <a:noFill/>
        </p:spPr>
        <p:txBody>
          <a:bodyPr wrap="square" lIns="0" tIns="0" rIns="0" bIns="0">
            <a:spAutoFit/>
          </a:bodyPr>
          <a:lstStyle/>
          <a:p>
            <a:r>
              <a:rPr lang="en-US" sz="700">
                <a:solidFill>
                  <a:schemeClr val="bg1"/>
                </a:solidFill>
              </a:rPr>
              <a:t>© 2024 Veeam Software. Confidential information. All rights reserved. All trademarks are the property of their respective owners. </a:t>
            </a:r>
          </a:p>
        </p:txBody>
      </p:sp>
    </p:spTree>
    <p:extLst>
      <p:ext uri="{BB962C8B-B14F-4D97-AF65-F5344CB8AC3E}">
        <p14:creationId xmlns:p14="http://schemas.microsoft.com/office/powerpoint/2010/main" val="21966691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hree Column Viridi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14A960-1966-68C3-41FC-594A6B88CA23}"/>
              </a:ext>
            </a:extLst>
          </p:cNvPr>
          <p:cNvSpPr>
            <a:spLocks noGrp="1"/>
          </p:cNvSpPr>
          <p:nvPr>
            <p:ph type="title"/>
          </p:nvPr>
        </p:nvSpPr>
        <p:spPr/>
        <p:txBody>
          <a:bodyPr anchor="t"/>
          <a:lstStyle/>
          <a:p>
            <a:r>
              <a:rPr lang="en-US"/>
              <a:t>Click to edit Master title style</a:t>
            </a:r>
          </a:p>
        </p:txBody>
      </p:sp>
      <p:sp>
        <p:nvSpPr>
          <p:cNvPr id="3" name="Footer Placeholder 2">
            <a:extLst>
              <a:ext uri="{FF2B5EF4-FFF2-40B4-BE49-F238E27FC236}">
                <a16:creationId xmlns:a16="http://schemas.microsoft.com/office/drawing/2014/main" id="{82B7DAF8-F6A7-6F6B-9B22-E657CE551EDD}"/>
              </a:ext>
            </a:extLst>
          </p:cNvPr>
          <p:cNvSpPr>
            <a:spLocks noGrp="1"/>
          </p:cNvSpPr>
          <p:nvPr>
            <p:ph type="ftr" sz="quarter" idx="10"/>
          </p:nvPr>
        </p:nvSpPr>
        <p:spPr/>
        <p:txBody>
          <a:bodyPr/>
          <a:lstStyle/>
          <a:p>
            <a:endParaRPr lang="en-US"/>
          </a:p>
        </p:txBody>
      </p:sp>
      <p:sp>
        <p:nvSpPr>
          <p:cNvPr id="4" name="Subtitle 2">
            <a:extLst>
              <a:ext uri="{FF2B5EF4-FFF2-40B4-BE49-F238E27FC236}">
                <a16:creationId xmlns:a16="http://schemas.microsoft.com/office/drawing/2014/main" id="{CA6EE310-36F5-327E-169C-29E8787C9A0A}"/>
              </a:ext>
            </a:extLst>
          </p:cNvPr>
          <p:cNvSpPr>
            <a:spLocks noGrp="1"/>
          </p:cNvSpPr>
          <p:nvPr>
            <p:ph type="subTitle" idx="1"/>
          </p:nvPr>
        </p:nvSpPr>
        <p:spPr>
          <a:xfrm>
            <a:off x="502179" y="1032607"/>
            <a:ext cx="11194511" cy="338993"/>
          </a:xfrm>
        </p:spPr>
        <p:txBody>
          <a:bodyPr anchor="t"/>
          <a:lstStyle>
            <a:lvl1pPr marL="0" indent="0" algn="l">
              <a:buNone/>
              <a:defRPr sz="21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5" name="Graphic 4">
            <a:extLst>
              <a:ext uri="{FF2B5EF4-FFF2-40B4-BE49-F238E27FC236}">
                <a16:creationId xmlns:a16="http://schemas.microsoft.com/office/drawing/2014/main" id="{19285CE7-3927-599A-7699-572E402D01B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84812" y="2035495"/>
            <a:ext cx="3535902" cy="3411523"/>
          </a:xfrm>
          <a:prstGeom prst="rect">
            <a:avLst/>
          </a:prstGeom>
        </p:spPr>
      </p:pic>
      <p:pic>
        <p:nvPicPr>
          <p:cNvPr id="6" name="Graphic 5">
            <a:extLst>
              <a:ext uri="{FF2B5EF4-FFF2-40B4-BE49-F238E27FC236}">
                <a16:creationId xmlns:a16="http://schemas.microsoft.com/office/drawing/2014/main" id="{C22752F3-A11D-F3CE-9C28-1AC0B9FF73E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22800" y="2035495"/>
            <a:ext cx="3535902" cy="3411523"/>
          </a:xfrm>
          <a:prstGeom prst="rect">
            <a:avLst/>
          </a:prstGeom>
        </p:spPr>
      </p:pic>
      <p:pic>
        <p:nvPicPr>
          <p:cNvPr id="7" name="Graphic 6">
            <a:extLst>
              <a:ext uri="{FF2B5EF4-FFF2-40B4-BE49-F238E27FC236}">
                <a16:creationId xmlns:a16="http://schemas.microsoft.com/office/drawing/2014/main" id="{8C1BD4B2-786C-28F8-387F-E3BBF4BE8E3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60788" y="2035495"/>
            <a:ext cx="3535902" cy="3411523"/>
          </a:xfrm>
          <a:prstGeom prst="rect">
            <a:avLst/>
          </a:prstGeom>
        </p:spPr>
      </p:pic>
      <p:sp>
        <p:nvSpPr>
          <p:cNvPr id="10" name="Content Placeholder 18">
            <a:extLst>
              <a:ext uri="{FF2B5EF4-FFF2-40B4-BE49-F238E27FC236}">
                <a16:creationId xmlns:a16="http://schemas.microsoft.com/office/drawing/2014/main" id="{689A8D44-0CC8-383B-B4E2-AA3D6981A75D}"/>
              </a:ext>
            </a:extLst>
          </p:cNvPr>
          <p:cNvSpPr>
            <a:spLocks noGrp="1"/>
          </p:cNvSpPr>
          <p:nvPr>
            <p:ph sz="quarter" idx="11"/>
          </p:nvPr>
        </p:nvSpPr>
        <p:spPr>
          <a:xfrm>
            <a:off x="689907" y="2168278"/>
            <a:ext cx="3148384" cy="3019242"/>
          </a:xfrm>
        </p:spPr>
        <p:txBody>
          <a:bodyPr/>
          <a:lstStyle>
            <a:lvl1pPr>
              <a:defRPr>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8">
            <a:extLst>
              <a:ext uri="{FF2B5EF4-FFF2-40B4-BE49-F238E27FC236}">
                <a16:creationId xmlns:a16="http://schemas.microsoft.com/office/drawing/2014/main" id="{02D6D283-8AC2-EB13-B516-0E2D9E4CBBF4}"/>
              </a:ext>
            </a:extLst>
          </p:cNvPr>
          <p:cNvSpPr>
            <a:spLocks noGrp="1"/>
          </p:cNvSpPr>
          <p:nvPr>
            <p:ph sz="quarter" idx="12"/>
          </p:nvPr>
        </p:nvSpPr>
        <p:spPr>
          <a:xfrm>
            <a:off x="4505094" y="2168278"/>
            <a:ext cx="3148384" cy="3019242"/>
          </a:xfrm>
        </p:spPr>
        <p:txBody>
          <a:bodyPr/>
          <a:lstStyle>
            <a:lvl1pPr>
              <a:defRPr>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8">
            <a:extLst>
              <a:ext uri="{FF2B5EF4-FFF2-40B4-BE49-F238E27FC236}">
                <a16:creationId xmlns:a16="http://schemas.microsoft.com/office/drawing/2014/main" id="{244EC714-C35F-5891-DA25-0E04F73FDC6B}"/>
              </a:ext>
            </a:extLst>
          </p:cNvPr>
          <p:cNvSpPr>
            <a:spLocks noGrp="1"/>
          </p:cNvSpPr>
          <p:nvPr>
            <p:ph sz="quarter" idx="13"/>
          </p:nvPr>
        </p:nvSpPr>
        <p:spPr>
          <a:xfrm>
            <a:off x="8320281" y="2171485"/>
            <a:ext cx="3148384" cy="3019242"/>
          </a:xfrm>
        </p:spPr>
        <p:txBody>
          <a:bodyPr/>
          <a:lstStyle>
            <a:lvl1pPr>
              <a:defRPr>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625144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Column Sk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14A960-1966-68C3-41FC-594A6B88CA23}"/>
              </a:ext>
            </a:extLst>
          </p:cNvPr>
          <p:cNvSpPr>
            <a:spLocks noGrp="1"/>
          </p:cNvSpPr>
          <p:nvPr>
            <p:ph type="title"/>
          </p:nvPr>
        </p:nvSpPr>
        <p:spPr/>
        <p:txBody>
          <a:bodyPr anchor="t"/>
          <a:lstStyle/>
          <a:p>
            <a:r>
              <a:rPr lang="en-US"/>
              <a:t>Click to edit Master title style</a:t>
            </a:r>
          </a:p>
        </p:txBody>
      </p:sp>
      <p:sp>
        <p:nvSpPr>
          <p:cNvPr id="3" name="Footer Placeholder 2">
            <a:extLst>
              <a:ext uri="{FF2B5EF4-FFF2-40B4-BE49-F238E27FC236}">
                <a16:creationId xmlns:a16="http://schemas.microsoft.com/office/drawing/2014/main" id="{82B7DAF8-F6A7-6F6B-9B22-E657CE551EDD}"/>
              </a:ext>
            </a:extLst>
          </p:cNvPr>
          <p:cNvSpPr>
            <a:spLocks noGrp="1"/>
          </p:cNvSpPr>
          <p:nvPr>
            <p:ph type="ftr" sz="quarter" idx="10"/>
          </p:nvPr>
        </p:nvSpPr>
        <p:spPr/>
        <p:txBody>
          <a:bodyPr/>
          <a:lstStyle/>
          <a:p>
            <a:endParaRPr lang="en-US"/>
          </a:p>
        </p:txBody>
      </p:sp>
      <p:sp>
        <p:nvSpPr>
          <p:cNvPr id="4" name="Subtitle 2">
            <a:extLst>
              <a:ext uri="{FF2B5EF4-FFF2-40B4-BE49-F238E27FC236}">
                <a16:creationId xmlns:a16="http://schemas.microsoft.com/office/drawing/2014/main" id="{CA6EE310-36F5-327E-169C-29E8787C9A0A}"/>
              </a:ext>
            </a:extLst>
          </p:cNvPr>
          <p:cNvSpPr>
            <a:spLocks noGrp="1"/>
          </p:cNvSpPr>
          <p:nvPr>
            <p:ph type="subTitle" idx="1"/>
          </p:nvPr>
        </p:nvSpPr>
        <p:spPr>
          <a:xfrm>
            <a:off x="502179" y="1032607"/>
            <a:ext cx="11194511" cy="338993"/>
          </a:xfrm>
        </p:spPr>
        <p:txBody>
          <a:bodyPr anchor="t"/>
          <a:lstStyle>
            <a:lvl1pPr marL="0" indent="0" algn="l">
              <a:buNone/>
              <a:defRPr sz="2100">
                <a:solidFill>
                  <a:schemeClr val="tx1"/>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5" name="Graphic 4">
            <a:extLst>
              <a:ext uri="{FF2B5EF4-FFF2-40B4-BE49-F238E27FC236}">
                <a16:creationId xmlns:a16="http://schemas.microsoft.com/office/drawing/2014/main" id="{19285CE7-3927-599A-7699-572E402D01B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84812" y="2035495"/>
            <a:ext cx="3535902" cy="3411523"/>
          </a:xfrm>
          <a:prstGeom prst="rect">
            <a:avLst/>
          </a:prstGeom>
        </p:spPr>
      </p:pic>
      <p:pic>
        <p:nvPicPr>
          <p:cNvPr id="6" name="Graphic 5">
            <a:extLst>
              <a:ext uri="{FF2B5EF4-FFF2-40B4-BE49-F238E27FC236}">
                <a16:creationId xmlns:a16="http://schemas.microsoft.com/office/drawing/2014/main" id="{C22752F3-A11D-F3CE-9C28-1AC0B9FF73E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22800" y="2035495"/>
            <a:ext cx="3535902" cy="3411523"/>
          </a:xfrm>
          <a:prstGeom prst="rect">
            <a:avLst/>
          </a:prstGeom>
        </p:spPr>
      </p:pic>
      <p:pic>
        <p:nvPicPr>
          <p:cNvPr id="7" name="Graphic 6">
            <a:extLst>
              <a:ext uri="{FF2B5EF4-FFF2-40B4-BE49-F238E27FC236}">
                <a16:creationId xmlns:a16="http://schemas.microsoft.com/office/drawing/2014/main" id="{8C1BD4B2-786C-28F8-387F-E3BBF4BE8E3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60788" y="2035495"/>
            <a:ext cx="3535902" cy="3411523"/>
          </a:xfrm>
          <a:prstGeom prst="rect">
            <a:avLst/>
          </a:prstGeom>
        </p:spPr>
      </p:pic>
      <p:sp>
        <p:nvSpPr>
          <p:cNvPr id="8" name="Content Placeholder 18">
            <a:extLst>
              <a:ext uri="{FF2B5EF4-FFF2-40B4-BE49-F238E27FC236}">
                <a16:creationId xmlns:a16="http://schemas.microsoft.com/office/drawing/2014/main" id="{46F69A0D-6F2A-EA6C-9086-16E4926EB2D4}"/>
              </a:ext>
            </a:extLst>
          </p:cNvPr>
          <p:cNvSpPr>
            <a:spLocks noGrp="1"/>
          </p:cNvSpPr>
          <p:nvPr>
            <p:ph sz="quarter" idx="11"/>
          </p:nvPr>
        </p:nvSpPr>
        <p:spPr>
          <a:xfrm>
            <a:off x="689907" y="2168278"/>
            <a:ext cx="3148384" cy="3019242"/>
          </a:xfrm>
        </p:spPr>
        <p:txBody>
          <a:bodyPr/>
          <a:lstStyle>
            <a:lvl1pPr>
              <a:defRPr>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18">
            <a:extLst>
              <a:ext uri="{FF2B5EF4-FFF2-40B4-BE49-F238E27FC236}">
                <a16:creationId xmlns:a16="http://schemas.microsoft.com/office/drawing/2014/main" id="{FF6A031D-CFD1-BBB2-DFB6-D1E2FF1BE0C6}"/>
              </a:ext>
            </a:extLst>
          </p:cNvPr>
          <p:cNvSpPr>
            <a:spLocks noGrp="1"/>
          </p:cNvSpPr>
          <p:nvPr>
            <p:ph sz="quarter" idx="12"/>
          </p:nvPr>
        </p:nvSpPr>
        <p:spPr>
          <a:xfrm>
            <a:off x="4505094" y="2168278"/>
            <a:ext cx="3148384" cy="3019242"/>
          </a:xfrm>
        </p:spPr>
        <p:txBody>
          <a:bodyPr/>
          <a:lstStyle>
            <a:lvl1pPr>
              <a:defRPr>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8">
            <a:extLst>
              <a:ext uri="{FF2B5EF4-FFF2-40B4-BE49-F238E27FC236}">
                <a16:creationId xmlns:a16="http://schemas.microsoft.com/office/drawing/2014/main" id="{A7DB65BB-7E9A-514E-F900-7E7DC684E013}"/>
              </a:ext>
            </a:extLst>
          </p:cNvPr>
          <p:cNvSpPr>
            <a:spLocks noGrp="1"/>
          </p:cNvSpPr>
          <p:nvPr>
            <p:ph sz="quarter" idx="13"/>
          </p:nvPr>
        </p:nvSpPr>
        <p:spPr>
          <a:xfrm>
            <a:off x="8320281" y="2171485"/>
            <a:ext cx="3148384" cy="3019242"/>
          </a:xfrm>
        </p:spPr>
        <p:txBody>
          <a:bodyPr/>
          <a:lstStyle>
            <a:lvl1pPr>
              <a:defRPr>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78315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Viridis Alternate">
    <p:bg>
      <p:bgPr>
        <a:solidFill>
          <a:schemeClr val="bg1"/>
        </a:solidFill>
        <a:effectLst/>
      </p:bgPr>
    </p:bg>
    <p:spTree>
      <p:nvGrpSpPr>
        <p:cNvPr id="1" name=""/>
        <p:cNvGrpSpPr/>
        <p:nvPr/>
      </p:nvGrpSpPr>
      <p:grpSpPr>
        <a:xfrm>
          <a:off x="0" y="0"/>
          <a:ext cx="0" cy="0"/>
          <a:chOff x="0" y="0"/>
          <a:chExt cx="0" cy="0"/>
        </a:xfrm>
      </p:grpSpPr>
      <p:pic>
        <p:nvPicPr>
          <p:cNvPr id="17" name="Picture 16" descr="A green and white background&#10;&#10;Description automatically generated">
            <a:extLst>
              <a:ext uri="{FF2B5EF4-FFF2-40B4-BE49-F238E27FC236}">
                <a16:creationId xmlns:a16="http://schemas.microsoft.com/office/drawing/2014/main" id="{D9D8ABDB-B374-C08D-1423-39142E878E3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1974"/>
            <a:ext cx="6094100" cy="6856026"/>
          </a:xfrm>
          <a:prstGeom prst="rect">
            <a:avLst/>
          </a:prstGeom>
        </p:spPr>
      </p:pic>
      <p:sp>
        <p:nvSpPr>
          <p:cNvPr id="3" name="Freeform: Shape 2">
            <a:extLst>
              <a:ext uri="{FF2B5EF4-FFF2-40B4-BE49-F238E27FC236}">
                <a16:creationId xmlns:a16="http://schemas.microsoft.com/office/drawing/2014/main" id="{BBB3BB04-8588-C354-A750-0AAF31C9C662}"/>
              </a:ext>
            </a:extLst>
          </p:cNvPr>
          <p:cNvSpPr/>
          <p:nvPr userDrawn="1"/>
        </p:nvSpPr>
        <p:spPr>
          <a:xfrm>
            <a:off x="29206" y="745835"/>
            <a:ext cx="6064893" cy="5083465"/>
          </a:xfrm>
          <a:custGeom>
            <a:avLst/>
            <a:gdLst>
              <a:gd name="connsiteX0" fmla="*/ 6064893 w 6064893"/>
              <a:gd name="connsiteY0" fmla="*/ 0 h 5083465"/>
              <a:gd name="connsiteX1" fmla="*/ 6064893 w 6064893"/>
              <a:gd name="connsiteY1" fmla="*/ 4776654 h 5083465"/>
              <a:gd name="connsiteX2" fmla="*/ 5967498 w 6064893"/>
              <a:gd name="connsiteY2" fmla="*/ 4823056 h 5083465"/>
              <a:gd name="connsiteX3" fmla="*/ 4681218 w 6064893"/>
              <a:gd name="connsiteY3" fmla="*/ 5083465 h 5083465"/>
              <a:gd name="connsiteX4" fmla="*/ 198047 w 6064893"/>
              <a:gd name="connsiteY4" fmla="*/ 5083465 h 5083465"/>
              <a:gd name="connsiteX5" fmla="*/ 0 w 6064893"/>
              <a:gd name="connsiteY5" fmla="*/ 5083465 h 5083465"/>
              <a:gd name="connsiteX6" fmla="*/ 0 w 6064893"/>
              <a:gd name="connsiteY6" fmla="*/ 2967980 h 5083465"/>
              <a:gd name="connsiteX7" fmla="*/ 1065730 w 6064893"/>
              <a:gd name="connsiteY7" fmla="*/ 4033627 h 5083465"/>
              <a:gd name="connsiteX8" fmla="*/ 2030950 w 6064893"/>
              <a:gd name="connsiteY8" fmla="*/ 4033627 h 5083465"/>
              <a:gd name="connsiteX9" fmla="*/ 5962373 w 6064893"/>
              <a:gd name="connsiteY9" fmla="*/ 102511 h 508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64893" h="5083465">
                <a:moveTo>
                  <a:pt x="6064893" y="0"/>
                </a:moveTo>
                <a:lnTo>
                  <a:pt x="6064893" y="4776654"/>
                </a:lnTo>
                <a:lnTo>
                  <a:pt x="5967498" y="4823056"/>
                </a:lnTo>
                <a:cubicBezTo>
                  <a:pt x="5560551" y="4993245"/>
                  <a:pt x="5122930" y="5083465"/>
                  <a:pt x="4681218" y="5083465"/>
                </a:cubicBezTo>
                <a:cubicBezTo>
                  <a:pt x="2532988" y="5083465"/>
                  <a:pt x="1123212" y="5083465"/>
                  <a:pt x="198047" y="5083465"/>
                </a:cubicBezTo>
                <a:lnTo>
                  <a:pt x="0" y="5083465"/>
                </a:lnTo>
                <a:lnTo>
                  <a:pt x="0" y="2967980"/>
                </a:lnTo>
                <a:lnTo>
                  <a:pt x="1065730" y="4033627"/>
                </a:lnTo>
                <a:cubicBezTo>
                  <a:pt x="1327484" y="4312491"/>
                  <a:pt x="1769196" y="4312491"/>
                  <a:pt x="2030950" y="4033627"/>
                </a:cubicBezTo>
                <a:cubicBezTo>
                  <a:pt x="3835371" y="2229347"/>
                  <a:pt x="5090009" y="974808"/>
                  <a:pt x="5962373" y="102511"/>
                </a:cubicBezTo>
                <a:close/>
              </a:path>
            </a:pathLst>
          </a:custGeom>
          <a:gradFill flip="none" rotWithShape="1">
            <a:gsLst>
              <a:gs pos="56000">
                <a:srgbClr val="00D05D">
                  <a:lumMod val="60000"/>
                  <a:lumOff val="40000"/>
                  <a:alpha val="9000"/>
                </a:srgbClr>
              </a:gs>
              <a:gs pos="100000">
                <a:srgbClr val="00D05D">
                  <a:lumMod val="60000"/>
                  <a:lumOff val="40000"/>
                </a:srgbClr>
              </a:gs>
            </a:gsLst>
            <a:lin ang="2400000" scaled="0"/>
            <a:tileRect/>
          </a:gradFill>
          <a:ln>
            <a:noFill/>
          </a:ln>
        </p:spPr>
        <p:txBody>
          <a:bodyPr vert="horz" wrap="square" lIns="91440" tIns="45720" rIns="91440" bIns="45720" numCol="1" anchor="t" anchorCtr="0" compatLnSpc="1">
            <a:prstTxWarp prst="textNoShape">
              <a:avLst/>
            </a:prstTxWarp>
            <a:noAutofit/>
          </a:bodyPr>
          <a:lstStyle/>
          <a:p>
            <a:pPr marR="0" lvl="0" indent="0" fontAlgn="auto">
              <a:lnSpc>
                <a:spcPct val="100000"/>
              </a:lnSpc>
              <a:spcBef>
                <a:spcPts val="0"/>
              </a:spcBef>
              <a:spcAft>
                <a:spcPts val="0"/>
              </a:spcAft>
              <a:buClrTx/>
              <a:buSzTx/>
              <a:buFontTx/>
              <a:buNone/>
              <a:tabLst/>
            </a:pPr>
            <a:endParaRPr kumimoji="0" lang="en-US" b="0" i="0" u="none" strike="noStrike" kern="0" cap="none" spc="0" normalizeH="0" baseline="0">
              <a:ln>
                <a:noFill/>
              </a:ln>
              <a:solidFill>
                <a:srgbClr val="4F5860"/>
              </a:solidFill>
              <a:effectLst/>
              <a:uLnTx/>
              <a:uFillTx/>
            </a:endParaRPr>
          </a:p>
        </p:txBody>
      </p:sp>
      <p:sp>
        <p:nvSpPr>
          <p:cNvPr id="28" name="TextBox 27">
            <a:extLst>
              <a:ext uri="{FF2B5EF4-FFF2-40B4-BE49-F238E27FC236}">
                <a16:creationId xmlns:a16="http://schemas.microsoft.com/office/drawing/2014/main" id="{C1BE2C04-FEAB-C649-4659-D5B32D9A36D6}"/>
              </a:ext>
            </a:extLst>
          </p:cNvPr>
          <p:cNvSpPr txBox="1"/>
          <p:nvPr userDrawn="1"/>
        </p:nvSpPr>
        <p:spPr>
          <a:xfrm>
            <a:off x="524142" y="6562481"/>
            <a:ext cx="5293842" cy="107722"/>
          </a:xfrm>
          <a:prstGeom prst="rect">
            <a:avLst/>
          </a:prstGeom>
          <a:noFill/>
        </p:spPr>
        <p:txBody>
          <a:bodyPr wrap="square" lIns="0" tIns="0" rIns="0" bIns="0">
            <a:spAutoFit/>
          </a:bodyPr>
          <a:lstStyle/>
          <a:p>
            <a:r>
              <a:rPr lang="en-US" sz="700">
                <a:solidFill>
                  <a:schemeClr val="bg2"/>
                </a:solidFill>
              </a:rPr>
              <a:t>© 2024 Veeam Software. Confidential information. All rights reserved. All trademarks are the property of their respective owners. </a:t>
            </a:r>
          </a:p>
        </p:txBody>
      </p:sp>
      <p:sp>
        <p:nvSpPr>
          <p:cNvPr id="4" name="Title 1">
            <a:extLst>
              <a:ext uri="{FF2B5EF4-FFF2-40B4-BE49-F238E27FC236}">
                <a16:creationId xmlns:a16="http://schemas.microsoft.com/office/drawing/2014/main" id="{2B148703-D625-827F-FB95-145960D3273A}"/>
              </a:ext>
            </a:extLst>
          </p:cNvPr>
          <p:cNvSpPr>
            <a:spLocks noGrp="1"/>
          </p:cNvSpPr>
          <p:nvPr>
            <p:ph type="title" hasCustomPrompt="1"/>
          </p:nvPr>
        </p:nvSpPr>
        <p:spPr>
          <a:xfrm>
            <a:off x="849312" y="2467915"/>
            <a:ext cx="4430065" cy="1232645"/>
          </a:xfrm>
        </p:spPr>
        <p:txBody>
          <a:bodyPr wrap="square" anchor="ctr">
            <a:noAutofit/>
          </a:bodyPr>
          <a:lstStyle>
            <a:lvl1pPr algn="l">
              <a:defRPr sz="8900" spc="-300">
                <a:solidFill>
                  <a:schemeClr val="accent1"/>
                </a:solidFill>
                <a:latin typeface="+mj-lt"/>
              </a:defRPr>
            </a:lvl1pPr>
          </a:lstStyle>
          <a:p>
            <a:r>
              <a:rPr lang="en-US"/>
              <a:t>Agenda</a:t>
            </a:r>
          </a:p>
        </p:txBody>
      </p:sp>
      <p:sp>
        <p:nvSpPr>
          <p:cNvPr id="12" name="Text Placeholder 6">
            <a:extLst>
              <a:ext uri="{FF2B5EF4-FFF2-40B4-BE49-F238E27FC236}">
                <a16:creationId xmlns:a16="http://schemas.microsoft.com/office/drawing/2014/main" id="{25BFD162-89C3-8E46-2EAF-9574BE7E36AA}"/>
              </a:ext>
            </a:extLst>
          </p:cNvPr>
          <p:cNvSpPr>
            <a:spLocks noGrp="1"/>
          </p:cNvSpPr>
          <p:nvPr>
            <p:ph type="body" sz="quarter" idx="28"/>
          </p:nvPr>
        </p:nvSpPr>
        <p:spPr>
          <a:xfrm>
            <a:off x="6572251" y="688975"/>
            <a:ext cx="5124450" cy="5480050"/>
          </a:xfrm>
        </p:spPr>
        <p:txBody>
          <a:bodyPr anchor="ctr"/>
          <a:lstStyle>
            <a:lvl1pPr marL="346075" indent="-346075">
              <a:lnSpc>
                <a:spcPct val="89000"/>
              </a:lnSpc>
              <a:spcAft>
                <a:spcPts val="600"/>
              </a:spcAft>
              <a:buClr>
                <a:srgbClr val="8E71F4"/>
              </a:buClr>
              <a:buFont typeface="+mj-lt"/>
              <a:buAutoNum type="arabicPeriod"/>
              <a:defRPr sz="24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796413517"/>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hree Column Casi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14A960-1966-68C3-41FC-594A6B88CA23}"/>
              </a:ext>
            </a:extLst>
          </p:cNvPr>
          <p:cNvSpPr>
            <a:spLocks noGrp="1"/>
          </p:cNvSpPr>
          <p:nvPr>
            <p:ph type="title"/>
          </p:nvPr>
        </p:nvSpPr>
        <p:spPr/>
        <p:txBody>
          <a:bodyPr anchor="t"/>
          <a:lstStyle/>
          <a:p>
            <a:r>
              <a:rPr lang="en-US"/>
              <a:t>Click to edit Master title style</a:t>
            </a:r>
          </a:p>
        </p:txBody>
      </p:sp>
      <p:sp>
        <p:nvSpPr>
          <p:cNvPr id="3" name="Footer Placeholder 2">
            <a:extLst>
              <a:ext uri="{FF2B5EF4-FFF2-40B4-BE49-F238E27FC236}">
                <a16:creationId xmlns:a16="http://schemas.microsoft.com/office/drawing/2014/main" id="{82B7DAF8-F6A7-6F6B-9B22-E657CE551EDD}"/>
              </a:ext>
            </a:extLst>
          </p:cNvPr>
          <p:cNvSpPr>
            <a:spLocks noGrp="1"/>
          </p:cNvSpPr>
          <p:nvPr>
            <p:ph type="ftr" sz="quarter" idx="10"/>
          </p:nvPr>
        </p:nvSpPr>
        <p:spPr/>
        <p:txBody>
          <a:bodyPr/>
          <a:lstStyle/>
          <a:p>
            <a:endParaRPr lang="en-US"/>
          </a:p>
        </p:txBody>
      </p:sp>
      <p:sp>
        <p:nvSpPr>
          <p:cNvPr id="4" name="Subtitle 2">
            <a:extLst>
              <a:ext uri="{FF2B5EF4-FFF2-40B4-BE49-F238E27FC236}">
                <a16:creationId xmlns:a16="http://schemas.microsoft.com/office/drawing/2014/main" id="{CA6EE310-36F5-327E-169C-29E8787C9A0A}"/>
              </a:ext>
            </a:extLst>
          </p:cNvPr>
          <p:cNvSpPr>
            <a:spLocks noGrp="1"/>
          </p:cNvSpPr>
          <p:nvPr>
            <p:ph type="subTitle" idx="1"/>
          </p:nvPr>
        </p:nvSpPr>
        <p:spPr>
          <a:xfrm>
            <a:off x="502179" y="1032607"/>
            <a:ext cx="11194511" cy="338993"/>
          </a:xfrm>
        </p:spPr>
        <p:txBody>
          <a:bodyPr anchor="t"/>
          <a:lstStyle>
            <a:lvl1pPr marL="0" indent="0" algn="l">
              <a:buNone/>
              <a:defRPr sz="2100">
                <a:solidFill>
                  <a:schemeClr val="tx1"/>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5" name="Graphic 4">
            <a:extLst>
              <a:ext uri="{FF2B5EF4-FFF2-40B4-BE49-F238E27FC236}">
                <a16:creationId xmlns:a16="http://schemas.microsoft.com/office/drawing/2014/main" id="{19285CE7-3927-599A-7699-572E402D01B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84812" y="2035495"/>
            <a:ext cx="3535902" cy="3411523"/>
          </a:xfrm>
          <a:prstGeom prst="rect">
            <a:avLst/>
          </a:prstGeom>
        </p:spPr>
      </p:pic>
      <p:pic>
        <p:nvPicPr>
          <p:cNvPr id="6" name="Graphic 5">
            <a:extLst>
              <a:ext uri="{FF2B5EF4-FFF2-40B4-BE49-F238E27FC236}">
                <a16:creationId xmlns:a16="http://schemas.microsoft.com/office/drawing/2014/main" id="{C22752F3-A11D-F3CE-9C28-1AC0B9FF73E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22800" y="2035495"/>
            <a:ext cx="3535902" cy="3411523"/>
          </a:xfrm>
          <a:prstGeom prst="rect">
            <a:avLst/>
          </a:prstGeom>
        </p:spPr>
      </p:pic>
      <p:pic>
        <p:nvPicPr>
          <p:cNvPr id="7" name="Graphic 6">
            <a:extLst>
              <a:ext uri="{FF2B5EF4-FFF2-40B4-BE49-F238E27FC236}">
                <a16:creationId xmlns:a16="http://schemas.microsoft.com/office/drawing/2014/main" id="{8C1BD4B2-786C-28F8-387F-E3BBF4BE8E3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60788" y="2035495"/>
            <a:ext cx="3535902" cy="3411523"/>
          </a:xfrm>
          <a:prstGeom prst="rect">
            <a:avLst/>
          </a:prstGeom>
        </p:spPr>
      </p:pic>
      <p:sp>
        <p:nvSpPr>
          <p:cNvPr id="8" name="Content Placeholder 18">
            <a:extLst>
              <a:ext uri="{FF2B5EF4-FFF2-40B4-BE49-F238E27FC236}">
                <a16:creationId xmlns:a16="http://schemas.microsoft.com/office/drawing/2014/main" id="{1263A044-489A-F063-EF44-0FA544A4A8C1}"/>
              </a:ext>
            </a:extLst>
          </p:cNvPr>
          <p:cNvSpPr>
            <a:spLocks noGrp="1"/>
          </p:cNvSpPr>
          <p:nvPr>
            <p:ph sz="quarter" idx="11"/>
          </p:nvPr>
        </p:nvSpPr>
        <p:spPr>
          <a:xfrm>
            <a:off x="689907" y="2168278"/>
            <a:ext cx="3148384" cy="3019242"/>
          </a:xfrm>
        </p:spPr>
        <p:txBody>
          <a:bodyPr/>
          <a:lstStyle>
            <a:lvl1pPr>
              <a:defRPr>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18">
            <a:extLst>
              <a:ext uri="{FF2B5EF4-FFF2-40B4-BE49-F238E27FC236}">
                <a16:creationId xmlns:a16="http://schemas.microsoft.com/office/drawing/2014/main" id="{7D9E6090-3B36-AFFB-A36A-8D1C72872738}"/>
              </a:ext>
            </a:extLst>
          </p:cNvPr>
          <p:cNvSpPr>
            <a:spLocks noGrp="1"/>
          </p:cNvSpPr>
          <p:nvPr>
            <p:ph sz="quarter" idx="12"/>
          </p:nvPr>
        </p:nvSpPr>
        <p:spPr>
          <a:xfrm>
            <a:off x="4505094" y="2168278"/>
            <a:ext cx="3148384" cy="3019242"/>
          </a:xfrm>
        </p:spPr>
        <p:txBody>
          <a:bodyPr/>
          <a:lstStyle>
            <a:lvl1pPr>
              <a:defRPr>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8">
            <a:extLst>
              <a:ext uri="{FF2B5EF4-FFF2-40B4-BE49-F238E27FC236}">
                <a16:creationId xmlns:a16="http://schemas.microsoft.com/office/drawing/2014/main" id="{929AE5F4-71AC-9114-BB95-1D343A0203E7}"/>
              </a:ext>
            </a:extLst>
          </p:cNvPr>
          <p:cNvSpPr>
            <a:spLocks noGrp="1"/>
          </p:cNvSpPr>
          <p:nvPr>
            <p:ph sz="quarter" idx="13"/>
          </p:nvPr>
        </p:nvSpPr>
        <p:spPr>
          <a:xfrm>
            <a:off x="8320281" y="2171485"/>
            <a:ext cx="3148384" cy="3019242"/>
          </a:xfrm>
        </p:spPr>
        <p:txBody>
          <a:bodyPr/>
          <a:lstStyle>
            <a:lvl1pPr>
              <a:defRPr>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189197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hree Column So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14A960-1966-68C3-41FC-594A6B88CA23}"/>
              </a:ext>
            </a:extLst>
          </p:cNvPr>
          <p:cNvSpPr>
            <a:spLocks noGrp="1"/>
          </p:cNvSpPr>
          <p:nvPr>
            <p:ph type="title"/>
          </p:nvPr>
        </p:nvSpPr>
        <p:spPr/>
        <p:txBody>
          <a:bodyPr anchor="t"/>
          <a:lstStyle/>
          <a:p>
            <a:r>
              <a:rPr lang="en-US"/>
              <a:t>Click to edit Master title style</a:t>
            </a:r>
          </a:p>
        </p:txBody>
      </p:sp>
      <p:sp>
        <p:nvSpPr>
          <p:cNvPr id="3" name="Footer Placeholder 2">
            <a:extLst>
              <a:ext uri="{FF2B5EF4-FFF2-40B4-BE49-F238E27FC236}">
                <a16:creationId xmlns:a16="http://schemas.microsoft.com/office/drawing/2014/main" id="{82B7DAF8-F6A7-6F6B-9B22-E657CE551EDD}"/>
              </a:ext>
            </a:extLst>
          </p:cNvPr>
          <p:cNvSpPr>
            <a:spLocks noGrp="1"/>
          </p:cNvSpPr>
          <p:nvPr>
            <p:ph type="ftr" sz="quarter" idx="10"/>
          </p:nvPr>
        </p:nvSpPr>
        <p:spPr/>
        <p:txBody>
          <a:bodyPr/>
          <a:lstStyle/>
          <a:p>
            <a:endParaRPr lang="en-US"/>
          </a:p>
        </p:txBody>
      </p:sp>
      <p:sp>
        <p:nvSpPr>
          <p:cNvPr id="4" name="Subtitle 2">
            <a:extLst>
              <a:ext uri="{FF2B5EF4-FFF2-40B4-BE49-F238E27FC236}">
                <a16:creationId xmlns:a16="http://schemas.microsoft.com/office/drawing/2014/main" id="{CA6EE310-36F5-327E-169C-29E8787C9A0A}"/>
              </a:ext>
            </a:extLst>
          </p:cNvPr>
          <p:cNvSpPr>
            <a:spLocks noGrp="1"/>
          </p:cNvSpPr>
          <p:nvPr>
            <p:ph type="subTitle" idx="1"/>
          </p:nvPr>
        </p:nvSpPr>
        <p:spPr>
          <a:xfrm>
            <a:off x="502179" y="1032607"/>
            <a:ext cx="11194511" cy="338993"/>
          </a:xfrm>
        </p:spPr>
        <p:txBody>
          <a:bodyPr anchor="t"/>
          <a:lstStyle>
            <a:lvl1pPr marL="0" indent="0" algn="l">
              <a:buNone/>
              <a:defRPr sz="2100">
                <a:solidFill>
                  <a:schemeClr val="tx1"/>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5" name="Graphic 4">
            <a:extLst>
              <a:ext uri="{FF2B5EF4-FFF2-40B4-BE49-F238E27FC236}">
                <a16:creationId xmlns:a16="http://schemas.microsoft.com/office/drawing/2014/main" id="{19285CE7-3927-599A-7699-572E402D01B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84812" y="2035495"/>
            <a:ext cx="3535902" cy="3411523"/>
          </a:xfrm>
          <a:prstGeom prst="rect">
            <a:avLst/>
          </a:prstGeom>
        </p:spPr>
      </p:pic>
      <p:pic>
        <p:nvPicPr>
          <p:cNvPr id="6" name="Graphic 5">
            <a:extLst>
              <a:ext uri="{FF2B5EF4-FFF2-40B4-BE49-F238E27FC236}">
                <a16:creationId xmlns:a16="http://schemas.microsoft.com/office/drawing/2014/main" id="{C22752F3-A11D-F3CE-9C28-1AC0B9FF73E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22800" y="2035495"/>
            <a:ext cx="3535902" cy="3411523"/>
          </a:xfrm>
          <a:prstGeom prst="rect">
            <a:avLst/>
          </a:prstGeom>
        </p:spPr>
      </p:pic>
      <p:pic>
        <p:nvPicPr>
          <p:cNvPr id="7" name="Graphic 6">
            <a:extLst>
              <a:ext uri="{FF2B5EF4-FFF2-40B4-BE49-F238E27FC236}">
                <a16:creationId xmlns:a16="http://schemas.microsoft.com/office/drawing/2014/main" id="{8C1BD4B2-786C-28F8-387F-E3BBF4BE8E3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60788" y="2035495"/>
            <a:ext cx="3535902" cy="3411523"/>
          </a:xfrm>
          <a:prstGeom prst="rect">
            <a:avLst/>
          </a:prstGeom>
        </p:spPr>
      </p:pic>
      <p:sp>
        <p:nvSpPr>
          <p:cNvPr id="10" name="Content Placeholder 18">
            <a:extLst>
              <a:ext uri="{FF2B5EF4-FFF2-40B4-BE49-F238E27FC236}">
                <a16:creationId xmlns:a16="http://schemas.microsoft.com/office/drawing/2014/main" id="{689A8D44-0CC8-383B-B4E2-AA3D6981A75D}"/>
              </a:ext>
            </a:extLst>
          </p:cNvPr>
          <p:cNvSpPr>
            <a:spLocks noGrp="1"/>
          </p:cNvSpPr>
          <p:nvPr>
            <p:ph sz="quarter" idx="11"/>
          </p:nvPr>
        </p:nvSpPr>
        <p:spPr>
          <a:xfrm>
            <a:off x="689907" y="2168278"/>
            <a:ext cx="3148384" cy="3019242"/>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8">
            <a:extLst>
              <a:ext uri="{FF2B5EF4-FFF2-40B4-BE49-F238E27FC236}">
                <a16:creationId xmlns:a16="http://schemas.microsoft.com/office/drawing/2014/main" id="{02D6D283-8AC2-EB13-B516-0E2D9E4CBBF4}"/>
              </a:ext>
            </a:extLst>
          </p:cNvPr>
          <p:cNvSpPr>
            <a:spLocks noGrp="1"/>
          </p:cNvSpPr>
          <p:nvPr>
            <p:ph sz="quarter" idx="12"/>
          </p:nvPr>
        </p:nvSpPr>
        <p:spPr>
          <a:xfrm>
            <a:off x="4505094" y="2168278"/>
            <a:ext cx="3148384" cy="3019242"/>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8">
            <a:extLst>
              <a:ext uri="{FF2B5EF4-FFF2-40B4-BE49-F238E27FC236}">
                <a16:creationId xmlns:a16="http://schemas.microsoft.com/office/drawing/2014/main" id="{244EC714-C35F-5891-DA25-0E04F73FDC6B}"/>
              </a:ext>
            </a:extLst>
          </p:cNvPr>
          <p:cNvSpPr>
            <a:spLocks noGrp="1"/>
          </p:cNvSpPr>
          <p:nvPr>
            <p:ph sz="quarter" idx="13"/>
          </p:nvPr>
        </p:nvSpPr>
        <p:spPr>
          <a:xfrm>
            <a:off x="8320281" y="2171485"/>
            <a:ext cx="3148384" cy="3019242"/>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990565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hree Column Az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14A960-1966-68C3-41FC-594A6B88CA23}"/>
              </a:ext>
            </a:extLst>
          </p:cNvPr>
          <p:cNvSpPr>
            <a:spLocks noGrp="1"/>
          </p:cNvSpPr>
          <p:nvPr>
            <p:ph type="title"/>
          </p:nvPr>
        </p:nvSpPr>
        <p:spPr/>
        <p:txBody>
          <a:bodyPr anchor="t"/>
          <a:lstStyle/>
          <a:p>
            <a:r>
              <a:rPr lang="en-US"/>
              <a:t>Click to edit Master title style</a:t>
            </a:r>
          </a:p>
        </p:txBody>
      </p:sp>
      <p:sp>
        <p:nvSpPr>
          <p:cNvPr id="3" name="Footer Placeholder 2">
            <a:extLst>
              <a:ext uri="{FF2B5EF4-FFF2-40B4-BE49-F238E27FC236}">
                <a16:creationId xmlns:a16="http://schemas.microsoft.com/office/drawing/2014/main" id="{82B7DAF8-F6A7-6F6B-9B22-E657CE551EDD}"/>
              </a:ext>
            </a:extLst>
          </p:cNvPr>
          <p:cNvSpPr>
            <a:spLocks noGrp="1"/>
          </p:cNvSpPr>
          <p:nvPr>
            <p:ph type="ftr" sz="quarter" idx="10"/>
          </p:nvPr>
        </p:nvSpPr>
        <p:spPr/>
        <p:txBody>
          <a:bodyPr/>
          <a:lstStyle/>
          <a:p>
            <a:endParaRPr lang="en-US"/>
          </a:p>
        </p:txBody>
      </p:sp>
      <p:sp>
        <p:nvSpPr>
          <p:cNvPr id="4" name="Subtitle 2">
            <a:extLst>
              <a:ext uri="{FF2B5EF4-FFF2-40B4-BE49-F238E27FC236}">
                <a16:creationId xmlns:a16="http://schemas.microsoft.com/office/drawing/2014/main" id="{CA6EE310-36F5-327E-169C-29E8787C9A0A}"/>
              </a:ext>
            </a:extLst>
          </p:cNvPr>
          <p:cNvSpPr>
            <a:spLocks noGrp="1"/>
          </p:cNvSpPr>
          <p:nvPr>
            <p:ph type="subTitle" idx="1"/>
          </p:nvPr>
        </p:nvSpPr>
        <p:spPr>
          <a:xfrm>
            <a:off x="502179" y="1032607"/>
            <a:ext cx="11194511" cy="338993"/>
          </a:xfrm>
        </p:spPr>
        <p:txBody>
          <a:bodyPr anchor="t"/>
          <a:lstStyle>
            <a:lvl1pPr marL="0" indent="0" algn="l">
              <a:buNone/>
              <a:defRPr sz="21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5" name="Graphic 4">
            <a:extLst>
              <a:ext uri="{FF2B5EF4-FFF2-40B4-BE49-F238E27FC236}">
                <a16:creationId xmlns:a16="http://schemas.microsoft.com/office/drawing/2014/main" id="{19285CE7-3927-599A-7699-572E402D01B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84812" y="2035495"/>
            <a:ext cx="3535902" cy="3411523"/>
          </a:xfrm>
          <a:prstGeom prst="rect">
            <a:avLst/>
          </a:prstGeom>
        </p:spPr>
      </p:pic>
      <p:pic>
        <p:nvPicPr>
          <p:cNvPr id="6" name="Graphic 5">
            <a:extLst>
              <a:ext uri="{FF2B5EF4-FFF2-40B4-BE49-F238E27FC236}">
                <a16:creationId xmlns:a16="http://schemas.microsoft.com/office/drawing/2014/main" id="{C22752F3-A11D-F3CE-9C28-1AC0B9FF73E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22800" y="2035495"/>
            <a:ext cx="3535902" cy="3411523"/>
          </a:xfrm>
          <a:prstGeom prst="rect">
            <a:avLst/>
          </a:prstGeom>
        </p:spPr>
      </p:pic>
      <p:pic>
        <p:nvPicPr>
          <p:cNvPr id="7" name="Graphic 6">
            <a:extLst>
              <a:ext uri="{FF2B5EF4-FFF2-40B4-BE49-F238E27FC236}">
                <a16:creationId xmlns:a16="http://schemas.microsoft.com/office/drawing/2014/main" id="{8C1BD4B2-786C-28F8-387F-E3BBF4BE8E3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60788" y="2035495"/>
            <a:ext cx="3535902" cy="3411523"/>
          </a:xfrm>
          <a:prstGeom prst="rect">
            <a:avLst/>
          </a:prstGeom>
        </p:spPr>
      </p:pic>
      <p:sp>
        <p:nvSpPr>
          <p:cNvPr id="8" name="Content Placeholder 18">
            <a:extLst>
              <a:ext uri="{FF2B5EF4-FFF2-40B4-BE49-F238E27FC236}">
                <a16:creationId xmlns:a16="http://schemas.microsoft.com/office/drawing/2014/main" id="{79B756BD-525B-ED94-5E12-1E8B261CCD1E}"/>
              </a:ext>
            </a:extLst>
          </p:cNvPr>
          <p:cNvSpPr>
            <a:spLocks noGrp="1"/>
          </p:cNvSpPr>
          <p:nvPr>
            <p:ph sz="quarter" idx="11"/>
          </p:nvPr>
        </p:nvSpPr>
        <p:spPr>
          <a:xfrm>
            <a:off x="689907" y="2168278"/>
            <a:ext cx="3148384" cy="3019242"/>
          </a:xfrm>
        </p:spPr>
        <p:txBody>
          <a:bodyPr/>
          <a:lstStyle>
            <a:lvl1pPr>
              <a:defRPr>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18">
            <a:extLst>
              <a:ext uri="{FF2B5EF4-FFF2-40B4-BE49-F238E27FC236}">
                <a16:creationId xmlns:a16="http://schemas.microsoft.com/office/drawing/2014/main" id="{EA51BDD5-163B-786B-05DF-FA91C28BDB2C}"/>
              </a:ext>
            </a:extLst>
          </p:cNvPr>
          <p:cNvSpPr>
            <a:spLocks noGrp="1"/>
          </p:cNvSpPr>
          <p:nvPr>
            <p:ph sz="quarter" idx="12"/>
          </p:nvPr>
        </p:nvSpPr>
        <p:spPr>
          <a:xfrm>
            <a:off x="4505094" y="2168278"/>
            <a:ext cx="3148384" cy="3019242"/>
          </a:xfrm>
        </p:spPr>
        <p:txBody>
          <a:bodyPr/>
          <a:lstStyle>
            <a:lvl1pPr>
              <a:defRPr>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8">
            <a:extLst>
              <a:ext uri="{FF2B5EF4-FFF2-40B4-BE49-F238E27FC236}">
                <a16:creationId xmlns:a16="http://schemas.microsoft.com/office/drawing/2014/main" id="{1310DE8B-3E81-E40B-89B4-044CAF4E86CF}"/>
              </a:ext>
            </a:extLst>
          </p:cNvPr>
          <p:cNvSpPr>
            <a:spLocks noGrp="1"/>
          </p:cNvSpPr>
          <p:nvPr>
            <p:ph sz="quarter" idx="13"/>
          </p:nvPr>
        </p:nvSpPr>
        <p:spPr>
          <a:xfrm>
            <a:off x="8320281" y="2171485"/>
            <a:ext cx="3148384" cy="3019242"/>
          </a:xfrm>
        </p:spPr>
        <p:txBody>
          <a:bodyPr/>
          <a:lstStyle>
            <a:lvl1pPr>
              <a:defRPr>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419462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hree Column Sum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14A960-1966-68C3-41FC-594A6B88CA23}"/>
              </a:ext>
            </a:extLst>
          </p:cNvPr>
          <p:cNvSpPr>
            <a:spLocks noGrp="1"/>
          </p:cNvSpPr>
          <p:nvPr>
            <p:ph type="title"/>
          </p:nvPr>
        </p:nvSpPr>
        <p:spPr/>
        <p:txBody>
          <a:bodyPr anchor="t"/>
          <a:lstStyle/>
          <a:p>
            <a:r>
              <a:rPr lang="en-US"/>
              <a:t>Click to edit Master title style</a:t>
            </a:r>
          </a:p>
        </p:txBody>
      </p:sp>
      <p:sp>
        <p:nvSpPr>
          <p:cNvPr id="3" name="Footer Placeholder 2">
            <a:extLst>
              <a:ext uri="{FF2B5EF4-FFF2-40B4-BE49-F238E27FC236}">
                <a16:creationId xmlns:a16="http://schemas.microsoft.com/office/drawing/2014/main" id="{82B7DAF8-F6A7-6F6B-9B22-E657CE551EDD}"/>
              </a:ext>
            </a:extLst>
          </p:cNvPr>
          <p:cNvSpPr>
            <a:spLocks noGrp="1"/>
          </p:cNvSpPr>
          <p:nvPr>
            <p:ph type="ftr" sz="quarter" idx="10"/>
          </p:nvPr>
        </p:nvSpPr>
        <p:spPr/>
        <p:txBody>
          <a:bodyPr/>
          <a:lstStyle/>
          <a:p>
            <a:endParaRPr lang="en-US"/>
          </a:p>
        </p:txBody>
      </p:sp>
      <p:sp>
        <p:nvSpPr>
          <p:cNvPr id="4" name="Subtitle 2">
            <a:extLst>
              <a:ext uri="{FF2B5EF4-FFF2-40B4-BE49-F238E27FC236}">
                <a16:creationId xmlns:a16="http://schemas.microsoft.com/office/drawing/2014/main" id="{CA6EE310-36F5-327E-169C-29E8787C9A0A}"/>
              </a:ext>
            </a:extLst>
          </p:cNvPr>
          <p:cNvSpPr>
            <a:spLocks noGrp="1"/>
          </p:cNvSpPr>
          <p:nvPr>
            <p:ph type="subTitle" idx="1"/>
          </p:nvPr>
        </p:nvSpPr>
        <p:spPr>
          <a:xfrm>
            <a:off x="502179" y="1032607"/>
            <a:ext cx="11194511" cy="338993"/>
          </a:xfrm>
        </p:spPr>
        <p:txBody>
          <a:bodyPr anchor="t"/>
          <a:lstStyle>
            <a:lvl1pPr marL="0" indent="0" algn="l">
              <a:buNone/>
              <a:defRPr sz="2100">
                <a:solidFill>
                  <a:schemeClr val="tx1"/>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5" name="Graphic 4">
            <a:extLst>
              <a:ext uri="{FF2B5EF4-FFF2-40B4-BE49-F238E27FC236}">
                <a16:creationId xmlns:a16="http://schemas.microsoft.com/office/drawing/2014/main" id="{19285CE7-3927-599A-7699-572E402D01B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84812" y="2035495"/>
            <a:ext cx="3535902" cy="3411523"/>
          </a:xfrm>
          <a:prstGeom prst="rect">
            <a:avLst/>
          </a:prstGeom>
        </p:spPr>
      </p:pic>
      <p:pic>
        <p:nvPicPr>
          <p:cNvPr id="6" name="Graphic 5">
            <a:extLst>
              <a:ext uri="{FF2B5EF4-FFF2-40B4-BE49-F238E27FC236}">
                <a16:creationId xmlns:a16="http://schemas.microsoft.com/office/drawing/2014/main" id="{C22752F3-A11D-F3CE-9C28-1AC0B9FF73E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22800" y="2035495"/>
            <a:ext cx="3535902" cy="3411523"/>
          </a:xfrm>
          <a:prstGeom prst="rect">
            <a:avLst/>
          </a:prstGeom>
        </p:spPr>
      </p:pic>
      <p:pic>
        <p:nvPicPr>
          <p:cNvPr id="7" name="Graphic 6">
            <a:extLst>
              <a:ext uri="{FF2B5EF4-FFF2-40B4-BE49-F238E27FC236}">
                <a16:creationId xmlns:a16="http://schemas.microsoft.com/office/drawing/2014/main" id="{8C1BD4B2-786C-28F8-387F-E3BBF4BE8E3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60788" y="2035495"/>
            <a:ext cx="3535902" cy="3411523"/>
          </a:xfrm>
          <a:prstGeom prst="rect">
            <a:avLst/>
          </a:prstGeom>
        </p:spPr>
      </p:pic>
      <p:sp>
        <p:nvSpPr>
          <p:cNvPr id="8" name="Content Placeholder 18">
            <a:extLst>
              <a:ext uri="{FF2B5EF4-FFF2-40B4-BE49-F238E27FC236}">
                <a16:creationId xmlns:a16="http://schemas.microsoft.com/office/drawing/2014/main" id="{A30E5FBD-1FEB-36DE-0709-D2AD389C88AB}"/>
              </a:ext>
            </a:extLst>
          </p:cNvPr>
          <p:cNvSpPr>
            <a:spLocks noGrp="1"/>
          </p:cNvSpPr>
          <p:nvPr>
            <p:ph sz="quarter" idx="11"/>
          </p:nvPr>
        </p:nvSpPr>
        <p:spPr>
          <a:xfrm>
            <a:off x="689907" y="2168278"/>
            <a:ext cx="3148384" cy="3019242"/>
          </a:xfrm>
        </p:spPr>
        <p:txBody>
          <a:bodyPr/>
          <a:lstStyle>
            <a:lvl1pPr>
              <a:defRPr>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18">
            <a:extLst>
              <a:ext uri="{FF2B5EF4-FFF2-40B4-BE49-F238E27FC236}">
                <a16:creationId xmlns:a16="http://schemas.microsoft.com/office/drawing/2014/main" id="{D39B2807-FC2A-DDCC-EA0E-DA1ED3F078E0}"/>
              </a:ext>
            </a:extLst>
          </p:cNvPr>
          <p:cNvSpPr>
            <a:spLocks noGrp="1"/>
          </p:cNvSpPr>
          <p:nvPr>
            <p:ph sz="quarter" idx="12"/>
          </p:nvPr>
        </p:nvSpPr>
        <p:spPr>
          <a:xfrm>
            <a:off x="4505094" y="2168278"/>
            <a:ext cx="3148384" cy="3019242"/>
          </a:xfrm>
        </p:spPr>
        <p:txBody>
          <a:bodyPr/>
          <a:lstStyle>
            <a:lvl1pPr>
              <a:defRPr>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8">
            <a:extLst>
              <a:ext uri="{FF2B5EF4-FFF2-40B4-BE49-F238E27FC236}">
                <a16:creationId xmlns:a16="http://schemas.microsoft.com/office/drawing/2014/main" id="{D7454341-F68C-0CE5-3DCC-35FB59E3AF56}"/>
              </a:ext>
            </a:extLst>
          </p:cNvPr>
          <p:cNvSpPr>
            <a:spLocks noGrp="1"/>
          </p:cNvSpPr>
          <p:nvPr>
            <p:ph sz="quarter" idx="13"/>
          </p:nvPr>
        </p:nvSpPr>
        <p:spPr>
          <a:xfrm>
            <a:off x="8320281" y="2171485"/>
            <a:ext cx="3148384" cy="3019242"/>
          </a:xfrm>
        </p:spPr>
        <p:txBody>
          <a:bodyPr/>
          <a:lstStyle>
            <a:lvl1pPr>
              <a:defRPr>
                <a:solidFill>
                  <a:schemeClr val="bg1"/>
                </a:solidFill>
              </a:defRPr>
            </a:lvl1pPr>
            <a:lvl2pPr>
              <a:defRPr sz="16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829009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hree Column Blac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14A960-1966-68C3-41FC-594A6B88CA23}"/>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82B7DAF8-F6A7-6F6B-9B22-E657CE551EDD}"/>
              </a:ext>
            </a:extLst>
          </p:cNvPr>
          <p:cNvSpPr>
            <a:spLocks noGrp="1"/>
          </p:cNvSpPr>
          <p:nvPr>
            <p:ph type="ftr" sz="quarter" idx="10"/>
          </p:nvPr>
        </p:nvSpPr>
        <p:spPr/>
        <p:txBody>
          <a:bodyPr/>
          <a:lstStyle/>
          <a:p>
            <a:endParaRPr lang="en-US"/>
          </a:p>
        </p:txBody>
      </p:sp>
      <p:sp>
        <p:nvSpPr>
          <p:cNvPr id="4" name="Subtitle 2">
            <a:extLst>
              <a:ext uri="{FF2B5EF4-FFF2-40B4-BE49-F238E27FC236}">
                <a16:creationId xmlns:a16="http://schemas.microsoft.com/office/drawing/2014/main" id="{CA6EE310-36F5-327E-169C-29E8787C9A0A}"/>
              </a:ext>
            </a:extLst>
          </p:cNvPr>
          <p:cNvSpPr>
            <a:spLocks noGrp="1"/>
          </p:cNvSpPr>
          <p:nvPr>
            <p:ph type="subTitle" idx="1"/>
          </p:nvPr>
        </p:nvSpPr>
        <p:spPr>
          <a:xfrm>
            <a:off x="502179" y="1032607"/>
            <a:ext cx="11194511" cy="338993"/>
          </a:xfrm>
        </p:spPr>
        <p:txBody>
          <a:bodyPr/>
          <a:lstStyle>
            <a:lvl1pPr marL="0" indent="0" algn="l">
              <a:buNone/>
              <a:defRPr sz="21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5" name="Graphic 4">
            <a:extLst>
              <a:ext uri="{FF2B5EF4-FFF2-40B4-BE49-F238E27FC236}">
                <a16:creationId xmlns:a16="http://schemas.microsoft.com/office/drawing/2014/main" id="{19285CE7-3927-599A-7699-572E402D01B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84812" y="2035495"/>
            <a:ext cx="3535902" cy="3411523"/>
          </a:xfrm>
          <a:prstGeom prst="rect">
            <a:avLst/>
          </a:prstGeom>
        </p:spPr>
      </p:pic>
      <p:pic>
        <p:nvPicPr>
          <p:cNvPr id="6" name="Graphic 5">
            <a:extLst>
              <a:ext uri="{FF2B5EF4-FFF2-40B4-BE49-F238E27FC236}">
                <a16:creationId xmlns:a16="http://schemas.microsoft.com/office/drawing/2014/main" id="{C22752F3-A11D-F3CE-9C28-1AC0B9FF73E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22800" y="2035495"/>
            <a:ext cx="3535902" cy="3411523"/>
          </a:xfrm>
          <a:prstGeom prst="rect">
            <a:avLst/>
          </a:prstGeom>
        </p:spPr>
      </p:pic>
      <p:pic>
        <p:nvPicPr>
          <p:cNvPr id="7" name="Graphic 6">
            <a:extLst>
              <a:ext uri="{FF2B5EF4-FFF2-40B4-BE49-F238E27FC236}">
                <a16:creationId xmlns:a16="http://schemas.microsoft.com/office/drawing/2014/main" id="{8C1BD4B2-786C-28F8-387F-E3BBF4BE8E3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60788" y="2035495"/>
            <a:ext cx="3535902" cy="3411523"/>
          </a:xfrm>
          <a:prstGeom prst="rect">
            <a:avLst/>
          </a:prstGeom>
        </p:spPr>
      </p:pic>
      <p:sp>
        <p:nvSpPr>
          <p:cNvPr id="10" name="Content Placeholder 18">
            <a:extLst>
              <a:ext uri="{FF2B5EF4-FFF2-40B4-BE49-F238E27FC236}">
                <a16:creationId xmlns:a16="http://schemas.microsoft.com/office/drawing/2014/main" id="{689A8D44-0CC8-383B-B4E2-AA3D6981A75D}"/>
              </a:ext>
            </a:extLst>
          </p:cNvPr>
          <p:cNvSpPr>
            <a:spLocks noGrp="1"/>
          </p:cNvSpPr>
          <p:nvPr>
            <p:ph sz="quarter" idx="11"/>
          </p:nvPr>
        </p:nvSpPr>
        <p:spPr>
          <a:xfrm>
            <a:off x="689907" y="2168278"/>
            <a:ext cx="3148384" cy="301924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8">
            <a:extLst>
              <a:ext uri="{FF2B5EF4-FFF2-40B4-BE49-F238E27FC236}">
                <a16:creationId xmlns:a16="http://schemas.microsoft.com/office/drawing/2014/main" id="{02D6D283-8AC2-EB13-B516-0E2D9E4CBBF4}"/>
              </a:ext>
            </a:extLst>
          </p:cNvPr>
          <p:cNvSpPr>
            <a:spLocks noGrp="1"/>
          </p:cNvSpPr>
          <p:nvPr>
            <p:ph sz="quarter" idx="12"/>
          </p:nvPr>
        </p:nvSpPr>
        <p:spPr>
          <a:xfrm>
            <a:off x="4505094" y="2168278"/>
            <a:ext cx="3148384" cy="301924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8">
            <a:extLst>
              <a:ext uri="{FF2B5EF4-FFF2-40B4-BE49-F238E27FC236}">
                <a16:creationId xmlns:a16="http://schemas.microsoft.com/office/drawing/2014/main" id="{244EC714-C35F-5891-DA25-0E04F73FDC6B}"/>
              </a:ext>
            </a:extLst>
          </p:cNvPr>
          <p:cNvSpPr>
            <a:spLocks noGrp="1"/>
          </p:cNvSpPr>
          <p:nvPr>
            <p:ph sz="quarter" idx="13"/>
          </p:nvPr>
        </p:nvSpPr>
        <p:spPr>
          <a:xfrm>
            <a:off x="8320281" y="2171485"/>
            <a:ext cx="3148384" cy="301924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023774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gue Viridis">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5ACA0FF3-745C-B3F9-31BA-0D72F6997897}"/>
              </a:ext>
            </a:extLst>
          </p:cNvPr>
          <p:cNvSpPr/>
          <p:nvPr/>
        </p:nvSpPr>
        <p:spPr>
          <a:xfrm>
            <a:off x="0" y="0"/>
            <a:ext cx="8433622" cy="5854259"/>
          </a:xfrm>
          <a:custGeom>
            <a:avLst/>
            <a:gdLst>
              <a:gd name="connsiteX0" fmla="*/ 3920070 w 8433622"/>
              <a:gd name="connsiteY0" fmla="*/ 0 h 5854259"/>
              <a:gd name="connsiteX1" fmla="*/ 3921623 w 8433622"/>
              <a:gd name="connsiteY1" fmla="*/ 0 h 5854259"/>
              <a:gd name="connsiteX2" fmla="*/ 3942361 w 8433622"/>
              <a:gd name="connsiteY2" fmla="*/ 2150 h 5854259"/>
              <a:gd name="connsiteX3" fmla="*/ 5611946 w 8433622"/>
              <a:gd name="connsiteY3" fmla="*/ 2151 h 5854259"/>
              <a:gd name="connsiteX4" fmla="*/ 5611946 w 8433622"/>
              <a:gd name="connsiteY4" fmla="*/ 2154 h 5854259"/>
              <a:gd name="connsiteX5" fmla="*/ 6351359 w 8433622"/>
              <a:gd name="connsiteY5" fmla="*/ 2154 h 5854259"/>
              <a:gd name="connsiteX6" fmla="*/ 6351360 w 8433622"/>
              <a:gd name="connsiteY6" fmla="*/ 1330 h 5854259"/>
              <a:gd name="connsiteX7" fmla="*/ 6351361 w 8433622"/>
              <a:gd name="connsiteY7" fmla="*/ 173 h 5854259"/>
              <a:gd name="connsiteX8" fmla="*/ 7146741 w 8433622"/>
              <a:gd name="connsiteY8" fmla="*/ 0 h 5854259"/>
              <a:gd name="connsiteX9" fmla="*/ 7167509 w 8433622"/>
              <a:gd name="connsiteY9" fmla="*/ 2154 h 5854259"/>
              <a:gd name="connsiteX10" fmla="*/ 7197882 w 8433622"/>
              <a:gd name="connsiteY10" fmla="*/ 2154 h 5854259"/>
              <a:gd name="connsiteX11" fmla="*/ 7197881 w 8433622"/>
              <a:gd name="connsiteY11" fmla="*/ 5304 h 5854259"/>
              <a:gd name="connsiteX12" fmla="*/ 7255678 w 8433622"/>
              <a:gd name="connsiteY12" fmla="*/ 11299 h 5854259"/>
              <a:gd name="connsiteX13" fmla="*/ 7540283 w 8433622"/>
              <a:gd name="connsiteY13" fmla="*/ 164653 h 5854259"/>
              <a:gd name="connsiteX14" fmla="*/ 8264607 w 8433622"/>
              <a:gd name="connsiteY14" fmla="*/ 888978 h 5854259"/>
              <a:gd name="connsiteX15" fmla="*/ 8429260 w 8433622"/>
              <a:gd name="connsiteY15" fmla="*/ 1282519 h 5854259"/>
              <a:gd name="connsiteX16" fmla="*/ 8429232 w 8433622"/>
              <a:gd name="connsiteY16" fmla="*/ 1416839 h 5854259"/>
              <a:gd name="connsiteX17" fmla="*/ 8433622 w 8433622"/>
              <a:gd name="connsiteY17" fmla="*/ 1416840 h 5854259"/>
              <a:gd name="connsiteX18" fmla="*/ 8433622 w 8433622"/>
              <a:gd name="connsiteY18" fmla="*/ 5852108 h 5854259"/>
              <a:gd name="connsiteX19" fmla="*/ 7197882 w 8433622"/>
              <a:gd name="connsiteY19" fmla="*/ 5852108 h 5854259"/>
              <a:gd name="connsiteX20" fmla="*/ 7197881 w 8433622"/>
              <a:gd name="connsiteY20" fmla="*/ 5852111 h 5854259"/>
              <a:gd name="connsiteX21" fmla="*/ 5303429 w 8433622"/>
              <a:gd name="connsiteY21" fmla="*/ 5852110 h 5854259"/>
              <a:gd name="connsiteX22" fmla="*/ 5303428 w 8433622"/>
              <a:gd name="connsiteY22" fmla="*/ 5852929 h 5854259"/>
              <a:gd name="connsiteX23" fmla="*/ 5303427 w 8433622"/>
              <a:gd name="connsiteY23" fmla="*/ 5854086 h 5854259"/>
              <a:gd name="connsiteX24" fmla="*/ 4508047 w 8433622"/>
              <a:gd name="connsiteY24" fmla="*/ 5854259 h 5854259"/>
              <a:gd name="connsiteX25" fmla="*/ 4487306 w 8433622"/>
              <a:gd name="connsiteY25" fmla="*/ 5852108 h 5854259"/>
              <a:gd name="connsiteX26" fmla="*/ 3972763 w 8433622"/>
              <a:gd name="connsiteY26" fmla="*/ 5852108 h 5854259"/>
              <a:gd name="connsiteX27" fmla="*/ 3972763 w 8433622"/>
              <a:gd name="connsiteY27" fmla="*/ 5852110 h 5854259"/>
              <a:gd name="connsiteX28" fmla="*/ 2078312 w 8433622"/>
              <a:gd name="connsiteY28" fmla="*/ 5852111 h 5854259"/>
              <a:gd name="connsiteX29" fmla="*/ 2078310 w 8433622"/>
              <a:gd name="connsiteY29" fmla="*/ 5852929 h 5854259"/>
              <a:gd name="connsiteX30" fmla="*/ 2078308 w 8433622"/>
              <a:gd name="connsiteY30" fmla="*/ 5854086 h 5854259"/>
              <a:gd name="connsiteX31" fmla="*/ 1282928 w 8433622"/>
              <a:gd name="connsiteY31" fmla="*/ 5854259 h 5854259"/>
              <a:gd name="connsiteX32" fmla="*/ 889387 w 8433622"/>
              <a:gd name="connsiteY32" fmla="*/ 5689605 h 5854259"/>
              <a:gd name="connsiteX33" fmla="*/ 165062 w 8433622"/>
              <a:gd name="connsiteY33" fmla="*/ 4965281 h 5854259"/>
              <a:gd name="connsiteX34" fmla="*/ 408 w 8433622"/>
              <a:gd name="connsiteY34" fmla="*/ 4571739 h 5854259"/>
              <a:gd name="connsiteX35" fmla="*/ 438 w 8433622"/>
              <a:gd name="connsiteY35" fmla="*/ 4437419 h 5854259"/>
              <a:gd name="connsiteX36" fmla="*/ 0 w 8433622"/>
              <a:gd name="connsiteY36" fmla="*/ 4437419 h 5854259"/>
              <a:gd name="connsiteX37" fmla="*/ 0 w 8433622"/>
              <a:gd name="connsiteY37" fmla="*/ 2151 h 5854259"/>
              <a:gd name="connsiteX38" fmla="*/ 2386827 w 8433622"/>
              <a:gd name="connsiteY38" fmla="*/ 2151 h 5854259"/>
              <a:gd name="connsiteX39" fmla="*/ 2386827 w 8433622"/>
              <a:gd name="connsiteY39" fmla="*/ 2154 h 5854259"/>
              <a:gd name="connsiteX40" fmla="*/ 3126241 w 8433622"/>
              <a:gd name="connsiteY40" fmla="*/ 2154 h 5854259"/>
              <a:gd name="connsiteX41" fmla="*/ 3126241 w 8433622"/>
              <a:gd name="connsiteY41" fmla="*/ 1330 h 5854259"/>
              <a:gd name="connsiteX42" fmla="*/ 3126243 w 8433622"/>
              <a:gd name="connsiteY42" fmla="*/ 173 h 5854259"/>
              <a:gd name="connsiteX43" fmla="*/ 3920070 w 8433622"/>
              <a:gd name="connsiteY43" fmla="*/ 0 h 585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8433622" h="5854259">
                <a:moveTo>
                  <a:pt x="3920070" y="0"/>
                </a:moveTo>
                <a:cubicBezTo>
                  <a:pt x="3921623" y="0"/>
                  <a:pt x="3921623" y="0"/>
                  <a:pt x="3921623" y="0"/>
                </a:cubicBezTo>
                <a:lnTo>
                  <a:pt x="3942361" y="2150"/>
                </a:lnTo>
                <a:lnTo>
                  <a:pt x="5611946" y="2151"/>
                </a:lnTo>
                <a:lnTo>
                  <a:pt x="5611946" y="2154"/>
                </a:lnTo>
                <a:lnTo>
                  <a:pt x="6351359" y="2154"/>
                </a:lnTo>
                <a:lnTo>
                  <a:pt x="6351360" y="1330"/>
                </a:lnTo>
                <a:cubicBezTo>
                  <a:pt x="6351361" y="173"/>
                  <a:pt x="6351361" y="173"/>
                  <a:pt x="6351361" y="173"/>
                </a:cubicBezTo>
                <a:cubicBezTo>
                  <a:pt x="7146741" y="0"/>
                  <a:pt x="7146741" y="0"/>
                  <a:pt x="7146741" y="0"/>
                </a:cubicBezTo>
                <a:lnTo>
                  <a:pt x="7167509" y="2154"/>
                </a:lnTo>
                <a:lnTo>
                  <a:pt x="7197882" y="2154"/>
                </a:lnTo>
                <a:lnTo>
                  <a:pt x="7197881" y="5304"/>
                </a:lnTo>
                <a:lnTo>
                  <a:pt x="7255678" y="11299"/>
                </a:lnTo>
                <a:cubicBezTo>
                  <a:pt x="7362449" y="33070"/>
                  <a:pt x="7461371" y="85742"/>
                  <a:pt x="7540283" y="164653"/>
                </a:cubicBezTo>
                <a:cubicBezTo>
                  <a:pt x="8264607" y="888978"/>
                  <a:pt x="8264607" y="888978"/>
                  <a:pt x="8264607" y="888978"/>
                </a:cubicBezTo>
                <a:cubicBezTo>
                  <a:pt x="8368715" y="993086"/>
                  <a:pt x="8428389" y="1134982"/>
                  <a:pt x="8429260" y="1282519"/>
                </a:cubicBezTo>
                <a:lnTo>
                  <a:pt x="8429232" y="1416839"/>
                </a:lnTo>
                <a:lnTo>
                  <a:pt x="8433622" y="1416840"/>
                </a:lnTo>
                <a:lnTo>
                  <a:pt x="8433622" y="5852108"/>
                </a:lnTo>
                <a:lnTo>
                  <a:pt x="7197882" y="5852108"/>
                </a:lnTo>
                <a:lnTo>
                  <a:pt x="7197881" y="5852111"/>
                </a:lnTo>
                <a:lnTo>
                  <a:pt x="5303429" y="5852110"/>
                </a:lnTo>
                <a:lnTo>
                  <a:pt x="5303428" y="5852929"/>
                </a:lnTo>
                <a:cubicBezTo>
                  <a:pt x="5303427" y="5854086"/>
                  <a:pt x="5303427" y="5854086"/>
                  <a:pt x="5303427" y="5854086"/>
                </a:cubicBezTo>
                <a:cubicBezTo>
                  <a:pt x="4508047" y="5854259"/>
                  <a:pt x="4508047" y="5854259"/>
                  <a:pt x="4508047" y="5854259"/>
                </a:cubicBezTo>
                <a:lnTo>
                  <a:pt x="4487306" y="5852108"/>
                </a:lnTo>
                <a:lnTo>
                  <a:pt x="3972763" y="5852108"/>
                </a:lnTo>
                <a:lnTo>
                  <a:pt x="3972763" y="5852110"/>
                </a:lnTo>
                <a:lnTo>
                  <a:pt x="2078312" y="5852111"/>
                </a:lnTo>
                <a:lnTo>
                  <a:pt x="2078310" y="5852929"/>
                </a:lnTo>
                <a:cubicBezTo>
                  <a:pt x="2078308" y="5854086"/>
                  <a:pt x="2078308" y="5854086"/>
                  <a:pt x="2078308" y="5854086"/>
                </a:cubicBezTo>
                <a:cubicBezTo>
                  <a:pt x="1282928" y="5854259"/>
                  <a:pt x="1282928" y="5854259"/>
                  <a:pt x="1282928" y="5854259"/>
                </a:cubicBezTo>
                <a:cubicBezTo>
                  <a:pt x="1135391" y="5853387"/>
                  <a:pt x="994602" y="5794821"/>
                  <a:pt x="889387" y="5689605"/>
                </a:cubicBezTo>
                <a:cubicBezTo>
                  <a:pt x="165062" y="4965281"/>
                  <a:pt x="165062" y="4965281"/>
                  <a:pt x="165062" y="4965281"/>
                </a:cubicBezTo>
                <a:cubicBezTo>
                  <a:pt x="60954" y="4861173"/>
                  <a:pt x="1280" y="4719276"/>
                  <a:pt x="408" y="4571739"/>
                </a:cubicBezTo>
                <a:lnTo>
                  <a:pt x="438" y="4437419"/>
                </a:lnTo>
                <a:lnTo>
                  <a:pt x="0" y="4437419"/>
                </a:lnTo>
                <a:lnTo>
                  <a:pt x="0" y="2151"/>
                </a:lnTo>
                <a:lnTo>
                  <a:pt x="2386827" y="2151"/>
                </a:lnTo>
                <a:lnTo>
                  <a:pt x="2386827" y="2154"/>
                </a:lnTo>
                <a:lnTo>
                  <a:pt x="3126241" y="2154"/>
                </a:lnTo>
                <a:lnTo>
                  <a:pt x="3126241" y="1330"/>
                </a:lnTo>
                <a:cubicBezTo>
                  <a:pt x="3126243" y="173"/>
                  <a:pt x="3126243" y="173"/>
                  <a:pt x="3126243" y="173"/>
                </a:cubicBezTo>
                <a:cubicBezTo>
                  <a:pt x="3822200" y="22"/>
                  <a:pt x="3909195" y="3"/>
                  <a:pt x="3920070" y="0"/>
                </a:cubicBez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0" name="Freeform: Shape 29">
            <a:extLst>
              <a:ext uri="{FF2B5EF4-FFF2-40B4-BE49-F238E27FC236}">
                <a16:creationId xmlns:a16="http://schemas.microsoft.com/office/drawing/2014/main" id="{7E10EB5A-F6DE-9F4E-2117-2176E75AEACD}"/>
              </a:ext>
            </a:extLst>
          </p:cNvPr>
          <p:cNvSpPr/>
          <p:nvPr/>
        </p:nvSpPr>
        <p:spPr>
          <a:xfrm>
            <a:off x="0" y="0"/>
            <a:ext cx="8433622" cy="5854259"/>
          </a:xfrm>
          <a:custGeom>
            <a:avLst/>
            <a:gdLst>
              <a:gd name="connsiteX0" fmla="*/ 3920070 w 8433622"/>
              <a:gd name="connsiteY0" fmla="*/ 0 h 5854259"/>
              <a:gd name="connsiteX1" fmla="*/ 3921623 w 8433622"/>
              <a:gd name="connsiteY1" fmla="*/ 0 h 5854259"/>
              <a:gd name="connsiteX2" fmla="*/ 3942361 w 8433622"/>
              <a:gd name="connsiteY2" fmla="*/ 2150 h 5854259"/>
              <a:gd name="connsiteX3" fmla="*/ 5611946 w 8433622"/>
              <a:gd name="connsiteY3" fmla="*/ 2151 h 5854259"/>
              <a:gd name="connsiteX4" fmla="*/ 5611946 w 8433622"/>
              <a:gd name="connsiteY4" fmla="*/ 2154 h 5854259"/>
              <a:gd name="connsiteX5" fmla="*/ 6351359 w 8433622"/>
              <a:gd name="connsiteY5" fmla="*/ 2154 h 5854259"/>
              <a:gd name="connsiteX6" fmla="*/ 6351360 w 8433622"/>
              <a:gd name="connsiteY6" fmla="*/ 1330 h 5854259"/>
              <a:gd name="connsiteX7" fmla="*/ 6351361 w 8433622"/>
              <a:gd name="connsiteY7" fmla="*/ 173 h 5854259"/>
              <a:gd name="connsiteX8" fmla="*/ 7146741 w 8433622"/>
              <a:gd name="connsiteY8" fmla="*/ 0 h 5854259"/>
              <a:gd name="connsiteX9" fmla="*/ 7167509 w 8433622"/>
              <a:gd name="connsiteY9" fmla="*/ 2154 h 5854259"/>
              <a:gd name="connsiteX10" fmla="*/ 7197882 w 8433622"/>
              <a:gd name="connsiteY10" fmla="*/ 2154 h 5854259"/>
              <a:gd name="connsiteX11" fmla="*/ 7197881 w 8433622"/>
              <a:gd name="connsiteY11" fmla="*/ 5304 h 5854259"/>
              <a:gd name="connsiteX12" fmla="*/ 7255678 w 8433622"/>
              <a:gd name="connsiteY12" fmla="*/ 11299 h 5854259"/>
              <a:gd name="connsiteX13" fmla="*/ 7540283 w 8433622"/>
              <a:gd name="connsiteY13" fmla="*/ 164653 h 5854259"/>
              <a:gd name="connsiteX14" fmla="*/ 8264607 w 8433622"/>
              <a:gd name="connsiteY14" fmla="*/ 888978 h 5854259"/>
              <a:gd name="connsiteX15" fmla="*/ 8429260 w 8433622"/>
              <a:gd name="connsiteY15" fmla="*/ 1282519 h 5854259"/>
              <a:gd name="connsiteX16" fmla="*/ 8429232 w 8433622"/>
              <a:gd name="connsiteY16" fmla="*/ 1416839 h 5854259"/>
              <a:gd name="connsiteX17" fmla="*/ 8433622 w 8433622"/>
              <a:gd name="connsiteY17" fmla="*/ 1416840 h 5854259"/>
              <a:gd name="connsiteX18" fmla="*/ 8433622 w 8433622"/>
              <a:gd name="connsiteY18" fmla="*/ 5852108 h 5854259"/>
              <a:gd name="connsiteX19" fmla="*/ 7197882 w 8433622"/>
              <a:gd name="connsiteY19" fmla="*/ 5852108 h 5854259"/>
              <a:gd name="connsiteX20" fmla="*/ 7197881 w 8433622"/>
              <a:gd name="connsiteY20" fmla="*/ 5852111 h 5854259"/>
              <a:gd name="connsiteX21" fmla="*/ 5303429 w 8433622"/>
              <a:gd name="connsiteY21" fmla="*/ 5852110 h 5854259"/>
              <a:gd name="connsiteX22" fmla="*/ 5303428 w 8433622"/>
              <a:gd name="connsiteY22" fmla="*/ 5852929 h 5854259"/>
              <a:gd name="connsiteX23" fmla="*/ 5303427 w 8433622"/>
              <a:gd name="connsiteY23" fmla="*/ 5854086 h 5854259"/>
              <a:gd name="connsiteX24" fmla="*/ 4508047 w 8433622"/>
              <a:gd name="connsiteY24" fmla="*/ 5854259 h 5854259"/>
              <a:gd name="connsiteX25" fmla="*/ 4487306 w 8433622"/>
              <a:gd name="connsiteY25" fmla="*/ 5852108 h 5854259"/>
              <a:gd name="connsiteX26" fmla="*/ 3972763 w 8433622"/>
              <a:gd name="connsiteY26" fmla="*/ 5852108 h 5854259"/>
              <a:gd name="connsiteX27" fmla="*/ 3972763 w 8433622"/>
              <a:gd name="connsiteY27" fmla="*/ 5852110 h 5854259"/>
              <a:gd name="connsiteX28" fmla="*/ 2078312 w 8433622"/>
              <a:gd name="connsiteY28" fmla="*/ 5852111 h 5854259"/>
              <a:gd name="connsiteX29" fmla="*/ 2078310 w 8433622"/>
              <a:gd name="connsiteY29" fmla="*/ 5852929 h 5854259"/>
              <a:gd name="connsiteX30" fmla="*/ 2078308 w 8433622"/>
              <a:gd name="connsiteY30" fmla="*/ 5854086 h 5854259"/>
              <a:gd name="connsiteX31" fmla="*/ 1282928 w 8433622"/>
              <a:gd name="connsiteY31" fmla="*/ 5854259 h 5854259"/>
              <a:gd name="connsiteX32" fmla="*/ 889387 w 8433622"/>
              <a:gd name="connsiteY32" fmla="*/ 5689605 h 5854259"/>
              <a:gd name="connsiteX33" fmla="*/ 165062 w 8433622"/>
              <a:gd name="connsiteY33" fmla="*/ 4965281 h 5854259"/>
              <a:gd name="connsiteX34" fmla="*/ 408 w 8433622"/>
              <a:gd name="connsiteY34" fmla="*/ 4571739 h 5854259"/>
              <a:gd name="connsiteX35" fmla="*/ 438 w 8433622"/>
              <a:gd name="connsiteY35" fmla="*/ 4437419 h 5854259"/>
              <a:gd name="connsiteX36" fmla="*/ 0 w 8433622"/>
              <a:gd name="connsiteY36" fmla="*/ 4437419 h 5854259"/>
              <a:gd name="connsiteX37" fmla="*/ 0 w 8433622"/>
              <a:gd name="connsiteY37" fmla="*/ 2151 h 5854259"/>
              <a:gd name="connsiteX38" fmla="*/ 2386827 w 8433622"/>
              <a:gd name="connsiteY38" fmla="*/ 2151 h 5854259"/>
              <a:gd name="connsiteX39" fmla="*/ 2386827 w 8433622"/>
              <a:gd name="connsiteY39" fmla="*/ 2154 h 5854259"/>
              <a:gd name="connsiteX40" fmla="*/ 3126241 w 8433622"/>
              <a:gd name="connsiteY40" fmla="*/ 2154 h 5854259"/>
              <a:gd name="connsiteX41" fmla="*/ 3126241 w 8433622"/>
              <a:gd name="connsiteY41" fmla="*/ 1330 h 5854259"/>
              <a:gd name="connsiteX42" fmla="*/ 3126243 w 8433622"/>
              <a:gd name="connsiteY42" fmla="*/ 173 h 5854259"/>
              <a:gd name="connsiteX43" fmla="*/ 3920070 w 8433622"/>
              <a:gd name="connsiteY43" fmla="*/ 0 h 585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8433622" h="5854259">
                <a:moveTo>
                  <a:pt x="3920070" y="0"/>
                </a:moveTo>
                <a:cubicBezTo>
                  <a:pt x="3921623" y="0"/>
                  <a:pt x="3921623" y="0"/>
                  <a:pt x="3921623" y="0"/>
                </a:cubicBezTo>
                <a:lnTo>
                  <a:pt x="3942361" y="2150"/>
                </a:lnTo>
                <a:lnTo>
                  <a:pt x="5611946" y="2151"/>
                </a:lnTo>
                <a:lnTo>
                  <a:pt x="5611946" y="2154"/>
                </a:lnTo>
                <a:lnTo>
                  <a:pt x="6351359" y="2154"/>
                </a:lnTo>
                <a:lnTo>
                  <a:pt x="6351360" y="1330"/>
                </a:lnTo>
                <a:cubicBezTo>
                  <a:pt x="6351361" y="173"/>
                  <a:pt x="6351361" y="173"/>
                  <a:pt x="6351361" y="173"/>
                </a:cubicBezTo>
                <a:cubicBezTo>
                  <a:pt x="7146741" y="0"/>
                  <a:pt x="7146741" y="0"/>
                  <a:pt x="7146741" y="0"/>
                </a:cubicBezTo>
                <a:lnTo>
                  <a:pt x="7167509" y="2154"/>
                </a:lnTo>
                <a:lnTo>
                  <a:pt x="7197882" y="2154"/>
                </a:lnTo>
                <a:lnTo>
                  <a:pt x="7197881" y="5304"/>
                </a:lnTo>
                <a:lnTo>
                  <a:pt x="7255678" y="11299"/>
                </a:lnTo>
                <a:cubicBezTo>
                  <a:pt x="7362449" y="33070"/>
                  <a:pt x="7461371" y="85742"/>
                  <a:pt x="7540283" y="164653"/>
                </a:cubicBezTo>
                <a:cubicBezTo>
                  <a:pt x="8264607" y="888978"/>
                  <a:pt x="8264607" y="888978"/>
                  <a:pt x="8264607" y="888978"/>
                </a:cubicBezTo>
                <a:cubicBezTo>
                  <a:pt x="8368715" y="993086"/>
                  <a:pt x="8428389" y="1134982"/>
                  <a:pt x="8429260" y="1282519"/>
                </a:cubicBezTo>
                <a:lnTo>
                  <a:pt x="8429232" y="1416839"/>
                </a:lnTo>
                <a:lnTo>
                  <a:pt x="8433622" y="1416840"/>
                </a:lnTo>
                <a:lnTo>
                  <a:pt x="8433622" y="5852108"/>
                </a:lnTo>
                <a:lnTo>
                  <a:pt x="7197882" y="5852108"/>
                </a:lnTo>
                <a:lnTo>
                  <a:pt x="7197881" y="5852111"/>
                </a:lnTo>
                <a:lnTo>
                  <a:pt x="5303429" y="5852110"/>
                </a:lnTo>
                <a:lnTo>
                  <a:pt x="5303428" y="5852929"/>
                </a:lnTo>
                <a:cubicBezTo>
                  <a:pt x="5303427" y="5854086"/>
                  <a:pt x="5303427" y="5854086"/>
                  <a:pt x="5303427" y="5854086"/>
                </a:cubicBezTo>
                <a:cubicBezTo>
                  <a:pt x="4508047" y="5854259"/>
                  <a:pt x="4508047" y="5854259"/>
                  <a:pt x="4508047" y="5854259"/>
                </a:cubicBezTo>
                <a:lnTo>
                  <a:pt x="4487306" y="5852108"/>
                </a:lnTo>
                <a:lnTo>
                  <a:pt x="3972763" y="5852108"/>
                </a:lnTo>
                <a:lnTo>
                  <a:pt x="3972763" y="5852110"/>
                </a:lnTo>
                <a:lnTo>
                  <a:pt x="2078312" y="5852111"/>
                </a:lnTo>
                <a:lnTo>
                  <a:pt x="2078310" y="5852929"/>
                </a:lnTo>
                <a:cubicBezTo>
                  <a:pt x="2078308" y="5854086"/>
                  <a:pt x="2078308" y="5854086"/>
                  <a:pt x="2078308" y="5854086"/>
                </a:cubicBezTo>
                <a:cubicBezTo>
                  <a:pt x="1282928" y="5854259"/>
                  <a:pt x="1282928" y="5854259"/>
                  <a:pt x="1282928" y="5854259"/>
                </a:cubicBezTo>
                <a:cubicBezTo>
                  <a:pt x="1135391" y="5853387"/>
                  <a:pt x="994602" y="5794821"/>
                  <a:pt x="889387" y="5689605"/>
                </a:cubicBezTo>
                <a:cubicBezTo>
                  <a:pt x="165062" y="4965281"/>
                  <a:pt x="165062" y="4965281"/>
                  <a:pt x="165062" y="4965281"/>
                </a:cubicBezTo>
                <a:cubicBezTo>
                  <a:pt x="60954" y="4861173"/>
                  <a:pt x="1280" y="4719276"/>
                  <a:pt x="408" y="4571739"/>
                </a:cubicBezTo>
                <a:lnTo>
                  <a:pt x="438" y="4437419"/>
                </a:lnTo>
                <a:lnTo>
                  <a:pt x="0" y="4437419"/>
                </a:lnTo>
                <a:lnTo>
                  <a:pt x="0" y="2151"/>
                </a:lnTo>
                <a:lnTo>
                  <a:pt x="2386827" y="2151"/>
                </a:lnTo>
                <a:lnTo>
                  <a:pt x="2386827" y="2154"/>
                </a:lnTo>
                <a:lnTo>
                  <a:pt x="3126241" y="2154"/>
                </a:lnTo>
                <a:lnTo>
                  <a:pt x="3126241" y="1330"/>
                </a:lnTo>
                <a:cubicBezTo>
                  <a:pt x="3126243" y="173"/>
                  <a:pt x="3126243" y="173"/>
                  <a:pt x="3126243" y="173"/>
                </a:cubicBezTo>
                <a:cubicBezTo>
                  <a:pt x="3822200" y="22"/>
                  <a:pt x="3909195" y="3"/>
                  <a:pt x="3920070" y="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3" name="Title 1">
            <a:extLst>
              <a:ext uri="{FF2B5EF4-FFF2-40B4-BE49-F238E27FC236}">
                <a16:creationId xmlns:a16="http://schemas.microsoft.com/office/drawing/2014/main" id="{6692DA30-7E49-60E7-C70F-22061A006E26}"/>
              </a:ext>
            </a:extLst>
          </p:cNvPr>
          <p:cNvSpPr>
            <a:spLocks noGrp="1"/>
          </p:cNvSpPr>
          <p:nvPr>
            <p:ph type="title"/>
          </p:nvPr>
        </p:nvSpPr>
        <p:spPr>
          <a:xfrm>
            <a:off x="1440315" y="1447799"/>
            <a:ext cx="6065385" cy="3167743"/>
          </a:xfrm>
        </p:spPr>
        <p:txBody>
          <a:bodyPr anchor="ctr">
            <a:noAutofit/>
          </a:bodyPr>
          <a:lstStyle>
            <a:lvl1pPr>
              <a:lnSpc>
                <a:spcPct val="84000"/>
              </a:lnSpc>
              <a:defRPr sz="7200">
                <a:solidFill>
                  <a:schemeClr val="accent1"/>
                </a:solidFill>
              </a:defRPr>
            </a:lvl1pPr>
          </a:lstStyle>
          <a:p>
            <a:r>
              <a:rPr lang="en-US"/>
              <a:t>Click to edit Master title style</a:t>
            </a:r>
          </a:p>
        </p:txBody>
      </p:sp>
      <p:sp>
        <p:nvSpPr>
          <p:cNvPr id="3" name="Text Placeholder 25">
            <a:extLst>
              <a:ext uri="{FF2B5EF4-FFF2-40B4-BE49-F238E27FC236}">
                <a16:creationId xmlns:a16="http://schemas.microsoft.com/office/drawing/2014/main" id="{BCFC4176-9DE3-B70C-EEA6-E92C0551B13A}"/>
              </a:ext>
            </a:extLst>
          </p:cNvPr>
          <p:cNvSpPr>
            <a:spLocks noGrp="1"/>
          </p:cNvSpPr>
          <p:nvPr>
            <p:ph type="body" sz="quarter" idx="11" hasCustomPrompt="1"/>
          </p:nvPr>
        </p:nvSpPr>
        <p:spPr>
          <a:xfrm>
            <a:off x="9077325" y="3883114"/>
            <a:ext cx="2619376" cy="289711"/>
          </a:xfrm>
          <a:prstGeom prst="rect">
            <a:avLst/>
          </a:prstGeom>
        </p:spPr>
        <p:txBody>
          <a:bodyPr anchor="b">
            <a:noAutofit/>
          </a:bodyPr>
          <a:lstStyle>
            <a:lvl1pPr marL="0" indent="0">
              <a:buNone/>
              <a:defRPr sz="2100">
                <a:solidFill>
                  <a:schemeClr val="accent2"/>
                </a:solidFill>
                <a:latin typeface="+mj-lt"/>
              </a:defRPr>
            </a:lvl1pPr>
          </a:lstStyle>
          <a:p>
            <a:pPr lvl="0"/>
            <a:r>
              <a:rPr lang="en-US"/>
              <a:t>Section 00</a:t>
            </a:r>
          </a:p>
        </p:txBody>
      </p:sp>
      <p:sp>
        <p:nvSpPr>
          <p:cNvPr id="4" name="Subtitle 2">
            <a:extLst>
              <a:ext uri="{FF2B5EF4-FFF2-40B4-BE49-F238E27FC236}">
                <a16:creationId xmlns:a16="http://schemas.microsoft.com/office/drawing/2014/main" id="{A605E036-9278-326A-A717-B279EB022958}"/>
              </a:ext>
            </a:extLst>
          </p:cNvPr>
          <p:cNvSpPr>
            <a:spLocks noGrp="1"/>
          </p:cNvSpPr>
          <p:nvPr>
            <p:ph type="subTitle" idx="1"/>
          </p:nvPr>
        </p:nvSpPr>
        <p:spPr>
          <a:xfrm>
            <a:off x="9077325" y="4179245"/>
            <a:ext cx="2619375" cy="961080"/>
          </a:xfrm>
        </p:spPr>
        <p:txBody>
          <a:bodyPr>
            <a:noAutofit/>
          </a:bodyPr>
          <a:lstStyle>
            <a:lvl1pPr marL="0" indent="0" algn="l">
              <a:buNone/>
              <a:defRPr sz="2400">
                <a:solidFill>
                  <a:schemeClr val="tx1"/>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169786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gue Sky">
    <p:spTree>
      <p:nvGrpSpPr>
        <p:cNvPr id="1" name=""/>
        <p:cNvGrpSpPr/>
        <p:nvPr/>
      </p:nvGrpSpPr>
      <p:grpSpPr>
        <a:xfrm>
          <a:off x="0" y="0"/>
          <a:ext cx="0" cy="0"/>
          <a:chOff x="0" y="0"/>
          <a:chExt cx="0" cy="0"/>
        </a:xfrm>
      </p:grpSpPr>
      <p:sp>
        <p:nvSpPr>
          <p:cNvPr id="30" name="Freeform: Shape 29">
            <a:extLst>
              <a:ext uri="{FF2B5EF4-FFF2-40B4-BE49-F238E27FC236}">
                <a16:creationId xmlns:a16="http://schemas.microsoft.com/office/drawing/2014/main" id="{7E10EB5A-F6DE-9F4E-2117-2176E75AEACD}"/>
              </a:ext>
            </a:extLst>
          </p:cNvPr>
          <p:cNvSpPr/>
          <p:nvPr/>
        </p:nvSpPr>
        <p:spPr>
          <a:xfrm>
            <a:off x="0" y="0"/>
            <a:ext cx="8433622" cy="5854259"/>
          </a:xfrm>
          <a:custGeom>
            <a:avLst/>
            <a:gdLst>
              <a:gd name="connsiteX0" fmla="*/ 3920070 w 8433622"/>
              <a:gd name="connsiteY0" fmla="*/ 0 h 5854259"/>
              <a:gd name="connsiteX1" fmla="*/ 3921623 w 8433622"/>
              <a:gd name="connsiteY1" fmla="*/ 0 h 5854259"/>
              <a:gd name="connsiteX2" fmla="*/ 3942361 w 8433622"/>
              <a:gd name="connsiteY2" fmla="*/ 2150 h 5854259"/>
              <a:gd name="connsiteX3" fmla="*/ 5611946 w 8433622"/>
              <a:gd name="connsiteY3" fmla="*/ 2151 h 5854259"/>
              <a:gd name="connsiteX4" fmla="*/ 5611946 w 8433622"/>
              <a:gd name="connsiteY4" fmla="*/ 2154 h 5854259"/>
              <a:gd name="connsiteX5" fmla="*/ 6351359 w 8433622"/>
              <a:gd name="connsiteY5" fmla="*/ 2154 h 5854259"/>
              <a:gd name="connsiteX6" fmla="*/ 6351360 w 8433622"/>
              <a:gd name="connsiteY6" fmla="*/ 1330 h 5854259"/>
              <a:gd name="connsiteX7" fmla="*/ 6351361 w 8433622"/>
              <a:gd name="connsiteY7" fmla="*/ 173 h 5854259"/>
              <a:gd name="connsiteX8" fmla="*/ 7146741 w 8433622"/>
              <a:gd name="connsiteY8" fmla="*/ 0 h 5854259"/>
              <a:gd name="connsiteX9" fmla="*/ 7167509 w 8433622"/>
              <a:gd name="connsiteY9" fmla="*/ 2154 h 5854259"/>
              <a:gd name="connsiteX10" fmla="*/ 7197882 w 8433622"/>
              <a:gd name="connsiteY10" fmla="*/ 2154 h 5854259"/>
              <a:gd name="connsiteX11" fmla="*/ 7197881 w 8433622"/>
              <a:gd name="connsiteY11" fmla="*/ 5304 h 5854259"/>
              <a:gd name="connsiteX12" fmla="*/ 7255678 w 8433622"/>
              <a:gd name="connsiteY12" fmla="*/ 11299 h 5854259"/>
              <a:gd name="connsiteX13" fmla="*/ 7540283 w 8433622"/>
              <a:gd name="connsiteY13" fmla="*/ 164653 h 5854259"/>
              <a:gd name="connsiteX14" fmla="*/ 8264607 w 8433622"/>
              <a:gd name="connsiteY14" fmla="*/ 888978 h 5854259"/>
              <a:gd name="connsiteX15" fmla="*/ 8429260 w 8433622"/>
              <a:gd name="connsiteY15" fmla="*/ 1282519 h 5854259"/>
              <a:gd name="connsiteX16" fmla="*/ 8429232 w 8433622"/>
              <a:gd name="connsiteY16" fmla="*/ 1416839 h 5854259"/>
              <a:gd name="connsiteX17" fmla="*/ 8433622 w 8433622"/>
              <a:gd name="connsiteY17" fmla="*/ 1416840 h 5854259"/>
              <a:gd name="connsiteX18" fmla="*/ 8433622 w 8433622"/>
              <a:gd name="connsiteY18" fmla="*/ 5852108 h 5854259"/>
              <a:gd name="connsiteX19" fmla="*/ 7197882 w 8433622"/>
              <a:gd name="connsiteY19" fmla="*/ 5852108 h 5854259"/>
              <a:gd name="connsiteX20" fmla="*/ 7197881 w 8433622"/>
              <a:gd name="connsiteY20" fmla="*/ 5852111 h 5854259"/>
              <a:gd name="connsiteX21" fmla="*/ 5303429 w 8433622"/>
              <a:gd name="connsiteY21" fmla="*/ 5852110 h 5854259"/>
              <a:gd name="connsiteX22" fmla="*/ 5303428 w 8433622"/>
              <a:gd name="connsiteY22" fmla="*/ 5852929 h 5854259"/>
              <a:gd name="connsiteX23" fmla="*/ 5303427 w 8433622"/>
              <a:gd name="connsiteY23" fmla="*/ 5854086 h 5854259"/>
              <a:gd name="connsiteX24" fmla="*/ 4508047 w 8433622"/>
              <a:gd name="connsiteY24" fmla="*/ 5854259 h 5854259"/>
              <a:gd name="connsiteX25" fmla="*/ 4487306 w 8433622"/>
              <a:gd name="connsiteY25" fmla="*/ 5852108 h 5854259"/>
              <a:gd name="connsiteX26" fmla="*/ 3972763 w 8433622"/>
              <a:gd name="connsiteY26" fmla="*/ 5852108 h 5854259"/>
              <a:gd name="connsiteX27" fmla="*/ 3972763 w 8433622"/>
              <a:gd name="connsiteY27" fmla="*/ 5852110 h 5854259"/>
              <a:gd name="connsiteX28" fmla="*/ 2078312 w 8433622"/>
              <a:gd name="connsiteY28" fmla="*/ 5852111 h 5854259"/>
              <a:gd name="connsiteX29" fmla="*/ 2078310 w 8433622"/>
              <a:gd name="connsiteY29" fmla="*/ 5852929 h 5854259"/>
              <a:gd name="connsiteX30" fmla="*/ 2078308 w 8433622"/>
              <a:gd name="connsiteY30" fmla="*/ 5854086 h 5854259"/>
              <a:gd name="connsiteX31" fmla="*/ 1282928 w 8433622"/>
              <a:gd name="connsiteY31" fmla="*/ 5854259 h 5854259"/>
              <a:gd name="connsiteX32" fmla="*/ 889387 w 8433622"/>
              <a:gd name="connsiteY32" fmla="*/ 5689605 h 5854259"/>
              <a:gd name="connsiteX33" fmla="*/ 165062 w 8433622"/>
              <a:gd name="connsiteY33" fmla="*/ 4965281 h 5854259"/>
              <a:gd name="connsiteX34" fmla="*/ 408 w 8433622"/>
              <a:gd name="connsiteY34" fmla="*/ 4571739 h 5854259"/>
              <a:gd name="connsiteX35" fmla="*/ 438 w 8433622"/>
              <a:gd name="connsiteY35" fmla="*/ 4437419 h 5854259"/>
              <a:gd name="connsiteX36" fmla="*/ 0 w 8433622"/>
              <a:gd name="connsiteY36" fmla="*/ 4437419 h 5854259"/>
              <a:gd name="connsiteX37" fmla="*/ 0 w 8433622"/>
              <a:gd name="connsiteY37" fmla="*/ 2151 h 5854259"/>
              <a:gd name="connsiteX38" fmla="*/ 2386827 w 8433622"/>
              <a:gd name="connsiteY38" fmla="*/ 2151 h 5854259"/>
              <a:gd name="connsiteX39" fmla="*/ 2386827 w 8433622"/>
              <a:gd name="connsiteY39" fmla="*/ 2154 h 5854259"/>
              <a:gd name="connsiteX40" fmla="*/ 3126241 w 8433622"/>
              <a:gd name="connsiteY40" fmla="*/ 2154 h 5854259"/>
              <a:gd name="connsiteX41" fmla="*/ 3126241 w 8433622"/>
              <a:gd name="connsiteY41" fmla="*/ 1330 h 5854259"/>
              <a:gd name="connsiteX42" fmla="*/ 3126243 w 8433622"/>
              <a:gd name="connsiteY42" fmla="*/ 173 h 5854259"/>
              <a:gd name="connsiteX43" fmla="*/ 3920070 w 8433622"/>
              <a:gd name="connsiteY43" fmla="*/ 0 h 585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8433622" h="5854259">
                <a:moveTo>
                  <a:pt x="3920070" y="0"/>
                </a:moveTo>
                <a:cubicBezTo>
                  <a:pt x="3921623" y="0"/>
                  <a:pt x="3921623" y="0"/>
                  <a:pt x="3921623" y="0"/>
                </a:cubicBezTo>
                <a:lnTo>
                  <a:pt x="3942361" y="2150"/>
                </a:lnTo>
                <a:lnTo>
                  <a:pt x="5611946" y="2151"/>
                </a:lnTo>
                <a:lnTo>
                  <a:pt x="5611946" y="2154"/>
                </a:lnTo>
                <a:lnTo>
                  <a:pt x="6351359" y="2154"/>
                </a:lnTo>
                <a:lnTo>
                  <a:pt x="6351360" y="1330"/>
                </a:lnTo>
                <a:cubicBezTo>
                  <a:pt x="6351361" y="173"/>
                  <a:pt x="6351361" y="173"/>
                  <a:pt x="6351361" y="173"/>
                </a:cubicBezTo>
                <a:cubicBezTo>
                  <a:pt x="7146741" y="0"/>
                  <a:pt x="7146741" y="0"/>
                  <a:pt x="7146741" y="0"/>
                </a:cubicBezTo>
                <a:lnTo>
                  <a:pt x="7167509" y="2154"/>
                </a:lnTo>
                <a:lnTo>
                  <a:pt x="7197882" y="2154"/>
                </a:lnTo>
                <a:lnTo>
                  <a:pt x="7197881" y="5304"/>
                </a:lnTo>
                <a:lnTo>
                  <a:pt x="7255678" y="11299"/>
                </a:lnTo>
                <a:cubicBezTo>
                  <a:pt x="7362449" y="33070"/>
                  <a:pt x="7461371" y="85742"/>
                  <a:pt x="7540283" y="164653"/>
                </a:cubicBezTo>
                <a:cubicBezTo>
                  <a:pt x="8264607" y="888978"/>
                  <a:pt x="8264607" y="888978"/>
                  <a:pt x="8264607" y="888978"/>
                </a:cubicBezTo>
                <a:cubicBezTo>
                  <a:pt x="8368715" y="993086"/>
                  <a:pt x="8428389" y="1134982"/>
                  <a:pt x="8429260" y="1282519"/>
                </a:cubicBezTo>
                <a:lnTo>
                  <a:pt x="8429232" y="1416839"/>
                </a:lnTo>
                <a:lnTo>
                  <a:pt x="8433622" y="1416840"/>
                </a:lnTo>
                <a:lnTo>
                  <a:pt x="8433622" y="5852108"/>
                </a:lnTo>
                <a:lnTo>
                  <a:pt x="7197882" y="5852108"/>
                </a:lnTo>
                <a:lnTo>
                  <a:pt x="7197881" y="5852111"/>
                </a:lnTo>
                <a:lnTo>
                  <a:pt x="5303429" y="5852110"/>
                </a:lnTo>
                <a:lnTo>
                  <a:pt x="5303428" y="5852929"/>
                </a:lnTo>
                <a:cubicBezTo>
                  <a:pt x="5303427" y="5854086"/>
                  <a:pt x="5303427" y="5854086"/>
                  <a:pt x="5303427" y="5854086"/>
                </a:cubicBezTo>
                <a:cubicBezTo>
                  <a:pt x="4508047" y="5854259"/>
                  <a:pt x="4508047" y="5854259"/>
                  <a:pt x="4508047" y="5854259"/>
                </a:cubicBezTo>
                <a:lnTo>
                  <a:pt x="4487306" y="5852108"/>
                </a:lnTo>
                <a:lnTo>
                  <a:pt x="3972763" y="5852108"/>
                </a:lnTo>
                <a:lnTo>
                  <a:pt x="3972763" y="5852110"/>
                </a:lnTo>
                <a:lnTo>
                  <a:pt x="2078312" y="5852111"/>
                </a:lnTo>
                <a:lnTo>
                  <a:pt x="2078310" y="5852929"/>
                </a:lnTo>
                <a:cubicBezTo>
                  <a:pt x="2078308" y="5854086"/>
                  <a:pt x="2078308" y="5854086"/>
                  <a:pt x="2078308" y="5854086"/>
                </a:cubicBezTo>
                <a:cubicBezTo>
                  <a:pt x="1282928" y="5854259"/>
                  <a:pt x="1282928" y="5854259"/>
                  <a:pt x="1282928" y="5854259"/>
                </a:cubicBezTo>
                <a:cubicBezTo>
                  <a:pt x="1135391" y="5853387"/>
                  <a:pt x="994602" y="5794821"/>
                  <a:pt x="889387" y="5689605"/>
                </a:cubicBezTo>
                <a:cubicBezTo>
                  <a:pt x="165062" y="4965281"/>
                  <a:pt x="165062" y="4965281"/>
                  <a:pt x="165062" y="4965281"/>
                </a:cubicBezTo>
                <a:cubicBezTo>
                  <a:pt x="60954" y="4861173"/>
                  <a:pt x="1280" y="4719276"/>
                  <a:pt x="408" y="4571739"/>
                </a:cubicBezTo>
                <a:lnTo>
                  <a:pt x="438" y="4437419"/>
                </a:lnTo>
                <a:lnTo>
                  <a:pt x="0" y="4437419"/>
                </a:lnTo>
                <a:lnTo>
                  <a:pt x="0" y="2151"/>
                </a:lnTo>
                <a:lnTo>
                  <a:pt x="2386827" y="2151"/>
                </a:lnTo>
                <a:lnTo>
                  <a:pt x="2386827" y="2154"/>
                </a:lnTo>
                <a:lnTo>
                  <a:pt x="3126241" y="2154"/>
                </a:lnTo>
                <a:lnTo>
                  <a:pt x="3126241" y="1330"/>
                </a:lnTo>
                <a:cubicBezTo>
                  <a:pt x="3126243" y="173"/>
                  <a:pt x="3126243" y="173"/>
                  <a:pt x="3126243" y="173"/>
                </a:cubicBezTo>
                <a:cubicBezTo>
                  <a:pt x="3822200" y="22"/>
                  <a:pt x="3909195" y="3"/>
                  <a:pt x="3920070" y="0"/>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3" name="Title 1">
            <a:extLst>
              <a:ext uri="{FF2B5EF4-FFF2-40B4-BE49-F238E27FC236}">
                <a16:creationId xmlns:a16="http://schemas.microsoft.com/office/drawing/2014/main" id="{6692DA30-7E49-60E7-C70F-22061A006E26}"/>
              </a:ext>
            </a:extLst>
          </p:cNvPr>
          <p:cNvSpPr>
            <a:spLocks noGrp="1"/>
          </p:cNvSpPr>
          <p:nvPr>
            <p:ph type="title"/>
          </p:nvPr>
        </p:nvSpPr>
        <p:spPr>
          <a:xfrm>
            <a:off x="1440315" y="1447799"/>
            <a:ext cx="6065385" cy="3167743"/>
          </a:xfrm>
        </p:spPr>
        <p:txBody>
          <a:bodyPr anchor="ctr">
            <a:noAutofit/>
          </a:bodyPr>
          <a:lstStyle>
            <a:lvl1pPr>
              <a:lnSpc>
                <a:spcPct val="84000"/>
              </a:lnSpc>
              <a:defRPr sz="7200">
                <a:solidFill>
                  <a:schemeClr val="bg1"/>
                </a:solidFill>
              </a:defRPr>
            </a:lvl1pPr>
          </a:lstStyle>
          <a:p>
            <a:r>
              <a:rPr lang="en-US"/>
              <a:t>Click to edit Master title style</a:t>
            </a:r>
          </a:p>
        </p:txBody>
      </p:sp>
      <p:sp>
        <p:nvSpPr>
          <p:cNvPr id="3" name="Text Placeholder 25">
            <a:extLst>
              <a:ext uri="{FF2B5EF4-FFF2-40B4-BE49-F238E27FC236}">
                <a16:creationId xmlns:a16="http://schemas.microsoft.com/office/drawing/2014/main" id="{EC896C82-CBBA-75F8-E833-2663BE43FB1C}"/>
              </a:ext>
            </a:extLst>
          </p:cNvPr>
          <p:cNvSpPr>
            <a:spLocks noGrp="1"/>
          </p:cNvSpPr>
          <p:nvPr>
            <p:ph type="body" sz="quarter" idx="11" hasCustomPrompt="1"/>
          </p:nvPr>
        </p:nvSpPr>
        <p:spPr>
          <a:xfrm>
            <a:off x="9077325" y="3883114"/>
            <a:ext cx="2619376" cy="289711"/>
          </a:xfrm>
          <a:prstGeom prst="rect">
            <a:avLst/>
          </a:prstGeom>
        </p:spPr>
        <p:txBody>
          <a:bodyPr anchor="b"/>
          <a:lstStyle>
            <a:lvl1pPr marL="0" indent="0">
              <a:buNone/>
              <a:defRPr sz="2100">
                <a:solidFill>
                  <a:schemeClr val="accent4"/>
                </a:solidFill>
                <a:latin typeface="+mj-lt"/>
              </a:defRPr>
            </a:lvl1pPr>
          </a:lstStyle>
          <a:p>
            <a:pPr lvl="0"/>
            <a:r>
              <a:rPr lang="en-US"/>
              <a:t>Section 00</a:t>
            </a:r>
          </a:p>
        </p:txBody>
      </p:sp>
      <p:sp>
        <p:nvSpPr>
          <p:cNvPr id="4" name="Subtitle 2">
            <a:extLst>
              <a:ext uri="{FF2B5EF4-FFF2-40B4-BE49-F238E27FC236}">
                <a16:creationId xmlns:a16="http://schemas.microsoft.com/office/drawing/2014/main" id="{53781B12-EF4C-0172-7852-53CFAC014FED}"/>
              </a:ext>
            </a:extLst>
          </p:cNvPr>
          <p:cNvSpPr>
            <a:spLocks noGrp="1"/>
          </p:cNvSpPr>
          <p:nvPr>
            <p:ph type="subTitle" idx="1"/>
          </p:nvPr>
        </p:nvSpPr>
        <p:spPr>
          <a:xfrm>
            <a:off x="9077325" y="4179245"/>
            <a:ext cx="2619375" cy="961080"/>
          </a:xfrm>
        </p:spPr>
        <p:txBody>
          <a:bodyPr/>
          <a:lstStyle>
            <a:lvl1pPr marL="0" indent="0" algn="l">
              <a:buNone/>
              <a:defRPr sz="24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8992260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gue Casia">
    <p:spTree>
      <p:nvGrpSpPr>
        <p:cNvPr id="1" name=""/>
        <p:cNvGrpSpPr/>
        <p:nvPr/>
      </p:nvGrpSpPr>
      <p:grpSpPr>
        <a:xfrm>
          <a:off x="0" y="0"/>
          <a:ext cx="0" cy="0"/>
          <a:chOff x="0" y="0"/>
          <a:chExt cx="0" cy="0"/>
        </a:xfrm>
      </p:grpSpPr>
      <p:sp>
        <p:nvSpPr>
          <p:cNvPr id="30" name="Freeform: Shape 29">
            <a:extLst>
              <a:ext uri="{FF2B5EF4-FFF2-40B4-BE49-F238E27FC236}">
                <a16:creationId xmlns:a16="http://schemas.microsoft.com/office/drawing/2014/main" id="{7E10EB5A-F6DE-9F4E-2117-2176E75AEACD}"/>
              </a:ext>
            </a:extLst>
          </p:cNvPr>
          <p:cNvSpPr/>
          <p:nvPr/>
        </p:nvSpPr>
        <p:spPr>
          <a:xfrm>
            <a:off x="0" y="0"/>
            <a:ext cx="8433622" cy="5854259"/>
          </a:xfrm>
          <a:custGeom>
            <a:avLst/>
            <a:gdLst>
              <a:gd name="connsiteX0" fmla="*/ 3920070 w 8433622"/>
              <a:gd name="connsiteY0" fmla="*/ 0 h 5854259"/>
              <a:gd name="connsiteX1" fmla="*/ 3921623 w 8433622"/>
              <a:gd name="connsiteY1" fmla="*/ 0 h 5854259"/>
              <a:gd name="connsiteX2" fmla="*/ 3942361 w 8433622"/>
              <a:gd name="connsiteY2" fmla="*/ 2150 h 5854259"/>
              <a:gd name="connsiteX3" fmla="*/ 5611946 w 8433622"/>
              <a:gd name="connsiteY3" fmla="*/ 2151 h 5854259"/>
              <a:gd name="connsiteX4" fmla="*/ 5611946 w 8433622"/>
              <a:gd name="connsiteY4" fmla="*/ 2154 h 5854259"/>
              <a:gd name="connsiteX5" fmla="*/ 6351359 w 8433622"/>
              <a:gd name="connsiteY5" fmla="*/ 2154 h 5854259"/>
              <a:gd name="connsiteX6" fmla="*/ 6351360 w 8433622"/>
              <a:gd name="connsiteY6" fmla="*/ 1330 h 5854259"/>
              <a:gd name="connsiteX7" fmla="*/ 6351361 w 8433622"/>
              <a:gd name="connsiteY7" fmla="*/ 173 h 5854259"/>
              <a:gd name="connsiteX8" fmla="*/ 7146741 w 8433622"/>
              <a:gd name="connsiteY8" fmla="*/ 0 h 5854259"/>
              <a:gd name="connsiteX9" fmla="*/ 7167509 w 8433622"/>
              <a:gd name="connsiteY9" fmla="*/ 2154 h 5854259"/>
              <a:gd name="connsiteX10" fmla="*/ 7197882 w 8433622"/>
              <a:gd name="connsiteY10" fmla="*/ 2154 h 5854259"/>
              <a:gd name="connsiteX11" fmla="*/ 7197881 w 8433622"/>
              <a:gd name="connsiteY11" fmla="*/ 5304 h 5854259"/>
              <a:gd name="connsiteX12" fmla="*/ 7255678 w 8433622"/>
              <a:gd name="connsiteY12" fmla="*/ 11299 h 5854259"/>
              <a:gd name="connsiteX13" fmla="*/ 7540283 w 8433622"/>
              <a:gd name="connsiteY13" fmla="*/ 164653 h 5854259"/>
              <a:gd name="connsiteX14" fmla="*/ 8264607 w 8433622"/>
              <a:gd name="connsiteY14" fmla="*/ 888978 h 5854259"/>
              <a:gd name="connsiteX15" fmla="*/ 8429260 w 8433622"/>
              <a:gd name="connsiteY15" fmla="*/ 1282519 h 5854259"/>
              <a:gd name="connsiteX16" fmla="*/ 8429232 w 8433622"/>
              <a:gd name="connsiteY16" fmla="*/ 1416839 h 5854259"/>
              <a:gd name="connsiteX17" fmla="*/ 8433622 w 8433622"/>
              <a:gd name="connsiteY17" fmla="*/ 1416840 h 5854259"/>
              <a:gd name="connsiteX18" fmla="*/ 8433622 w 8433622"/>
              <a:gd name="connsiteY18" fmla="*/ 5852108 h 5854259"/>
              <a:gd name="connsiteX19" fmla="*/ 7197882 w 8433622"/>
              <a:gd name="connsiteY19" fmla="*/ 5852108 h 5854259"/>
              <a:gd name="connsiteX20" fmla="*/ 7197881 w 8433622"/>
              <a:gd name="connsiteY20" fmla="*/ 5852111 h 5854259"/>
              <a:gd name="connsiteX21" fmla="*/ 5303429 w 8433622"/>
              <a:gd name="connsiteY21" fmla="*/ 5852110 h 5854259"/>
              <a:gd name="connsiteX22" fmla="*/ 5303428 w 8433622"/>
              <a:gd name="connsiteY22" fmla="*/ 5852929 h 5854259"/>
              <a:gd name="connsiteX23" fmla="*/ 5303427 w 8433622"/>
              <a:gd name="connsiteY23" fmla="*/ 5854086 h 5854259"/>
              <a:gd name="connsiteX24" fmla="*/ 4508047 w 8433622"/>
              <a:gd name="connsiteY24" fmla="*/ 5854259 h 5854259"/>
              <a:gd name="connsiteX25" fmla="*/ 4487306 w 8433622"/>
              <a:gd name="connsiteY25" fmla="*/ 5852108 h 5854259"/>
              <a:gd name="connsiteX26" fmla="*/ 3972763 w 8433622"/>
              <a:gd name="connsiteY26" fmla="*/ 5852108 h 5854259"/>
              <a:gd name="connsiteX27" fmla="*/ 3972763 w 8433622"/>
              <a:gd name="connsiteY27" fmla="*/ 5852110 h 5854259"/>
              <a:gd name="connsiteX28" fmla="*/ 2078312 w 8433622"/>
              <a:gd name="connsiteY28" fmla="*/ 5852111 h 5854259"/>
              <a:gd name="connsiteX29" fmla="*/ 2078310 w 8433622"/>
              <a:gd name="connsiteY29" fmla="*/ 5852929 h 5854259"/>
              <a:gd name="connsiteX30" fmla="*/ 2078308 w 8433622"/>
              <a:gd name="connsiteY30" fmla="*/ 5854086 h 5854259"/>
              <a:gd name="connsiteX31" fmla="*/ 1282928 w 8433622"/>
              <a:gd name="connsiteY31" fmla="*/ 5854259 h 5854259"/>
              <a:gd name="connsiteX32" fmla="*/ 889387 w 8433622"/>
              <a:gd name="connsiteY32" fmla="*/ 5689605 h 5854259"/>
              <a:gd name="connsiteX33" fmla="*/ 165062 w 8433622"/>
              <a:gd name="connsiteY33" fmla="*/ 4965281 h 5854259"/>
              <a:gd name="connsiteX34" fmla="*/ 408 w 8433622"/>
              <a:gd name="connsiteY34" fmla="*/ 4571739 h 5854259"/>
              <a:gd name="connsiteX35" fmla="*/ 438 w 8433622"/>
              <a:gd name="connsiteY35" fmla="*/ 4437419 h 5854259"/>
              <a:gd name="connsiteX36" fmla="*/ 0 w 8433622"/>
              <a:gd name="connsiteY36" fmla="*/ 4437419 h 5854259"/>
              <a:gd name="connsiteX37" fmla="*/ 0 w 8433622"/>
              <a:gd name="connsiteY37" fmla="*/ 2151 h 5854259"/>
              <a:gd name="connsiteX38" fmla="*/ 2386827 w 8433622"/>
              <a:gd name="connsiteY38" fmla="*/ 2151 h 5854259"/>
              <a:gd name="connsiteX39" fmla="*/ 2386827 w 8433622"/>
              <a:gd name="connsiteY39" fmla="*/ 2154 h 5854259"/>
              <a:gd name="connsiteX40" fmla="*/ 3126241 w 8433622"/>
              <a:gd name="connsiteY40" fmla="*/ 2154 h 5854259"/>
              <a:gd name="connsiteX41" fmla="*/ 3126241 w 8433622"/>
              <a:gd name="connsiteY41" fmla="*/ 1330 h 5854259"/>
              <a:gd name="connsiteX42" fmla="*/ 3126243 w 8433622"/>
              <a:gd name="connsiteY42" fmla="*/ 173 h 5854259"/>
              <a:gd name="connsiteX43" fmla="*/ 3920070 w 8433622"/>
              <a:gd name="connsiteY43" fmla="*/ 0 h 585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8433622" h="5854259">
                <a:moveTo>
                  <a:pt x="3920070" y="0"/>
                </a:moveTo>
                <a:cubicBezTo>
                  <a:pt x="3921623" y="0"/>
                  <a:pt x="3921623" y="0"/>
                  <a:pt x="3921623" y="0"/>
                </a:cubicBezTo>
                <a:lnTo>
                  <a:pt x="3942361" y="2150"/>
                </a:lnTo>
                <a:lnTo>
                  <a:pt x="5611946" y="2151"/>
                </a:lnTo>
                <a:lnTo>
                  <a:pt x="5611946" y="2154"/>
                </a:lnTo>
                <a:lnTo>
                  <a:pt x="6351359" y="2154"/>
                </a:lnTo>
                <a:lnTo>
                  <a:pt x="6351360" y="1330"/>
                </a:lnTo>
                <a:cubicBezTo>
                  <a:pt x="6351361" y="173"/>
                  <a:pt x="6351361" y="173"/>
                  <a:pt x="6351361" y="173"/>
                </a:cubicBezTo>
                <a:cubicBezTo>
                  <a:pt x="7146741" y="0"/>
                  <a:pt x="7146741" y="0"/>
                  <a:pt x="7146741" y="0"/>
                </a:cubicBezTo>
                <a:lnTo>
                  <a:pt x="7167509" y="2154"/>
                </a:lnTo>
                <a:lnTo>
                  <a:pt x="7197882" y="2154"/>
                </a:lnTo>
                <a:lnTo>
                  <a:pt x="7197881" y="5304"/>
                </a:lnTo>
                <a:lnTo>
                  <a:pt x="7255678" y="11299"/>
                </a:lnTo>
                <a:cubicBezTo>
                  <a:pt x="7362449" y="33070"/>
                  <a:pt x="7461371" y="85742"/>
                  <a:pt x="7540283" y="164653"/>
                </a:cubicBezTo>
                <a:cubicBezTo>
                  <a:pt x="8264607" y="888978"/>
                  <a:pt x="8264607" y="888978"/>
                  <a:pt x="8264607" y="888978"/>
                </a:cubicBezTo>
                <a:cubicBezTo>
                  <a:pt x="8368715" y="993086"/>
                  <a:pt x="8428389" y="1134982"/>
                  <a:pt x="8429260" y="1282519"/>
                </a:cubicBezTo>
                <a:lnTo>
                  <a:pt x="8429232" y="1416839"/>
                </a:lnTo>
                <a:lnTo>
                  <a:pt x="8433622" y="1416840"/>
                </a:lnTo>
                <a:lnTo>
                  <a:pt x="8433622" y="5852108"/>
                </a:lnTo>
                <a:lnTo>
                  <a:pt x="7197882" y="5852108"/>
                </a:lnTo>
                <a:lnTo>
                  <a:pt x="7197881" y="5852111"/>
                </a:lnTo>
                <a:lnTo>
                  <a:pt x="5303429" y="5852110"/>
                </a:lnTo>
                <a:lnTo>
                  <a:pt x="5303428" y="5852929"/>
                </a:lnTo>
                <a:cubicBezTo>
                  <a:pt x="5303427" y="5854086"/>
                  <a:pt x="5303427" y="5854086"/>
                  <a:pt x="5303427" y="5854086"/>
                </a:cubicBezTo>
                <a:cubicBezTo>
                  <a:pt x="4508047" y="5854259"/>
                  <a:pt x="4508047" y="5854259"/>
                  <a:pt x="4508047" y="5854259"/>
                </a:cubicBezTo>
                <a:lnTo>
                  <a:pt x="4487306" y="5852108"/>
                </a:lnTo>
                <a:lnTo>
                  <a:pt x="3972763" y="5852108"/>
                </a:lnTo>
                <a:lnTo>
                  <a:pt x="3972763" y="5852110"/>
                </a:lnTo>
                <a:lnTo>
                  <a:pt x="2078312" y="5852111"/>
                </a:lnTo>
                <a:lnTo>
                  <a:pt x="2078310" y="5852929"/>
                </a:lnTo>
                <a:cubicBezTo>
                  <a:pt x="2078308" y="5854086"/>
                  <a:pt x="2078308" y="5854086"/>
                  <a:pt x="2078308" y="5854086"/>
                </a:cubicBezTo>
                <a:cubicBezTo>
                  <a:pt x="1282928" y="5854259"/>
                  <a:pt x="1282928" y="5854259"/>
                  <a:pt x="1282928" y="5854259"/>
                </a:cubicBezTo>
                <a:cubicBezTo>
                  <a:pt x="1135391" y="5853387"/>
                  <a:pt x="994602" y="5794821"/>
                  <a:pt x="889387" y="5689605"/>
                </a:cubicBezTo>
                <a:cubicBezTo>
                  <a:pt x="165062" y="4965281"/>
                  <a:pt x="165062" y="4965281"/>
                  <a:pt x="165062" y="4965281"/>
                </a:cubicBezTo>
                <a:cubicBezTo>
                  <a:pt x="60954" y="4861173"/>
                  <a:pt x="1280" y="4719276"/>
                  <a:pt x="408" y="4571739"/>
                </a:cubicBezTo>
                <a:lnTo>
                  <a:pt x="438" y="4437419"/>
                </a:lnTo>
                <a:lnTo>
                  <a:pt x="0" y="4437419"/>
                </a:lnTo>
                <a:lnTo>
                  <a:pt x="0" y="2151"/>
                </a:lnTo>
                <a:lnTo>
                  <a:pt x="2386827" y="2151"/>
                </a:lnTo>
                <a:lnTo>
                  <a:pt x="2386827" y="2154"/>
                </a:lnTo>
                <a:lnTo>
                  <a:pt x="3126241" y="2154"/>
                </a:lnTo>
                <a:lnTo>
                  <a:pt x="3126241" y="1330"/>
                </a:lnTo>
                <a:cubicBezTo>
                  <a:pt x="3126243" y="173"/>
                  <a:pt x="3126243" y="173"/>
                  <a:pt x="3126243" y="173"/>
                </a:cubicBezTo>
                <a:cubicBezTo>
                  <a:pt x="3822200" y="22"/>
                  <a:pt x="3909195" y="3"/>
                  <a:pt x="3920070" y="0"/>
                </a:cubicBezTo>
                <a:close/>
              </a:path>
            </a:pathLst>
          </a:custGeom>
          <a:solidFill>
            <a:srgbClr val="8E71F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3" name="Title 1">
            <a:extLst>
              <a:ext uri="{FF2B5EF4-FFF2-40B4-BE49-F238E27FC236}">
                <a16:creationId xmlns:a16="http://schemas.microsoft.com/office/drawing/2014/main" id="{6692DA30-7E49-60E7-C70F-22061A006E26}"/>
              </a:ext>
            </a:extLst>
          </p:cNvPr>
          <p:cNvSpPr>
            <a:spLocks noGrp="1"/>
          </p:cNvSpPr>
          <p:nvPr>
            <p:ph type="title"/>
          </p:nvPr>
        </p:nvSpPr>
        <p:spPr>
          <a:xfrm>
            <a:off x="1440315" y="1447799"/>
            <a:ext cx="6065385" cy="3167743"/>
          </a:xfrm>
        </p:spPr>
        <p:txBody>
          <a:bodyPr anchor="ctr">
            <a:noAutofit/>
          </a:bodyPr>
          <a:lstStyle>
            <a:lvl1pPr>
              <a:lnSpc>
                <a:spcPct val="84000"/>
              </a:lnSpc>
              <a:defRPr sz="7200">
                <a:solidFill>
                  <a:schemeClr val="bg1"/>
                </a:solidFill>
              </a:defRPr>
            </a:lvl1pPr>
          </a:lstStyle>
          <a:p>
            <a:r>
              <a:rPr lang="en-US"/>
              <a:t>Click to edit Master title style</a:t>
            </a:r>
          </a:p>
        </p:txBody>
      </p:sp>
      <p:sp>
        <p:nvSpPr>
          <p:cNvPr id="3" name="Text Placeholder 25">
            <a:extLst>
              <a:ext uri="{FF2B5EF4-FFF2-40B4-BE49-F238E27FC236}">
                <a16:creationId xmlns:a16="http://schemas.microsoft.com/office/drawing/2014/main" id="{F2287E4B-F93C-8279-53D0-512F9BC584F3}"/>
              </a:ext>
            </a:extLst>
          </p:cNvPr>
          <p:cNvSpPr>
            <a:spLocks noGrp="1"/>
          </p:cNvSpPr>
          <p:nvPr>
            <p:ph type="body" sz="quarter" idx="11" hasCustomPrompt="1"/>
          </p:nvPr>
        </p:nvSpPr>
        <p:spPr>
          <a:xfrm>
            <a:off x="9077325" y="3883114"/>
            <a:ext cx="2619376" cy="289711"/>
          </a:xfrm>
          <a:prstGeom prst="rect">
            <a:avLst/>
          </a:prstGeom>
        </p:spPr>
        <p:txBody>
          <a:bodyPr anchor="b"/>
          <a:lstStyle>
            <a:lvl1pPr marL="0" indent="0">
              <a:buNone/>
              <a:defRPr sz="2100">
                <a:solidFill>
                  <a:srgbClr val="8E71F4"/>
                </a:solidFill>
                <a:latin typeface="+mj-lt"/>
              </a:defRPr>
            </a:lvl1pPr>
          </a:lstStyle>
          <a:p>
            <a:pPr lvl="0"/>
            <a:r>
              <a:rPr lang="en-US"/>
              <a:t>Section 00</a:t>
            </a:r>
          </a:p>
        </p:txBody>
      </p:sp>
      <p:sp>
        <p:nvSpPr>
          <p:cNvPr id="4" name="Subtitle 2">
            <a:extLst>
              <a:ext uri="{FF2B5EF4-FFF2-40B4-BE49-F238E27FC236}">
                <a16:creationId xmlns:a16="http://schemas.microsoft.com/office/drawing/2014/main" id="{9BB1BAE8-29A8-75DB-FA7D-7C041D8A6046}"/>
              </a:ext>
            </a:extLst>
          </p:cNvPr>
          <p:cNvSpPr>
            <a:spLocks noGrp="1"/>
          </p:cNvSpPr>
          <p:nvPr>
            <p:ph type="subTitle" idx="1"/>
          </p:nvPr>
        </p:nvSpPr>
        <p:spPr>
          <a:xfrm>
            <a:off x="9077325" y="4179245"/>
            <a:ext cx="2619375" cy="961080"/>
          </a:xfrm>
        </p:spPr>
        <p:txBody>
          <a:bodyPr/>
          <a:lstStyle>
            <a:lvl1pPr marL="0" indent="0" algn="l">
              <a:buNone/>
              <a:defRPr sz="2400">
                <a:solidFill>
                  <a:schemeClr val="tx1"/>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63751250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gue Sol">
    <p:spTree>
      <p:nvGrpSpPr>
        <p:cNvPr id="1" name=""/>
        <p:cNvGrpSpPr/>
        <p:nvPr/>
      </p:nvGrpSpPr>
      <p:grpSpPr>
        <a:xfrm>
          <a:off x="0" y="0"/>
          <a:ext cx="0" cy="0"/>
          <a:chOff x="0" y="0"/>
          <a:chExt cx="0" cy="0"/>
        </a:xfrm>
      </p:grpSpPr>
      <p:sp>
        <p:nvSpPr>
          <p:cNvPr id="30" name="Freeform: Shape 29">
            <a:extLst>
              <a:ext uri="{FF2B5EF4-FFF2-40B4-BE49-F238E27FC236}">
                <a16:creationId xmlns:a16="http://schemas.microsoft.com/office/drawing/2014/main" id="{7E10EB5A-F6DE-9F4E-2117-2176E75AEACD}"/>
              </a:ext>
            </a:extLst>
          </p:cNvPr>
          <p:cNvSpPr/>
          <p:nvPr/>
        </p:nvSpPr>
        <p:spPr>
          <a:xfrm>
            <a:off x="0" y="0"/>
            <a:ext cx="8433622" cy="5854259"/>
          </a:xfrm>
          <a:custGeom>
            <a:avLst/>
            <a:gdLst>
              <a:gd name="connsiteX0" fmla="*/ 3920070 w 8433622"/>
              <a:gd name="connsiteY0" fmla="*/ 0 h 5854259"/>
              <a:gd name="connsiteX1" fmla="*/ 3921623 w 8433622"/>
              <a:gd name="connsiteY1" fmla="*/ 0 h 5854259"/>
              <a:gd name="connsiteX2" fmla="*/ 3942361 w 8433622"/>
              <a:gd name="connsiteY2" fmla="*/ 2150 h 5854259"/>
              <a:gd name="connsiteX3" fmla="*/ 5611946 w 8433622"/>
              <a:gd name="connsiteY3" fmla="*/ 2151 h 5854259"/>
              <a:gd name="connsiteX4" fmla="*/ 5611946 w 8433622"/>
              <a:gd name="connsiteY4" fmla="*/ 2154 h 5854259"/>
              <a:gd name="connsiteX5" fmla="*/ 6351359 w 8433622"/>
              <a:gd name="connsiteY5" fmla="*/ 2154 h 5854259"/>
              <a:gd name="connsiteX6" fmla="*/ 6351360 w 8433622"/>
              <a:gd name="connsiteY6" fmla="*/ 1330 h 5854259"/>
              <a:gd name="connsiteX7" fmla="*/ 6351361 w 8433622"/>
              <a:gd name="connsiteY7" fmla="*/ 173 h 5854259"/>
              <a:gd name="connsiteX8" fmla="*/ 7146741 w 8433622"/>
              <a:gd name="connsiteY8" fmla="*/ 0 h 5854259"/>
              <a:gd name="connsiteX9" fmla="*/ 7167509 w 8433622"/>
              <a:gd name="connsiteY9" fmla="*/ 2154 h 5854259"/>
              <a:gd name="connsiteX10" fmla="*/ 7197882 w 8433622"/>
              <a:gd name="connsiteY10" fmla="*/ 2154 h 5854259"/>
              <a:gd name="connsiteX11" fmla="*/ 7197881 w 8433622"/>
              <a:gd name="connsiteY11" fmla="*/ 5304 h 5854259"/>
              <a:gd name="connsiteX12" fmla="*/ 7255678 w 8433622"/>
              <a:gd name="connsiteY12" fmla="*/ 11299 h 5854259"/>
              <a:gd name="connsiteX13" fmla="*/ 7540283 w 8433622"/>
              <a:gd name="connsiteY13" fmla="*/ 164653 h 5854259"/>
              <a:gd name="connsiteX14" fmla="*/ 8264607 w 8433622"/>
              <a:gd name="connsiteY14" fmla="*/ 888978 h 5854259"/>
              <a:gd name="connsiteX15" fmla="*/ 8429260 w 8433622"/>
              <a:gd name="connsiteY15" fmla="*/ 1282519 h 5854259"/>
              <a:gd name="connsiteX16" fmla="*/ 8429232 w 8433622"/>
              <a:gd name="connsiteY16" fmla="*/ 1416839 h 5854259"/>
              <a:gd name="connsiteX17" fmla="*/ 8433622 w 8433622"/>
              <a:gd name="connsiteY17" fmla="*/ 1416840 h 5854259"/>
              <a:gd name="connsiteX18" fmla="*/ 8433622 w 8433622"/>
              <a:gd name="connsiteY18" fmla="*/ 5852108 h 5854259"/>
              <a:gd name="connsiteX19" fmla="*/ 7197882 w 8433622"/>
              <a:gd name="connsiteY19" fmla="*/ 5852108 h 5854259"/>
              <a:gd name="connsiteX20" fmla="*/ 7197881 w 8433622"/>
              <a:gd name="connsiteY20" fmla="*/ 5852111 h 5854259"/>
              <a:gd name="connsiteX21" fmla="*/ 5303429 w 8433622"/>
              <a:gd name="connsiteY21" fmla="*/ 5852110 h 5854259"/>
              <a:gd name="connsiteX22" fmla="*/ 5303428 w 8433622"/>
              <a:gd name="connsiteY22" fmla="*/ 5852929 h 5854259"/>
              <a:gd name="connsiteX23" fmla="*/ 5303427 w 8433622"/>
              <a:gd name="connsiteY23" fmla="*/ 5854086 h 5854259"/>
              <a:gd name="connsiteX24" fmla="*/ 4508047 w 8433622"/>
              <a:gd name="connsiteY24" fmla="*/ 5854259 h 5854259"/>
              <a:gd name="connsiteX25" fmla="*/ 4487306 w 8433622"/>
              <a:gd name="connsiteY25" fmla="*/ 5852108 h 5854259"/>
              <a:gd name="connsiteX26" fmla="*/ 3972763 w 8433622"/>
              <a:gd name="connsiteY26" fmla="*/ 5852108 h 5854259"/>
              <a:gd name="connsiteX27" fmla="*/ 3972763 w 8433622"/>
              <a:gd name="connsiteY27" fmla="*/ 5852110 h 5854259"/>
              <a:gd name="connsiteX28" fmla="*/ 2078312 w 8433622"/>
              <a:gd name="connsiteY28" fmla="*/ 5852111 h 5854259"/>
              <a:gd name="connsiteX29" fmla="*/ 2078310 w 8433622"/>
              <a:gd name="connsiteY29" fmla="*/ 5852929 h 5854259"/>
              <a:gd name="connsiteX30" fmla="*/ 2078308 w 8433622"/>
              <a:gd name="connsiteY30" fmla="*/ 5854086 h 5854259"/>
              <a:gd name="connsiteX31" fmla="*/ 1282928 w 8433622"/>
              <a:gd name="connsiteY31" fmla="*/ 5854259 h 5854259"/>
              <a:gd name="connsiteX32" fmla="*/ 889387 w 8433622"/>
              <a:gd name="connsiteY32" fmla="*/ 5689605 h 5854259"/>
              <a:gd name="connsiteX33" fmla="*/ 165062 w 8433622"/>
              <a:gd name="connsiteY33" fmla="*/ 4965281 h 5854259"/>
              <a:gd name="connsiteX34" fmla="*/ 408 w 8433622"/>
              <a:gd name="connsiteY34" fmla="*/ 4571739 h 5854259"/>
              <a:gd name="connsiteX35" fmla="*/ 438 w 8433622"/>
              <a:gd name="connsiteY35" fmla="*/ 4437419 h 5854259"/>
              <a:gd name="connsiteX36" fmla="*/ 0 w 8433622"/>
              <a:gd name="connsiteY36" fmla="*/ 4437419 h 5854259"/>
              <a:gd name="connsiteX37" fmla="*/ 0 w 8433622"/>
              <a:gd name="connsiteY37" fmla="*/ 2151 h 5854259"/>
              <a:gd name="connsiteX38" fmla="*/ 2386827 w 8433622"/>
              <a:gd name="connsiteY38" fmla="*/ 2151 h 5854259"/>
              <a:gd name="connsiteX39" fmla="*/ 2386827 w 8433622"/>
              <a:gd name="connsiteY39" fmla="*/ 2154 h 5854259"/>
              <a:gd name="connsiteX40" fmla="*/ 3126241 w 8433622"/>
              <a:gd name="connsiteY40" fmla="*/ 2154 h 5854259"/>
              <a:gd name="connsiteX41" fmla="*/ 3126241 w 8433622"/>
              <a:gd name="connsiteY41" fmla="*/ 1330 h 5854259"/>
              <a:gd name="connsiteX42" fmla="*/ 3126243 w 8433622"/>
              <a:gd name="connsiteY42" fmla="*/ 173 h 5854259"/>
              <a:gd name="connsiteX43" fmla="*/ 3920070 w 8433622"/>
              <a:gd name="connsiteY43" fmla="*/ 0 h 585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8433622" h="5854259">
                <a:moveTo>
                  <a:pt x="3920070" y="0"/>
                </a:moveTo>
                <a:cubicBezTo>
                  <a:pt x="3921623" y="0"/>
                  <a:pt x="3921623" y="0"/>
                  <a:pt x="3921623" y="0"/>
                </a:cubicBezTo>
                <a:lnTo>
                  <a:pt x="3942361" y="2150"/>
                </a:lnTo>
                <a:lnTo>
                  <a:pt x="5611946" y="2151"/>
                </a:lnTo>
                <a:lnTo>
                  <a:pt x="5611946" y="2154"/>
                </a:lnTo>
                <a:lnTo>
                  <a:pt x="6351359" y="2154"/>
                </a:lnTo>
                <a:lnTo>
                  <a:pt x="6351360" y="1330"/>
                </a:lnTo>
                <a:cubicBezTo>
                  <a:pt x="6351361" y="173"/>
                  <a:pt x="6351361" y="173"/>
                  <a:pt x="6351361" y="173"/>
                </a:cubicBezTo>
                <a:cubicBezTo>
                  <a:pt x="7146741" y="0"/>
                  <a:pt x="7146741" y="0"/>
                  <a:pt x="7146741" y="0"/>
                </a:cubicBezTo>
                <a:lnTo>
                  <a:pt x="7167509" y="2154"/>
                </a:lnTo>
                <a:lnTo>
                  <a:pt x="7197882" y="2154"/>
                </a:lnTo>
                <a:lnTo>
                  <a:pt x="7197881" y="5304"/>
                </a:lnTo>
                <a:lnTo>
                  <a:pt x="7255678" y="11299"/>
                </a:lnTo>
                <a:cubicBezTo>
                  <a:pt x="7362449" y="33070"/>
                  <a:pt x="7461371" y="85742"/>
                  <a:pt x="7540283" y="164653"/>
                </a:cubicBezTo>
                <a:cubicBezTo>
                  <a:pt x="8264607" y="888978"/>
                  <a:pt x="8264607" y="888978"/>
                  <a:pt x="8264607" y="888978"/>
                </a:cubicBezTo>
                <a:cubicBezTo>
                  <a:pt x="8368715" y="993086"/>
                  <a:pt x="8428389" y="1134982"/>
                  <a:pt x="8429260" y="1282519"/>
                </a:cubicBezTo>
                <a:lnTo>
                  <a:pt x="8429232" y="1416839"/>
                </a:lnTo>
                <a:lnTo>
                  <a:pt x="8433622" y="1416840"/>
                </a:lnTo>
                <a:lnTo>
                  <a:pt x="8433622" y="5852108"/>
                </a:lnTo>
                <a:lnTo>
                  <a:pt x="7197882" y="5852108"/>
                </a:lnTo>
                <a:lnTo>
                  <a:pt x="7197881" y="5852111"/>
                </a:lnTo>
                <a:lnTo>
                  <a:pt x="5303429" y="5852110"/>
                </a:lnTo>
                <a:lnTo>
                  <a:pt x="5303428" y="5852929"/>
                </a:lnTo>
                <a:cubicBezTo>
                  <a:pt x="5303427" y="5854086"/>
                  <a:pt x="5303427" y="5854086"/>
                  <a:pt x="5303427" y="5854086"/>
                </a:cubicBezTo>
                <a:cubicBezTo>
                  <a:pt x="4508047" y="5854259"/>
                  <a:pt x="4508047" y="5854259"/>
                  <a:pt x="4508047" y="5854259"/>
                </a:cubicBezTo>
                <a:lnTo>
                  <a:pt x="4487306" y="5852108"/>
                </a:lnTo>
                <a:lnTo>
                  <a:pt x="3972763" y="5852108"/>
                </a:lnTo>
                <a:lnTo>
                  <a:pt x="3972763" y="5852110"/>
                </a:lnTo>
                <a:lnTo>
                  <a:pt x="2078312" y="5852111"/>
                </a:lnTo>
                <a:lnTo>
                  <a:pt x="2078310" y="5852929"/>
                </a:lnTo>
                <a:cubicBezTo>
                  <a:pt x="2078308" y="5854086"/>
                  <a:pt x="2078308" y="5854086"/>
                  <a:pt x="2078308" y="5854086"/>
                </a:cubicBezTo>
                <a:cubicBezTo>
                  <a:pt x="1282928" y="5854259"/>
                  <a:pt x="1282928" y="5854259"/>
                  <a:pt x="1282928" y="5854259"/>
                </a:cubicBezTo>
                <a:cubicBezTo>
                  <a:pt x="1135391" y="5853387"/>
                  <a:pt x="994602" y="5794821"/>
                  <a:pt x="889387" y="5689605"/>
                </a:cubicBezTo>
                <a:cubicBezTo>
                  <a:pt x="165062" y="4965281"/>
                  <a:pt x="165062" y="4965281"/>
                  <a:pt x="165062" y="4965281"/>
                </a:cubicBezTo>
                <a:cubicBezTo>
                  <a:pt x="60954" y="4861173"/>
                  <a:pt x="1280" y="4719276"/>
                  <a:pt x="408" y="4571739"/>
                </a:cubicBezTo>
                <a:lnTo>
                  <a:pt x="438" y="4437419"/>
                </a:lnTo>
                <a:lnTo>
                  <a:pt x="0" y="4437419"/>
                </a:lnTo>
                <a:lnTo>
                  <a:pt x="0" y="2151"/>
                </a:lnTo>
                <a:lnTo>
                  <a:pt x="2386827" y="2151"/>
                </a:lnTo>
                <a:lnTo>
                  <a:pt x="2386827" y="2154"/>
                </a:lnTo>
                <a:lnTo>
                  <a:pt x="3126241" y="2154"/>
                </a:lnTo>
                <a:lnTo>
                  <a:pt x="3126241" y="1330"/>
                </a:lnTo>
                <a:cubicBezTo>
                  <a:pt x="3126243" y="173"/>
                  <a:pt x="3126243" y="173"/>
                  <a:pt x="3126243" y="173"/>
                </a:cubicBezTo>
                <a:cubicBezTo>
                  <a:pt x="3822200" y="22"/>
                  <a:pt x="3909195" y="3"/>
                  <a:pt x="3920070" y="0"/>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3" name="Title 1">
            <a:extLst>
              <a:ext uri="{FF2B5EF4-FFF2-40B4-BE49-F238E27FC236}">
                <a16:creationId xmlns:a16="http://schemas.microsoft.com/office/drawing/2014/main" id="{6692DA30-7E49-60E7-C70F-22061A006E26}"/>
              </a:ext>
            </a:extLst>
          </p:cNvPr>
          <p:cNvSpPr>
            <a:spLocks noGrp="1"/>
          </p:cNvSpPr>
          <p:nvPr>
            <p:ph type="title"/>
          </p:nvPr>
        </p:nvSpPr>
        <p:spPr>
          <a:xfrm>
            <a:off x="1440315" y="1447799"/>
            <a:ext cx="6065385" cy="3167743"/>
          </a:xfrm>
        </p:spPr>
        <p:txBody>
          <a:bodyPr anchor="ctr">
            <a:noAutofit/>
          </a:bodyPr>
          <a:lstStyle>
            <a:lvl1pPr>
              <a:lnSpc>
                <a:spcPct val="84000"/>
              </a:lnSpc>
              <a:defRPr sz="7200">
                <a:solidFill>
                  <a:schemeClr val="accent1"/>
                </a:solidFill>
              </a:defRPr>
            </a:lvl1pPr>
          </a:lstStyle>
          <a:p>
            <a:r>
              <a:rPr lang="en-US"/>
              <a:t>Click to edit Master title style</a:t>
            </a:r>
          </a:p>
        </p:txBody>
      </p:sp>
      <p:sp>
        <p:nvSpPr>
          <p:cNvPr id="2" name="Text Placeholder 25">
            <a:extLst>
              <a:ext uri="{FF2B5EF4-FFF2-40B4-BE49-F238E27FC236}">
                <a16:creationId xmlns:a16="http://schemas.microsoft.com/office/drawing/2014/main" id="{13FC7D27-6AA1-E476-9F7B-96F489C7537C}"/>
              </a:ext>
            </a:extLst>
          </p:cNvPr>
          <p:cNvSpPr>
            <a:spLocks noGrp="1"/>
          </p:cNvSpPr>
          <p:nvPr>
            <p:ph type="body" sz="quarter" idx="11" hasCustomPrompt="1"/>
          </p:nvPr>
        </p:nvSpPr>
        <p:spPr>
          <a:xfrm>
            <a:off x="9077325" y="3883114"/>
            <a:ext cx="2619376" cy="289711"/>
          </a:xfrm>
          <a:prstGeom prst="rect">
            <a:avLst/>
          </a:prstGeom>
        </p:spPr>
        <p:txBody>
          <a:bodyPr anchor="b"/>
          <a:lstStyle>
            <a:lvl1pPr marL="0" indent="0">
              <a:buNone/>
              <a:defRPr sz="2100">
                <a:solidFill>
                  <a:schemeClr val="accent5"/>
                </a:solidFill>
                <a:latin typeface="+mj-lt"/>
              </a:defRPr>
            </a:lvl1pPr>
          </a:lstStyle>
          <a:p>
            <a:pPr lvl="0"/>
            <a:r>
              <a:rPr lang="en-US"/>
              <a:t>Section 00</a:t>
            </a:r>
          </a:p>
        </p:txBody>
      </p:sp>
      <p:sp>
        <p:nvSpPr>
          <p:cNvPr id="3" name="Subtitle 2">
            <a:extLst>
              <a:ext uri="{FF2B5EF4-FFF2-40B4-BE49-F238E27FC236}">
                <a16:creationId xmlns:a16="http://schemas.microsoft.com/office/drawing/2014/main" id="{D84B05D3-3EB2-0600-A4B2-7D1D82E0A30B}"/>
              </a:ext>
            </a:extLst>
          </p:cNvPr>
          <p:cNvSpPr>
            <a:spLocks noGrp="1"/>
          </p:cNvSpPr>
          <p:nvPr>
            <p:ph type="subTitle" idx="1"/>
          </p:nvPr>
        </p:nvSpPr>
        <p:spPr>
          <a:xfrm>
            <a:off x="9077325" y="4179245"/>
            <a:ext cx="2619375" cy="961080"/>
          </a:xfrm>
        </p:spPr>
        <p:txBody>
          <a:bodyPr/>
          <a:lstStyle>
            <a:lvl1pPr marL="0" indent="0" algn="l">
              <a:buNone/>
              <a:defRPr sz="2400">
                <a:solidFill>
                  <a:schemeClr val="tx1"/>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96336486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gue Electric Azure">
    <p:spTree>
      <p:nvGrpSpPr>
        <p:cNvPr id="1" name=""/>
        <p:cNvGrpSpPr/>
        <p:nvPr/>
      </p:nvGrpSpPr>
      <p:grpSpPr>
        <a:xfrm>
          <a:off x="0" y="0"/>
          <a:ext cx="0" cy="0"/>
          <a:chOff x="0" y="0"/>
          <a:chExt cx="0" cy="0"/>
        </a:xfrm>
      </p:grpSpPr>
      <p:sp>
        <p:nvSpPr>
          <p:cNvPr id="30" name="Freeform: Shape 29">
            <a:extLst>
              <a:ext uri="{FF2B5EF4-FFF2-40B4-BE49-F238E27FC236}">
                <a16:creationId xmlns:a16="http://schemas.microsoft.com/office/drawing/2014/main" id="{7E10EB5A-F6DE-9F4E-2117-2176E75AEACD}"/>
              </a:ext>
            </a:extLst>
          </p:cNvPr>
          <p:cNvSpPr/>
          <p:nvPr/>
        </p:nvSpPr>
        <p:spPr>
          <a:xfrm>
            <a:off x="0" y="0"/>
            <a:ext cx="8433622" cy="5854259"/>
          </a:xfrm>
          <a:custGeom>
            <a:avLst/>
            <a:gdLst>
              <a:gd name="connsiteX0" fmla="*/ 3920070 w 8433622"/>
              <a:gd name="connsiteY0" fmla="*/ 0 h 5854259"/>
              <a:gd name="connsiteX1" fmla="*/ 3921623 w 8433622"/>
              <a:gd name="connsiteY1" fmla="*/ 0 h 5854259"/>
              <a:gd name="connsiteX2" fmla="*/ 3942361 w 8433622"/>
              <a:gd name="connsiteY2" fmla="*/ 2150 h 5854259"/>
              <a:gd name="connsiteX3" fmla="*/ 5611946 w 8433622"/>
              <a:gd name="connsiteY3" fmla="*/ 2151 h 5854259"/>
              <a:gd name="connsiteX4" fmla="*/ 5611946 w 8433622"/>
              <a:gd name="connsiteY4" fmla="*/ 2154 h 5854259"/>
              <a:gd name="connsiteX5" fmla="*/ 6351359 w 8433622"/>
              <a:gd name="connsiteY5" fmla="*/ 2154 h 5854259"/>
              <a:gd name="connsiteX6" fmla="*/ 6351360 w 8433622"/>
              <a:gd name="connsiteY6" fmla="*/ 1330 h 5854259"/>
              <a:gd name="connsiteX7" fmla="*/ 6351361 w 8433622"/>
              <a:gd name="connsiteY7" fmla="*/ 173 h 5854259"/>
              <a:gd name="connsiteX8" fmla="*/ 7146741 w 8433622"/>
              <a:gd name="connsiteY8" fmla="*/ 0 h 5854259"/>
              <a:gd name="connsiteX9" fmla="*/ 7167509 w 8433622"/>
              <a:gd name="connsiteY9" fmla="*/ 2154 h 5854259"/>
              <a:gd name="connsiteX10" fmla="*/ 7197882 w 8433622"/>
              <a:gd name="connsiteY10" fmla="*/ 2154 h 5854259"/>
              <a:gd name="connsiteX11" fmla="*/ 7197881 w 8433622"/>
              <a:gd name="connsiteY11" fmla="*/ 5304 h 5854259"/>
              <a:gd name="connsiteX12" fmla="*/ 7255678 w 8433622"/>
              <a:gd name="connsiteY12" fmla="*/ 11299 h 5854259"/>
              <a:gd name="connsiteX13" fmla="*/ 7540283 w 8433622"/>
              <a:gd name="connsiteY13" fmla="*/ 164653 h 5854259"/>
              <a:gd name="connsiteX14" fmla="*/ 8264607 w 8433622"/>
              <a:gd name="connsiteY14" fmla="*/ 888978 h 5854259"/>
              <a:gd name="connsiteX15" fmla="*/ 8429260 w 8433622"/>
              <a:gd name="connsiteY15" fmla="*/ 1282519 h 5854259"/>
              <a:gd name="connsiteX16" fmla="*/ 8429232 w 8433622"/>
              <a:gd name="connsiteY16" fmla="*/ 1416839 h 5854259"/>
              <a:gd name="connsiteX17" fmla="*/ 8433622 w 8433622"/>
              <a:gd name="connsiteY17" fmla="*/ 1416840 h 5854259"/>
              <a:gd name="connsiteX18" fmla="*/ 8433622 w 8433622"/>
              <a:gd name="connsiteY18" fmla="*/ 5852108 h 5854259"/>
              <a:gd name="connsiteX19" fmla="*/ 7197882 w 8433622"/>
              <a:gd name="connsiteY19" fmla="*/ 5852108 h 5854259"/>
              <a:gd name="connsiteX20" fmla="*/ 7197881 w 8433622"/>
              <a:gd name="connsiteY20" fmla="*/ 5852111 h 5854259"/>
              <a:gd name="connsiteX21" fmla="*/ 5303429 w 8433622"/>
              <a:gd name="connsiteY21" fmla="*/ 5852110 h 5854259"/>
              <a:gd name="connsiteX22" fmla="*/ 5303428 w 8433622"/>
              <a:gd name="connsiteY22" fmla="*/ 5852929 h 5854259"/>
              <a:gd name="connsiteX23" fmla="*/ 5303427 w 8433622"/>
              <a:gd name="connsiteY23" fmla="*/ 5854086 h 5854259"/>
              <a:gd name="connsiteX24" fmla="*/ 4508047 w 8433622"/>
              <a:gd name="connsiteY24" fmla="*/ 5854259 h 5854259"/>
              <a:gd name="connsiteX25" fmla="*/ 4487306 w 8433622"/>
              <a:gd name="connsiteY25" fmla="*/ 5852108 h 5854259"/>
              <a:gd name="connsiteX26" fmla="*/ 3972763 w 8433622"/>
              <a:gd name="connsiteY26" fmla="*/ 5852108 h 5854259"/>
              <a:gd name="connsiteX27" fmla="*/ 3972763 w 8433622"/>
              <a:gd name="connsiteY27" fmla="*/ 5852110 h 5854259"/>
              <a:gd name="connsiteX28" fmla="*/ 2078312 w 8433622"/>
              <a:gd name="connsiteY28" fmla="*/ 5852111 h 5854259"/>
              <a:gd name="connsiteX29" fmla="*/ 2078310 w 8433622"/>
              <a:gd name="connsiteY29" fmla="*/ 5852929 h 5854259"/>
              <a:gd name="connsiteX30" fmla="*/ 2078308 w 8433622"/>
              <a:gd name="connsiteY30" fmla="*/ 5854086 h 5854259"/>
              <a:gd name="connsiteX31" fmla="*/ 1282928 w 8433622"/>
              <a:gd name="connsiteY31" fmla="*/ 5854259 h 5854259"/>
              <a:gd name="connsiteX32" fmla="*/ 889387 w 8433622"/>
              <a:gd name="connsiteY32" fmla="*/ 5689605 h 5854259"/>
              <a:gd name="connsiteX33" fmla="*/ 165062 w 8433622"/>
              <a:gd name="connsiteY33" fmla="*/ 4965281 h 5854259"/>
              <a:gd name="connsiteX34" fmla="*/ 408 w 8433622"/>
              <a:gd name="connsiteY34" fmla="*/ 4571739 h 5854259"/>
              <a:gd name="connsiteX35" fmla="*/ 438 w 8433622"/>
              <a:gd name="connsiteY35" fmla="*/ 4437419 h 5854259"/>
              <a:gd name="connsiteX36" fmla="*/ 0 w 8433622"/>
              <a:gd name="connsiteY36" fmla="*/ 4437419 h 5854259"/>
              <a:gd name="connsiteX37" fmla="*/ 0 w 8433622"/>
              <a:gd name="connsiteY37" fmla="*/ 2151 h 5854259"/>
              <a:gd name="connsiteX38" fmla="*/ 2386827 w 8433622"/>
              <a:gd name="connsiteY38" fmla="*/ 2151 h 5854259"/>
              <a:gd name="connsiteX39" fmla="*/ 2386827 w 8433622"/>
              <a:gd name="connsiteY39" fmla="*/ 2154 h 5854259"/>
              <a:gd name="connsiteX40" fmla="*/ 3126241 w 8433622"/>
              <a:gd name="connsiteY40" fmla="*/ 2154 h 5854259"/>
              <a:gd name="connsiteX41" fmla="*/ 3126241 w 8433622"/>
              <a:gd name="connsiteY41" fmla="*/ 1330 h 5854259"/>
              <a:gd name="connsiteX42" fmla="*/ 3126243 w 8433622"/>
              <a:gd name="connsiteY42" fmla="*/ 173 h 5854259"/>
              <a:gd name="connsiteX43" fmla="*/ 3920070 w 8433622"/>
              <a:gd name="connsiteY43" fmla="*/ 0 h 585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8433622" h="5854259">
                <a:moveTo>
                  <a:pt x="3920070" y="0"/>
                </a:moveTo>
                <a:cubicBezTo>
                  <a:pt x="3921623" y="0"/>
                  <a:pt x="3921623" y="0"/>
                  <a:pt x="3921623" y="0"/>
                </a:cubicBezTo>
                <a:lnTo>
                  <a:pt x="3942361" y="2150"/>
                </a:lnTo>
                <a:lnTo>
                  <a:pt x="5611946" y="2151"/>
                </a:lnTo>
                <a:lnTo>
                  <a:pt x="5611946" y="2154"/>
                </a:lnTo>
                <a:lnTo>
                  <a:pt x="6351359" y="2154"/>
                </a:lnTo>
                <a:lnTo>
                  <a:pt x="6351360" y="1330"/>
                </a:lnTo>
                <a:cubicBezTo>
                  <a:pt x="6351361" y="173"/>
                  <a:pt x="6351361" y="173"/>
                  <a:pt x="6351361" y="173"/>
                </a:cubicBezTo>
                <a:cubicBezTo>
                  <a:pt x="7146741" y="0"/>
                  <a:pt x="7146741" y="0"/>
                  <a:pt x="7146741" y="0"/>
                </a:cubicBezTo>
                <a:lnTo>
                  <a:pt x="7167509" y="2154"/>
                </a:lnTo>
                <a:lnTo>
                  <a:pt x="7197882" y="2154"/>
                </a:lnTo>
                <a:lnTo>
                  <a:pt x="7197881" y="5304"/>
                </a:lnTo>
                <a:lnTo>
                  <a:pt x="7255678" y="11299"/>
                </a:lnTo>
                <a:cubicBezTo>
                  <a:pt x="7362449" y="33070"/>
                  <a:pt x="7461371" y="85742"/>
                  <a:pt x="7540283" y="164653"/>
                </a:cubicBezTo>
                <a:cubicBezTo>
                  <a:pt x="8264607" y="888978"/>
                  <a:pt x="8264607" y="888978"/>
                  <a:pt x="8264607" y="888978"/>
                </a:cubicBezTo>
                <a:cubicBezTo>
                  <a:pt x="8368715" y="993086"/>
                  <a:pt x="8428389" y="1134982"/>
                  <a:pt x="8429260" y="1282519"/>
                </a:cubicBezTo>
                <a:lnTo>
                  <a:pt x="8429232" y="1416839"/>
                </a:lnTo>
                <a:lnTo>
                  <a:pt x="8433622" y="1416840"/>
                </a:lnTo>
                <a:lnTo>
                  <a:pt x="8433622" y="5852108"/>
                </a:lnTo>
                <a:lnTo>
                  <a:pt x="7197882" y="5852108"/>
                </a:lnTo>
                <a:lnTo>
                  <a:pt x="7197881" y="5852111"/>
                </a:lnTo>
                <a:lnTo>
                  <a:pt x="5303429" y="5852110"/>
                </a:lnTo>
                <a:lnTo>
                  <a:pt x="5303428" y="5852929"/>
                </a:lnTo>
                <a:cubicBezTo>
                  <a:pt x="5303427" y="5854086"/>
                  <a:pt x="5303427" y="5854086"/>
                  <a:pt x="5303427" y="5854086"/>
                </a:cubicBezTo>
                <a:cubicBezTo>
                  <a:pt x="4508047" y="5854259"/>
                  <a:pt x="4508047" y="5854259"/>
                  <a:pt x="4508047" y="5854259"/>
                </a:cubicBezTo>
                <a:lnTo>
                  <a:pt x="4487306" y="5852108"/>
                </a:lnTo>
                <a:lnTo>
                  <a:pt x="3972763" y="5852108"/>
                </a:lnTo>
                <a:lnTo>
                  <a:pt x="3972763" y="5852110"/>
                </a:lnTo>
                <a:lnTo>
                  <a:pt x="2078312" y="5852111"/>
                </a:lnTo>
                <a:lnTo>
                  <a:pt x="2078310" y="5852929"/>
                </a:lnTo>
                <a:cubicBezTo>
                  <a:pt x="2078308" y="5854086"/>
                  <a:pt x="2078308" y="5854086"/>
                  <a:pt x="2078308" y="5854086"/>
                </a:cubicBezTo>
                <a:cubicBezTo>
                  <a:pt x="1282928" y="5854259"/>
                  <a:pt x="1282928" y="5854259"/>
                  <a:pt x="1282928" y="5854259"/>
                </a:cubicBezTo>
                <a:cubicBezTo>
                  <a:pt x="1135391" y="5853387"/>
                  <a:pt x="994602" y="5794821"/>
                  <a:pt x="889387" y="5689605"/>
                </a:cubicBezTo>
                <a:cubicBezTo>
                  <a:pt x="165062" y="4965281"/>
                  <a:pt x="165062" y="4965281"/>
                  <a:pt x="165062" y="4965281"/>
                </a:cubicBezTo>
                <a:cubicBezTo>
                  <a:pt x="60954" y="4861173"/>
                  <a:pt x="1280" y="4719276"/>
                  <a:pt x="408" y="4571739"/>
                </a:cubicBezTo>
                <a:lnTo>
                  <a:pt x="438" y="4437419"/>
                </a:lnTo>
                <a:lnTo>
                  <a:pt x="0" y="4437419"/>
                </a:lnTo>
                <a:lnTo>
                  <a:pt x="0" y="2151"/>
                </a:lnTo>
                <a:lnTo>
                  <a:pt x="2386827" y="2151"/>
                </a:lnTo>
                <a:lnTo>
                  <a:pt x="2386827" y="2154"/>
                </a:lnTo>
                <a:lnTo>
                  <a:pt x="3126241" y="2154"/>
                </a:lnTo>
                <a:lnTo>
                  <a:pt x="3126241" y="1330"/>
                </a:lnTo>
                <a:cubicBezTo>
                  <a:pt x="3126243" y="173"/>
                  <a:pt x="3126243" y="173"/>
                  <a:pt x="3126243" y="173"/>
                </a:cubicBezTo>
                <a:cubicBezTo>
                  <a:pt x="3822200" y="22"/>
                  <a:pt x="3909195" y="3"/>
                  <a:pt x="3920070" y="0"/>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3" name="Title 1">
            <a:extLst>
              <a:ext uri="{FF2B5EF4-FFF2-40B4-BE49-F238E27FC236}">
                <a16:creationId xmlns:a16="http://schemas.microsoft.com/office/drawing/2014/main" id="{6692DA30-7E49-60E7-C70F-22061A006E26}"/>
              </a:ext>
            </a:extLst>
          </p:cNvPr>
          <p:cNvSpPr>
            <a:spLocks noGrp="1"/>
          </p:cNvSpPr>
          <p:nvPr>
            <p:ph type="title"/>
          </p:nvPr>
        </p:nvSpPr>
        <p:spPr>
          <a:xfrm>
            <a:off x="1440315" y="1447799"/>
            <a:ext cx="6065385" cy="3167743"/>
          </a:xfrm>
        </p:spPr>
        <p:txBody>
          <a:bodyPr anchor="ctr">
            <a:noAutofit/>
          </a:bodyPr>
          <a:lstStyle>
            <a:lvl1pPr>
              <a:lnSpc>
                <a:spcPct val="84000"/>
              </a:lnSpc>
              <a:defRPr sz="7200">
                <a:solidFill>
                  <a:schemeClr val="bg1"/>
                </a:solidFill>
              </a:defRPr>
            </a:lvl1pPr>
          </a:lstStyle>
          <a:p>
            <a:r>
              <a:rPr lang="en-US"/>
              <a:t>Click to edit Master title style</a:t>
            </a:r>
          </a:p>
        </p:txBody>
      </p:sp>
      <p:sp>
        <p:nvSpPr>
          <p:cNvPr id="2" name="Text Placeholder 25">
            <a:extLst>
              <a:ext uri="{FF2B5EF4-FFF2-40B4-BE49-F238E27FC236}">
                <a16:creationId xmlns:a16="http://schemas.microsoft.com/office/drawing/2014/main" id="{1F743C81-C521-0195-D9E9-D20B49FE8CF5}"/>
              </a:ext>
            </a:extLst>
          </p:cNvPr>
          <p:cNvSpPr>
            <a:spLocks noGrp="1"/>
          </p:cNvSpPr>
          <p:nvPr>
            <p:ph type="body" sz="quarter" idx="11" hasCustomPrompt="1"/>
          </p:nvPr>
        </p:nvSpPr>
        <p:spPr>
          <a:xfrm>
            <a:off x="9077325" y="3883114"/>
            <a:ext cx="2619376" cy="289711"/>
          </a:xfrm>
          <a:prstGeom prst="rect">
            <a:avLst/>
          </a:prstGeom>
        </p:spPr>
        <p:txBody>
          <a:bodyPr anchor="b"/>
          <a:lstStyle>
            <a:lvl1pPr marL="0" indent="0">
              <a:buNone/>
              <a:defRPr sz="2100">
                <a:solidFill>
                  <a:srgbClr val="3700FF"/>
                </a:solidFill>
                <a:latin typeface="+mj-lt"/>
              </a:defRPr>
            </a:lvl1pPr>
          </a:lstStyle>
          <a:p>
            <a:pPr lvl="0"/>
            <a:r>
              <a:rPr lang="en-US"/>
              <a:t>Section 00</a:t>
            </a:r>
          </a:p>
        </p:txBody>
      </p:sp>
      <p:sp>
        <p:nvSpPr>
          <p:cNvPr id="4" name="Subtitle 2">
            <a:extLst>
              <a:ext uri="{FF2B5EF4-FFF2-40B4-BE49-F238E27FC236}">
                <a16:creationId xmlns:a16="http://schemas.microsoft.com/office/drawing/2014/main" id="{AB651381-8245-2111-67DE-8F8507F800E2}"/>
              </a:ext>
            </a:extLst>
          </p:cNvPr>
          <p:cNvSpPr>
            <a:spLocks noGrp="1"/>
          </p:cNvSpPr>
          <p:nvPr>
            <p:ph type="subTitle" idx="1"/>
          </p:nvPr>
        </p:nvSpPr>
        <p:spPr>
          <a:xfrm>
            <a:off x="9077325" y="4179245"/>
            <a:ext cx="2619375" cy="961080"/>
          </a:xfrm>
        </p:spPr>
        <p:txBody>
          <a:bodyPr/>
          <a:lstStyle>
            <a:lvl1pPr marL="0" indent="0" algn="l">
              <a:buNone/>
              <a:defRPr sz="2400">
                <a:solidFill>
                  <a:schemeClr val="tx1"/>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3336074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Agenda Dark">
    <p:bg>
      <p:bgPr>
        <a:solidFill>
          <a:schemeClr val="accent1"/>
        </a:solidFill>
        <a:effectLst/>
      </p:bgPr>
    </p:bg>
    <p:spTree>
      <p:nvGrpSpPr>
        <p:cNvPr id="1" name=""/>
        <p:cNvGrpSpPr/>
        <p:nvPr/>
      </p:nvGrpSpPr>
      <p:grpSpPr>
        <a:xfrm>
          <a:off x="0" y="0"/>
          <a:ext cx="0" cy="0"/>
          <a:chOff x="0" y="0"/>
          <a:chExt cx="0" cy="0"/>
        </a:xfrm>
      </p:grpSpPr>
      <p:sp>
        <p:nvSpPr>
          <p:cNvPr id="17" name="object 2">
            <a:extLst>
              <a:ext uri="{FF2B5EF4-FFF2-40B4-BE49-F238E27FC236}">
                <a16:creationId xmlns:a16="http://schemas.microsoft.com/office/drawing/2014/main" id="{4A211CA5-C27F-60B2-E2EB-B454A969D4D6}"/>
              </a:ext>
            </a:extLst>
          </p:cNvPr>
          <p:cNvSpPr/>
          <p:nvPr userDrawn="1"/>
        </p:nvSpPr>
        <p:spPr>
          <a:xfrm>
            <a:off x="542689" y="2076112"/>
            <a:ext cx="543873" cy="543873"/>
          </a:xfrm>
          <a:custGeom>
            <a:avLst/>
            <a:gdLst/>
            <a:ahLst/>
            <a:cxnLst/>
            <a:rect l="l" t="t" r="r" b="b"/>
            <a:pathLst>
              <a:path w="828675" h="828675">
                <a:moveTo>
                  <a:pt x="828121" y="0"/>
                </a:moveTo>
                <a:lnTo>
                  <a:pt x="511712" y="565"/>
                </a:lnTo>
                <a:lnTo>
                  <a:pt x="468206" y="4936"/>
                </a:lnTo>
                <a:lnTo>
                  <a:pt x="426776" y="17574"/>
                </a:lnTo>
                <a:lnTo>
                  <a:pt x="388579" y="37999"/>
                </a:lnTo>
                <a:lnTo>
                  <a:pt x="354774" y="65736"/>
                </a:lnTo>
                <a:lnTo>
                  <a:pt x="65736" y="354774"/>
                </a:lnTo>
                <a:lnTo>
                  <a:pt x="38004" y="388579"/>
                </a:lnTo>
                <a:lnTo>
                  <a:pt x="17577" y="426774"/>
                </a:lnTo>
                <a:lnTo>
                  <a:pt x="4938" y="468201"/>
                </a:lnTo>
                <a:lnTo>
                  <a:pt x="565" y="511701"/>
                </a:lnTo>
                <a:lnTo>
                  <a:pt x="0" y="828110"/>
                </a:lnTo>
                <a:lnTo>
                  <a:pt x="235553" y="828110"/>
                </a:lnTo>
                <a:lnTo>
                  <a:pt x="236087" y="280776"/>
                </a:lnTo>
                <a:lnTo>
                  <a:pt x="239616" y="263356"/>
                </a:lnTo>
                <a:lnTo>
                  <a:pt x="249213" y="249132"/>
                </a:lnTo>
                <a:lnTo>
                  <a:pt x="263438" y="239540"/>
                </a:lnTo>
                <a:lnTo>
                  <a:pt x="280850" y="236013"/>
                </a:lnTo>
                <a:lnTo>
                  <a:pt x="828121" y="235553"/>
                </a:lnTo>
                <a:lnTo>
                  <a:pt x="828121" y="0"/>
                </a:lnTo>
                <a:close/>
              </a:path>
            </a:pathLst>
          </a:custGeom>
          <a:gradFill flip="none" rotWithShape="1">
            <a:gsLst>
              <a:gs pos="0">
                <a:srgbClr val="00824A"/>
              </a:gs>
              <a:gs pos="95413">
                <a:srgbClr val="96FFA1"/>
              </a:gs>
              <a:gs pos="32000">
                <a:srgbClr val="00D05D"/>
              </a:gs>
            </a:gsLst>
            <a:lin ang="8400000" scaled="0"/>
            <a:tileRect/>
          </a:gra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4F5860"/>
              </a:solidFill>
              <a:effectLst/>
              <a:uLnTx/>
              <a:uFillTx/>
            </a:endParaRPr>
          </a:p>
        </p:txBody>
      </p:sp>
      <p:sp>
        <p:nvSpPr>
          <p:cNvPr id="3" name="Title 1">
            <a:extLst>
              <a:ext uri="{FF2B5EF4-FFF2-40B4-BE49-F238E27FC236}">
                <a16:creationId xmlns:a16="http://schemas.microsoft.com/office/drawing/2014/main" id="{8FA97876-9FDD-C61E-2D58-76D5D2209DCE}"/>
              </a:ext>
            </a:extLst>
          </p:cNvPr>
          <p:cNvSpPr>
            <a:spLocks noGrp="1"/>
          </p:cNvSpPr>
          <p:nvPr>
            <p:ph type="title" hasCustomPrompt="1"/>
          </p:nvPr>
        </p:nvSpPr>
        <p:spPr>
          <a:xfrm>
            <a:off x="849312" y="2467915"/>
            <a:ext cx="4430065" cy="1232645"/>
          </a:xfrm>
        </p:spPr>
        <p:txBody>
          <a:bodyPr wrap="square" anchor="t">
            <a:noAutofit/>
          </a:bodyPr>
          <a:lstStyle>
            <a:lvl1pPr algn="l">
              <a:defRPr sz="8900" spc="-300">
                <a:solidFill>
                  <a:schemeClr val="bg1"/>
                </a:solidFill>
                <a:latin typeface="+mj-lt"/>
              </a:defRPr>
            </a:lvl1pPr>
          </a:lstStyle>
          <a:p>
            <a:r>
              <a:rPr lang="en-US"/>
              <a:t>Agenda</a:t>
            </a:r>
          </a:p>
        </p:txBody>
      </p:sp>
      <p:sp>
        <p:nvSpPr>
          <p:cNvPr id="5" name="Text Placeholder 8">
            <a:extLst>
              <a:ext uri="{FF2B5EF4-FFF2-40B4-BE49-F238E27FC236}">
                <a16:creationId xmlns:a16="http://schemas.microsoft.com/office/drawing/2014/main" id="{B84EE3B4-CEA4-6EAB-01BA-27979A109331}"/>
              </a:ext>
            </a:extLst>
          </p:cNvPr>
          <p:cNvSpPr>
            <a:spLocks noGrp="1"/>
          </p:cNvSpPr>
          <p:nvPr>
            <p:ph type="body" sz="quarter" idx="13" hasCustomPrompt="1"/>
          </p:nvPr>
        </p:nvSpPr>
        <p:spPr>
          <a:xfrm>
            <a:off x="6572251" y="696686"/>
            <a:ext cx="5121312" cy="5464628"/>
          </a:xfrm>
          <a:prstGeom prst="rect">
            <a:avLst/>
          </a:prstGeom>
        </p:spPr>
        <p:txBody>
          <a:bodyPr anchor="ctr">
            <a:noAutofit/>
          </a:bodyPr>
          <a:lstStyle>
            <a:lvl1pPr marL="0" indent="0">
              <a:lnSpc>
                <a:spcPct val="87000"/>
              </a:lnSpc>
              <a:spcBef>
                <a:spcPts val="900"/>
              </a:spcBef>
              <a:spcAft>
                <a:spcPts val="900"/>
              </a:spcAft>
              <a:buClr>
                <a:srgbClr val="8E71F4"/>
              </a:buClr>
              <a:buFont typeface="ES Build Neutral" pitchFamily="50" charset="0"/>
              <a:buChar char="​"/>
              <a:defRPr sz="3400">
                <a:solidFill>
                  <a:schemeClr val="tx1"/>
                </a:solidFill>
              </a:defRPr>
            </a:lvl1pPr>
            <a:lvl2pPr marL="7938" indent="-7938">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vl6pPr marL="27432" indent="0">
              <a:lnSpc>
                <a:spcPct val="67000"/>
              </a:lnSpc>
              <a:spcBef>
                <a:spcPts val="600"/>
              </a:spcBef>
              <a:spcAft>
                <a:spcPts val="0"/>
              </a:spcAft>
              <a:buFont typeface="ES Build Neutral" pitchFamily="50" charset="0"/>
              <a:buChar char="​"/>
              <a:tabLst/>
              <a:defRPr sz="1200" b="0">
                <a:solidFill>
                  <a:schemeClr val="bg1"/>
                </a:solidFill>
              </a:defRPr>
            </a:lvl6pPr>
            <a:lvl7pPr marL="0" indent="0">
              <a:spcBef>
                <a:spcPts val="1500"/>
              </a:spcBef>
              <a:spcAft>
                <a:spcPts val="0"/>
              </a:spcAft>
              <a:defRPr sz="4400" spc="0" baseline="0">
                <a:solidFill>
                  <a:schemeClr val="bg1"/>
                </a:solidFill>
              </a:defRPr>
            </a:lvl7pPr>
            <a:lvl8pPr marL="27432">
              <a:spcBef>
                <a:spcPts val="0"/>
              </a:spcBef>
              <a:defRPr sz="1600" spc="0">
                <a:solidFill>
                  <a:srgbClr val="8E71F4"/>
                </a:solidFill>
                <a:latin typeface="+mn-lt"/>
              </a:defRPr>
            </a:lvl8pPr>
            <a:lvl9pPr>
              <a:defRPr>
                <a:solidFill>
                  <a:schemeClr val="bg1"/>
                </a:solidFill>
              </a:defRPr>
            </a:lvl9pPr>
          </a:lstStyle>
          <a:p>
            <a:pPr lvl="6"/>
            <a:r>
              <a:rPr lang="en-US"/>
              <a:t>Edit text</a:t>
            </a:r>
          </a:p>
          <a:p>
            <a:pPr lvl="7"/>
            <a:r>
              <a:rPr lang="en-US"/>
              <a:t>Edit text</a:t>
            </a:r>
          </a:p>
          <a:p>
            <a:pPr lvl="5"/>
            <a:r>
              <a:rPr lang="en-US"/>
              <a:t>Edit text</a:t>
            </a:r>
          </a:p>
        </p:txBody>
      </p:sp>
      <p:sp>
        <p:nvSpPr>
          <p:cNvPr id="12" name="TextBox 11">
            <a:extLst>
              <a:ext uri="{FF2B5EF4-FFF2-40B4-BE49-F238E27FC236}">
                <a16:creationId xmlns:a16="http://schemas.microsoft.com/office/drawing/2014/main" id="{602FEA95-2100-AF9F-EDA7-2E53B1300B0B}"/>
              </a:ext>
            </a:extLst>
          </p:cNvPr>
          <p:cNvSpPr txBox="1"/>
          <p:nvPr userDrawn="1"/>
        </p:nvSpPr>
        <p:spPr>
          <a:xfrm>
            <a:off x="493288" y="6562481"/>
            <a:ext cx="5293842" cy="107722"/>
          </a:xfrm>
          <a:prstGeom prst="rect">
            <a:avLst/>
          </a:prstGeom>
          <a:noFill/>
        </p:spPr>
        <p:txBody>
          <a:bodyPr wrap="square" lIns="0" tIns="0" rIns="0" bIns="0">
            <a:spAutoFit/>
          </a:bodyPr>
          <a:lstStyle/>
          <a:p>
            <a:r>
              <a:rPr lang="en-US" sz="700">
                <a:solidFill>
                  <a:schemeClr val="bg1"/>
                </a:solidFill>
              </a:rPr>
              <a:t>© 2024 Veeam Software. Confidential information. All rights reserved. All trademarks are the property of their respective owners. </a:t>
            </a:r>
          </a:p>
        </p:txBody>
      </p:sp>
      <p:pic>
        <p:nvPicPr>
          <p:cNvPr id="13" name="Graphic 12">
            <a:extLst>
              <a:ext uri="{FF2B5EF4-FFF2-40B4-BE49-F238E27FC236}">
                <a16:creationId xmlns:a16="http://schemas.microsoft.com/office/drawing/2014/main" id="{2BF3C092-C004-F74B-E852-7CD8E875E55A}"/>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180146" y="6513177"/>
            <a:ext cx="516553" cy="157025"/>
          </a:xfrm>
          <a:prstGeom prst="rect">
            <a:avLst/>
          </a:prstGeom>
        </p:spPr>
      </p:pic>
    </p:spTree>
    <p:extLst>
      <p:ext uri="{BB962C8B-B14F-4D97-AF65-F5344CB8AC3E}">
        <p14:creationId xmlns:p14="http://schemas.microsoft.com/office/powerpoint/2010/main" val="3728574474"/>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gue Suma">
    <p:spTree>
      <p:nvGrpSpPr>
        <p:cNvPr id="1" name=""/>
        <p:cNvGrpSpPr/>
        <p:nvPr/>
      </p:nvGrpSpPr>
      <p:grpSpPr>
        <a:xfrm>
          <a:off x="0" y="0"/>
          <a:ext cx="0" cy="0"/>
          <a:chOff x="0" y="0"/>
          <a:chExt cx="0" cy="0"/>
        </a:xfrm>
      </p:grpSpPr>
      <p:sp>
        <p:nvSpPr>
          <p:cNvPr id="30" name="Freeform: Shape 29">
            <a:extLst>
              <a:ext uri="{FF2B5EF4-FFF2-40B4-BE49-F238E27FC236}">
                <a16:creationId xmlns:a16="http://schemas.microsoft.com/office/drawing/2014/main" id="{7E10EB5A-F6DE-9F4E-2117-2176E75AEACD}"/>
              </a:ext>
            </a:extLst>
          </p:cNvPr>
          <p:cNvSpPr/>
          <p:nvPr/>
        </p:nvSpPr>
        <p:spPr>
          <a:xfrm>
            <a:off x="0" y="0"/>
            <a:ext cx="8433622" cy="5854259"/>
          </a:xfrm>
          <a:custGeom>
            <a:avLst/>
            <a:gdLst>
              <a:gd name="connsiteX0" fmla="*/ 3920070 w 8433622"/>
              <a:gd name="connsiteY0" fmla="*/ 0 h 5854259"/>
              <a:gd name="connsiteX1" fmla="*/ 3921623 w 8433622"/>
              <a:gd name="connsiteY1" fmla="*/ 0 h 5854259"/>
              <a:gd name="connsiteX2" fmla="*/ 3942361 w 8433622"/>
              <a:gd name="connsiteY2" fmla="*/ 2150 h 5854259"/>
              <a:gd name="connsiteX3" fmla="*/ 5611946 w 8433622"/>
              <a:gd name="connsiteY3" fmla="*/ 2151 h 5854259"/>
              <a:gd name="connsiteX4" fmla="*/ 5611946 w 8433622"/>
              <a:gd name="connsiteY4" fmla="*/ 2154 h 5854259"/>
              <a:gd name="connsiteX5" fmla="*/ 6351359 w 8433622"/>
              <a:gd name="connsiteY5" fmla="*/ 2154 h 5854259"/>
              <a:gd name="connsiteX6" fmla="*/ 6351360 w 8433622"/>
              <a:gd name="connsiteY6" fmla="*/ 1330 h 5854259"/>
              <a:gd name="connsiteX7" fmla="*/ 6351361 w 8433622"/>
              <a:gd name="connsiteY7" fmla="*/ 173 h 5854259"/>
              <a:gd name="connsiteX8" fmla="*/ 7146741 w 8433622"/>
              <a:gd name="connsiteY8" fmla="*/ 0 h 5854259"/>
              <a:gd name="connsiteX9" fmla="*/ 7167509 w 8433622"/>
              <a:gd name="connsiteY9" fmla="*/ 2154 h 5854259"/>
              <a:gd name="connsiteX10" fmla="*/ 7197882 w 8433622"/>
              <a:gd name="connsiteY10" fmla="*/ 2154 h 5854259"/>
              <a:gd name="connsiteX11" fmla="*/ 7197881 w 8433622"/>
              <a:gd name="connsiteY11" fmla="*/ 5304 h 5854259"/>
              <a:gd name="connsiteX12" fmla="*/ 7255678 w 8433622"/>
              <a:gd name="connsiteY12" fmla="*/ 11299 h 5854259"/>
              <a:gd name="connsiteX13" fmla="*/ 7540283 w 8433622"/>
              <a:gd name="connsiteY13" fmla="*/ 164653 h 5854259"/>
              <a:gd name="connsiteX14" fmla="*/ 8264607 w 8433622"/>
              <a:gd name="connsiteY14" fmla="*/ 888978 h 5854259"/>
              <a:gd name="connsiteX15" fmla="*/ 8429260 w 8433622"/>
              <a:gd name="connsiteY15" fmla="*/ 1282519 h 5854259"/>
              <a:gd name="connsiteX16" fmla="*/ 8429232 w 8433622"/>
              <a:gd name="connsiteY16" fmla="*/ 1416839 h 5854259"/>
              <a:gd name="connsiteX17" fmla="*/ 8433622 w 8433622"/>
              <a:gd name="connsiteY17" fmla="*/ 1416840 h 5854259"/>
              <a:gd name="connsiteX18" fmla="*/ 8433622 w 8433622"/>
              <a:gd name="connsiteY18" fmla="*/ 5852108 h 5854259"/>
              <a:gd name="connsiteX19" fmla="*/ 7197882 w 8433622"/>
              <a:gd name="connsiteY19" fmla="*/ 5852108 h 5854259"/>
              <a:gd name="connsiteX20" fmla="*/ 7197881 w 8433622"/>
              <a:gd name="connsiteY20" fmla="*/ 5852111 h 5854259"/>
              <a:gd name="connsiteX21" fmla="*/ 5303429 w 8433622"/>
              <a:gd name="connsiteY21" fmla="*/ 5852110 h 5854259"/>
              <a:gd name="connsiteX22" fmla="*/ 5303428 w 8433622"/>
              <a:gd name="connsiteY22" fmla="*/ 5852929 h 5854259"/>
              <a:gd name="connsiteX23" fmla="*/ 5303427 w 8433622"/>
              <a:gd name="connsiteY23" fmla="*/ 5854086 h 5854259"/>
              <a:gd name="connsiteX24" fmla="*/ 4508047 w 8433622"/>
              <a:gd name="connsiteY24" fmla="*/ 5854259 h 5854259"/>
              <a:gd name="connsiteX25" fmla="*/ 4487306 w 8433622"/>
              <a:gd name="connsiteY25" fmla="*/ 5852108 h 5854259"/>
              <a:gd name="connsiteX26" fmla="*/ 3972763 w 8433622"/>
              <a:gd name="connsiteY26" fmla="*/ 5852108 h 5854259"/>
              <a:gd name="connsiteX27" fmla="*/ 3972763 w 8433622"/>
              <a:gd name="connsiteY27" fmla="*/ 5852110 h 5854259"/>
              <a:gd name="connsiteX28" fmla="*/ 2078312 w 8433622"/>
              <a:gd name="connsiteY28" fmla="*/ 5852111 h 5854259"/>
              <a:gd name="connsiteX29" fmla="*/ 2078310 w 8433622"/>
              <a:gd name="connsiteY29" fmla="*/ 5852929 h 5854259"/>
              <a:gd name="connsiteX30" fmla="*/ 2078308 w 8433622"/>
              <a:gd name="connsiteY30" fmla="*/ 5854086 h 5854259"/>
              <a:gd name="connsiteX31" fmla="*/ 1282928 w 8433622"/>
              <a:gd name="connsiteY31" fmla="*/ 5854259 h 5854259"/>
              <a:gd name="connsiteX32" fmla="*/ 889387 w 8433622"/>
              <a:gd name="connsiteY32" fmla="*/ 5689605 h 5854259"/>
              <a:gd name="connsiteX33" fmla="*/ 165062 w 8433622"/>
              <a:gd name="connsiteY33" fmla="*/ 4965281 h 5854259"/>
              <a:gd name="connsiteX34" fmla="*/ 408 w 8433622"/>
              <a:gd name="connsiteY34" fmla="*/ 4571739 h 5854259"/>
              <a:gd name="connsiteX35" fmla="*/ 438 w 8433622"/>
              <a:gd name="connsiteY35" fmla="*/ 4437419 h 5854259"/>
              <a:gd name="connsiteX36" fmla="*/ 0 w 8433622"/>
              <a:gd name="connsiteY36" fmla="*/ 4437419 h 5854259"/>
              <a:gd name="connsiteX37" fmla="*/ 0 w 8433622"/>
              <a:gd name="connsiteY37" fmla="*/ 2151 h 5854259"/>
              <a:gd name="connsiteX38" fmla="*/ 2386827 w 8433622"/>
              <a:gd name="connsiteY38" fmla="*/ 2151 h 5854259"/>
              <a:gd name="connsiteX39" fmla="*/ 2386827 w 8433622"/>
              <a:gd name="connsiteY39" fmla="*/ 2154 h 5854259"/>
              <a:gd name="connsiteX40" fmla="*/ 3126241 w 8433622"/>
              <a:gd name="connsiteY40" fmla="*/ 2154 h 5854259"/>
              <a:gd name="connsiteX41" fmla="*/ 3126241 w 8433622"/>
              <a:gd name="connsiteY41" fmla="*/ 1330 h 5854259"/>
              <a:gd name="connsiteX42" fmla="*/ 3126243 w 8433622"/>
              <a:gd name="connsiteY42" fmla="*/ 173 h 5854259"/>
              <a:gd name="connsiteX43" fmla="*/ 3920070 w 8433622"/>
              <a:gd name="connsiteY43" fmla="*/ 0 h 585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8433622" h="5854259">
                <a:moveTo>
                  <a:pt x="3920070" y="0"/>
                </a:moveTo>
                <a:cubicBezTo>
                  <a:pt x="3921623" y="0"/>
                  <a:pt x="3921623" y="0"/>
                  <a:pt x="3921623" y="0"/>
                </a:cubicBezTo>
                <a:lnTo>
                  <a:pt x="3942361" y="2150"/>
                </a:lnTo>
                <a:lnTo>
                  <a:pt x="5611946" y="2151"/>
                </a:lnTo>
                <a:lnTo>
                  <a:pt x="5611946" y="2154"/>
                </a:lnTo>
                <a:lnTo>
                  <a:pt x="6351359" y="2154"/>
                </a:lnTo>
                <a:lnTo>
                  <a:pt x="6351360" y="1330"/>
                </a:lnTo>
                <a:cubicBezTo>
                  <a:pt x="6351361" y="173"/>
                  <a:pt x="6351361" y="173"/>
                  <a:pt x="6351361" y="173"/>
                </a:cubicBezTo>
                <a:cubicBezTo>
                  <a:pt x="7146741" y="0"/>
                  <a:pt x="7146741" y="0"/>
                  <a:pt x="7146741" y="0"/>
                </a:cubicBezTo>
                <a:lnTo>
                  <a:pt x="7167509" y="2154"/>
                </a:lnTo>
                <a:lnTo>
                  <a:pt x="7197882" y="2154"/>
                </a:lnTo>
                <a:lnTo>
                  <a:pt x="7197881" y="5304"/>
                </a:lnTo>
                <a:lnTo>
                  <a:pt x="7255678" y="11299"/>
                </a:lnTo>
                <a:cubicBezTo>
                  <a:pt x="7362449" y="33070"/>
                  <a:pt x="7461371" y="85742"/>
                  <a:pt x="7540283" y="164653"/>
                </a:cubicBezTo>
                <a:cubicBezTo>
                  <a:pt x="8264607" y="888978"/>
                  <a:pt x="8264607" y="888978"/>
                  <a:pt x="8264607" y="888978"/>
                </a:cubicBezTo>
                <a:cubicBezTo>
                  <a:pt x="8368715" y="993086"/>
                  <a:pt x="8428389" y="1134982"/>
                  <a:pt x="8429260" y="1282519"/>
                </a:cubicBezTo>
                <a:lnTo>
                  <a:pt x="8429232" y="1416839"/>
                </a:lnTo>
                <a:lnTo>
                  <a:pt x="8433622" y="1416840"/>
                </a:lnTo>
                <a:lnTo>
                  <a:pt x="8433622" y="5852108"/>
                </a:lnTo>
                <a:lnTo>
                  <a:pt x="7197882" y="5852108"/>
                </a:lnTo>
                <a:lnTo>
                  <a:pt x="7197881" y="5852111"/>
                </a:lnTo>
                <a:lnTo>
                  <a:pt x="5303429" y="5852110"/>
                </a:lnTo>
                <a:lnTo>
                  <a:pt x="5303428" y="5852929"/>
                </a:lnTo>
                <a:cubicBezTo>
                  <a:pt x="5303427" y="5854086"/>
                  <a:pt x="5303427" y="5854086"/>
                  <a:pt x="5303427" y="5854086"/>
                </a:cubicBezTo>
                <a:cubicBezTo>
                  <a:pt x="4508047" y="5854259"/>
                  <a:pt x="4508047" y="5854259"/>
                  <a:pt x="4508047" y="5854259"/>
                </a:cubicBezTo>
                <a:lnTo>
                  <a:pt x="4487306" y="5852108"/>
                </a:lnTo>
                <a:lnTo>
                  <a:pt x="3972763" y="5852108"/>
                </a:lnTo>
                <a:lnTo>
                  <a:pt x="3972763" y="5852110"/>
                </a:lnTo>
                <a:lnTo>
                  <a:pt x="2078312" y="5852111"/>
                </a:lnTo>
                <a:lnTo>
                  <a:pt x="2078310" y="5852929"/>
                </a:lnTo>
                <a:cubicBezTo>
                  <a:pt x="2078308" y="5854086"/>
                  <a:pt x="2078308" y="5854086"/>
                  <a:pt x="2078308" y="5854086"/>
                </a:cubicBezTo>
                <a:cubicBezTo>
                  <a:pt x="1282928" y="5854259"/>
                  <a:pt x="1282928" y="5854259"/>
                  <a:pt x="1282928" y="5854259"/>
                </a:cubicBezTo>
                <a:cubicBezTo>
                  <a:pt x="1135391" y="5853387"/>
                  <a:pt x="994602" y="5794821"/>
                  <a:pt x="889387" y="5689605"/>
                </a:cubicBezTo>
                <a:cubicBezTo>
                  <a:pt x="165062" y="4965281"/>
                  <a:pt x="165062" y="4965281"/>
                  <a:pt x="165062" y="4965281"/>
                </a:cubicBezTo>
                <a:cubicBezTo>
                  <a:pt x="60954" y="4861173"/>
                  <a:pt x="1280" y="4719276"/>
                  <a:pt x="408" y="4571739"/>
                </a:cubicBezTo>
                <a:lnTo>
                  <a:pt x="438" y="4437419"/>
                </a:lnTo>
                <a:lnTo>
                  <a:pt x="0" y="4437419"/>
                </a:lnTo>
                <a:lnTo>
                  <a:pt x="0" y="2151"/>
                </a:lnTo>
                <a:lnTo>
                  <a:pt x="2386827" y="2151"/>
                </a:lnTo>
                <a:lnTo>
                  <a:pt x="2386827" y="2154"/>
                </a:lnTo>
                <a:lnTo>
                  <a:pt x="3126241" y="2154"/>
                </a:lnTo>
                <a:lnTo>
                  <a:pt x="3126241" y="1330"/>
                </a:lnTo>
                <a:cubicBezTo>
                  <a:pt x="3126243" y="173"/>
                  <a:pt x="3126243" y="173"/>
                  <a:pt x="3126243" y="173"/>
                </a:cubicBezTo>
                <a:cubicBezTo>
                  <a:pt x="3822200" y="22"/>
                  <a:pt x="3909195" y="3"/>
                  <a:pt x="3920070" y="0"/>
                </a:cubicBezTo>
                <a:close/>
              </a:path>
            </a:pathLst>
          </a:custGeom>
          <a:solidFill>
            <a:srgbClr val="FE8A2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3" name="Title 1">
            <a:extLst>
              <a:ext uri="{FF2B5EF4-FFF2-40B4-BE49-F238E27FC236}">
                <a16:creationId xmlns:a16="http://schemas.microsoft.com/office/drawing/2014/main" id="{6692DA30-7E49-60E7-C70F-22061A006E26}"/>
              </a:ext>
            </a:extLst>
          </p:cNvPr>
          <p:cNvSpPr>
            <a:spLocks noGrp="1"/>
          </p:cNvSpPr>
          <p:nvPr>
            <p:ph type="title"/>
          </p:nvPr>
        </p:nvSpPr>
        <p:spPr>
          <a:xfrm>
            <a:off x="1440315" y="1447799"/>
            <a:ext cx="6065385" cy="3167743"/>
          </a:xfrm>
        </p:spPr>
        <p:txBody>
          <a:bodyPr anchor="ctr">
            <a:noAutofit/>
          </a:bodyPr>
          <a:lstStyle>
            <a:lvl1pPr>
              <a:lnSpc>
                <a:spcPct val="84000"/>
              </a:lnSpc>
              <a:defRPr sz="7200">
                <a:solidFill>
                  <a:schemeClr val="bg1"/>
                </a:solidFill>
              </a:defRPr>
            </a:lvl1pPr>
          </a:lstStyle>
          <a:p>
            <a:r>
              <a:rPr lang="en-US"/>
              <a:t>Click to edit Master title style</a:t>
            </a:r>
          </a:p>
        </p:txBody>
      </p:sp>
      <p:sp>
        <p:nvSpPr>
          <p:cNvPr id="3" name="Text Placeholder 25">
            <a:extLst>
              <a:ext uri="{FF2B5EF4-FFF2-40B4-BE49-F238E27FC236}">
                <a16:creationId xmlns:a16="http://schemas.microsoft.com/office/drawing/2014/main" id="{EC53A6EE-15C6-E97D-4ECF-6DDC191C32B2}"/>
              </a:ext>
            </a:extLst>
          </p:cNvPr>
          <p:cNvSpPr>
            <a:spLocks noGrp="1"/>
          </p:cNvSpPr>
          <p:nvPr>
            <p:ph type="body" sz="quarter" idx="11" hasCustomPrompt="1"/>
          </p:nvPr>
        </p:nvSpPr>
        <p:spPr>
          <a:xfrm>
            <a:off x="9077325" y="3883114"/>
            <a:ext cx="2619376" cy="289711"/>
          </a:xfrm>
          <a:prstGeom prst="rect">
            <a:avLst/>
          </a:prstGeom>
        </p:spPr>
        <p:txBody>
          <a:bodyPr anchor="b"/>
          <a:lstStyle>
            <a:lvl1pPr marL="0" indent="0">
              <a:buNone/>
              <a:defRPr sz="2100">
                <a:solidFill>
                  <a:schemeClr val="accent6"/>
                </a:solidFill>
                <a:latin typeface="+mj-lt"/>
              </a:defRPr>
            </a:lvl1pPr>
          </a:lstStyle>
          <a:p>
            <a:pPr lvl="0"/>
            <a:r>
              <a:rPr lang="en-US"/>
              <a:t>Section 00</a:t>
            </a:r>
          </a:p>
        </p:txBody>
      </p:sp>
      <p:sp>
        <p:nvSpPr>
          <p:cNvPr id="4" name="Subtitle 2">
            <a:extLst>
              <a:ext uri="{FF2B5EF4-FFF2-40B4-BE49-F238E27FC236}">
                <a16:creationId xmlns:a16="http://schemas.microsoft.com/office/drawing/2014/main" id="{2DF844BE-99C5-C441-8EB7-130FE29E44F2}"/>
              </a:ext>
            </a:extLst>
          </p:cNvPr>
          <p:cNvSpPr>
            <a:spLocks noGrp="1"/>
          </p:cNvSpPr>
          <p:nvPr>
            <p:ph type="subTitle" idx="1"/>
          </p:nvPr>
        </p:nvSpPr>
        <p:spPr>
          <a:xfrm>
            <a:off x="9077325" y="4179245"/>
            <a:ext cx="2619375" cy="961080"/>
          </a:xfrm>
        </p:spPr>
        <p:txBody>
          <a:bodyPr/>
          <a:lstStyle>
            <a:lvl1pPr marL="0" indent="0" algn="l">
              <a:buNone/>
              <a:defRPr sz="2400">
                <a:solidFill>
                  <a:schemeClr val="tx1"/>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057378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gue Black">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3348281F-E4BF-75A0-15C8-599824A66E32}"/>
              </a:ext>
            </a:extLst>
          </p:cNvPr>
          <p:cNvSpPr/>
          <p:nvPr/>
        </p:nvSpPr>
        <p:spPr>
          <a:xfrm>
            <a:off x="0" y="0"/>
            <a:ext cx="8433622" cy="5854259"/>
          </a:xfrm>
          <a:custGeom>
            <a:avLst/>
            <a:gdLst>
              <a:gd name="connsiteX0" fmla="*/ 3920070 w 8433622"/>
              <a:gd name="connsiteY0" fmla="*/ 0 h 5854259"/>
              <a:gd name="connsiteX1" fmla="*/ 3921623 w 8433622"/>
              <a:gd name="connsiteY1" fmla="*/ 0 h 5854259"/>
              <a:gd name="connsiteX2" fmla="*/ 3942361 w 8433622"/>
              <a:gd name="connsiteY2" fmla="*/ 2150 h 5854259"/>
              <a:gd name="connsiteX3" fmla="*/ 5611946 w 8433622"/>
              <a:gd name="connsiteY3" fmla="*/ 2151 h 5854259"/>
              <a:gd name="connsiteX4" fmla="*/ 5611946 w 8433622"/>
              <a:gd name="connsiteY4" fmla="*/ 2154 h 5854259"/>
              <a:gd name="connsiteX5" fmla="*/ 6351359 w 8433622"/>
              <a:gd name="connsiteY5" fmla="*/ 2154 h 5854259"/>
              <a:gd name="connsiteX6" fmla="*/ 6351360 w 8433622"/>
              <a:gd name="connsiteY6" fmla="*/ 1330 h 5854259"/>
              <a:gd name="connsiteX7" fmla="*/ 6351361 w 8433622"/>
              <a:gd name="connsiteY7" fmla="*/ 173 h 5854259"/>
              <a:gd name="connsiteX8" fmla="*/ 7146741 w 8433622"/>
              <a:gd name="connsiteY8" fmla="*/ 0 h 5854259"/>
              <a:gd name="connsiteX9" fmla="*/ 7167509 w 8433622"/>
              <a:gd name="connsiteY9" fmla="*/ 2154 h 5854259"/>
              <a:gd name="connsiteX10" fmla="*/ 7197882 w 8433622"/>
              <a:gd name="connsiteY10" fmla="*/ 2154 h 5854259"/>
              <a:gd name="connsiteX11" fmla="*/ 7197881 w 8433622"/>
              <a:gd name="connsiteY11" fmla="*/ 5304 h 5854259"/>
              <a:gd name="connsiteX12" fmla="*/ 7255678 w 8433622"/>
              <a:gd name="connsiteY12" fmla="*/ 11299 h 5854259"/>
              <a:gd name="connsiteX13" fmla="*/ 7540283 w 8433622"/>
              <a:gd name="connsiteY13" fmla="*/ 164653 h 5854259"/>
              <a:gd name="connsiteX14" fmla="*/ 8264607 w 8433622"/>
              <a:gd name="connsiteY14" fmla="*/ 888978 h 5854259"/>
              <a:gd name="connsiteX15" fmla="*/ 8429260 w 8433622"/>
              <a:gd name="connsiteY15" fmla="*/ 1282519 h 5854259"/>
              <a:gd name="connsiteX16" fmla="*/ 8429232 w 8433622"/>
              <a:gd name="connsiteY16" fmla="*/ 1416839 h 5854259"/>
              <a:gd name="connsiteX17" fmla="*/ 8433622 w 8433622"/>
              <a:gd name="connsiteY17" fmla="*/ 1416840 h 5854259"/>
              <a:gd name="connsiteX18" fmla="*/ 8433622 w 8433622"/>
              <a:gd name="connsiteY18" fmla="*/ 5852108 h 5854259"/>
              <a:gd name="connsiteX19" fmla="*/ 7197882 w 8433622"/>
              <a:gd name="connsiteY19" fmla="*/ 5852108 h 5854259"/>
              <a:gd name="connsiteX20" fmla="*/ 7197881 w 8433622"/>
              <a:gd name="connsiteY20" fmla="*/ 5852111 h 5854259"/>
              <a:gd name="connsiteX21" fmla="*/ 5303429 w 8433622"/>
              <a:gd name="connsiteY21" fmla="*/ 5852110 h 5854259"/>
              <a:gd name="connsiteX22" fmla="*/ 5303428 w 8433622"/>
              <a:gd name="connsiteY22" fmla="*/ 5852929 h 5854259"/>
              <a:gd name="connsiteX23" fmla="*/ 5303427 w 8433622"/>
              <a:gd name="connsiteY23" fmla="*/ 5854086 h 5854259"/>
              <a:gd name="connsiteX24" fmla="*/ 4508047 w 8433622"/>
              <a:gd name="connsiteY24" fmla="*/ 5854259 h 5854259"/>
              <a:gd name="connsiteX25" fmla="*/ 4487306 w 8433622"/>
              <a:gd name="connsiteY25" fmla="*/ 5852108 h 5854259"/>
              <a:gd name="connsiteX26" fmla="*/ 3972763 w 8433622"/>
              <a:gd name="connsiteY26" fmla="*/ 5852108 h 5854259"/>
              <a:gd name="connsiteX27" fmla="*/ 3972763 w 8433622"/>
              <a:gd name="connsiteY27" fmla="*/ 5852110 h 5854259"/>
              <a:gd name="connsiteX28" fmla="*/ 2078312 w 8433622"/>
              <a:gd name="connsiteY28" fmla="*/ 5852111 h 5854259"/>
              <a:gd name="connsiteX29" fmla="*/ 2078310 w 8433622"/>
              <a:gd name="connsiteY29" fmla="*/ 5852929 h 5854259"/>
              <a:gd name="connsiteX30" fmla="*/ 2078308 w 8433622"/>
              <a:gd name="connsiteY30" fmla="*/ 5854086 h 5854259"/>
              <a:gd name="connsiteX31" fmla="*/ 1282928 w 8433622"/>
              <a:gd name="connsiteY31" fmla="*/ 5854259 h 5854259"/>
              <a:gd name="connsiteX32" fmla="*/ 889387 w 8433622"/>
              <a:gd name="connsiteY32" fmla="*/ 5689605 h 5854259"/>
              <a:gd name="connsiteX33" fmla="*/ 165062 w 8433622"/>
              <a:gd name="connsiteY33" fmla="*/ 4965281 h 5854259"/>
              <a:gd name="connsiteX34" fmla="*/ 408 w 8433622"/>
              <a:gd name="connsiteY34" fmla="*/ 4571739 h 5854259"/>
              <a:gd name="connsiteX35" fmla="*/ 438 w 8433622"/>
              <a:gd name="connsiteY35" fmla="*/ 4437419 h 5854259"/>
              <a:gd name="connsiteX36" fmla="*/ 0 w 8433622"/>
              <a:gd name="connsiteY36" fmla="*/ 4437419 h 5854259"/>
              <a:gd name="connsiteX37" fmla="*/ 0 w 8433622"/>
              <a:gd name="connsiteY37" fmla="*/ 2151 h 5854259"/>
              <a:gd name="connsiteX38" fmla="*/ 2386827 w 8433622"/>
              <a:gd name="connsiteY38" fmla="*/ 2151 h 5854259"/>
              <a:gd name="connsiteX39" fmla="*/ 2386827 w 8433622"/>
              <a:gd name="connsiteY39" fmla="*/ 2154 h 5854259"/>
              <a:gd name="connsiteX40" fmla="*/ 3126241 w 8433622"/>
              <a:gd name="connsiteY40" fmla="*/ 2154 h 5854259"/>
              <a:gd name="connsiteX41" fmla="*/ 3126241 w 8433622"/>
              <a:gd name="connsiteY41" fmla="*/ 1330 h 5854259"/>
              <a:gd name="connsiteX42" fmla="*/ 3126243 w 8433622"/>
              <a:gd name="connsiteY42" fmla="*/ 173 h 5854259"/>
              <a:gd name="connsiteX43" fmla="*/ 3920070 w 8433622"/>
              <a:gd name="connsiteY43" fmla="*/ 0 h 585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8433622" h="5854259">
                <a:moveTo>
                  <a:pt x="3920070" y="0"/>
                </a:moveTo>
                <a:cubicBezTo>
                  <a:pt x="3921623" y="0"/>
                  <a:pt x="3921623" y="0"/>
                  <a:pt x="3921623" y="0"/>
                </a:cubicBezTo>
                <a:lnTo>
                  <a:pt x="3942361" y="2150"/>
                </a:lnTo>
                <a:lnTo>
                  <a:pt x="5611946" y="2151"/>
                </a:lnTo>
                <a:lnTo>
                  <a:pt x="5611946" y="2154"/>
                </a:lnTo>
                <a:lnTo>
                  <a:pt x="6351359" y="2154"/>
                </a:lnTo>
                <a:lnTo>
                  <a:pt x="6351360" y="1330"/>
                </a:lnTo>
                <a:cubicBezTo>
                  <a:pt x="6351361" y="173"/>
                  <a:pt x="6351361" y="173"/>
                  <a:pt x="6351361" y="173"/>
                </a:cubicBezTo>
                <a:cubicBezTo>
                  <a:pt x="7146741" y="0"/>
                  <a:pt x="7146741" y="0"/>
                  <a:pt x="7146741" y="0"/>
                </a:cubicBezTo>
                <a:lnTo>
                  <a:pt x="7167509" y="2154"/>
                </a:lnTo>
                <a:lnTo>
                  <a:pt x="7197882" y="2154"/>
                </a:lnTo>
                <a:lnTo>
                  <a:pt x="7197881" y="5304"/>
                </a:lnTo>
                <a:lnTo>
                  <a:pt x="7255678" y="11299"/>
                </a:lnTo>
                <a:cubicBezTo>
                  <a:pt x="7362449" y="33070"/>
                  <a:pt x="7461371" y="85742"/>
                  <a:pt x="7540283" y="164653"/>
                </a:cubicBezTo>
                <a:cubicBezTo>
                  <a:pt x="8264607" y="888978"/>
                  <a:pt x="8264607" y="888978"/>
                  <a:pt x="8264607" y="888978"/>
                </a:cubicBezTo>
                <a:cubicBezTo>
                  <a:pt x="8368715" y="993086"/>
                  <a:pt x="8428389" y="1134982"/>
                  <a:pt x="8429260" y="1282519"/>
                </a:cubicBezTo>
                <a:lnTo>
                  <a:pt x="8429232" y="1416839"/>
                </a:lnTo>
                <a:lnTo>
                  <a:pt x="8433622" y="1416840"/>
                </a:lnTo>
                <a:lnTo>
                  <a:pt x="8433622" y="5852108"/>
                </a:lnTo>
                <a:lnTo>
                  <a:pt x="7197882" y="5852108"/>
                </a:lnTo>
                <a:lnTo>
                  <a:pt x="7197881" y="5852111"/>
                </a:lnTo>
                <a:lnTo>
                  <a:pt x="5303429" y="5852110"/>
                </a:lnTo>
                <a:lnTo>
                  <a:pt x="5303428" y="5852929"/>
                </a:lnTo>
                <a:cubicBezTo>
                  <a:pt x="5303427" y="5854086"/>
                  <a:pt x="5303427" y="5854086"/>
                  <a:pt x="5303427" y="5854086"/>
                </a:cubicBezTo>
                <a:cubicBezTo>
                  <a:pt x="4508047" y="5854259"/>
                  <a:pt x="4508047" y="5854259"/>
                  <a:pt x="4508047" y="5854259"/>
                </a:cubicBezTo>
                <a:lnTo>
                  <a:pt x="4487306" y="5852108"/>
                </a:lnTo>
                <a:lnTo>
                  <a:pt x="3972763" y="5852108"/>
                </a:lnTo>
                <a:lnTo>
                  <a:pt x="3972763" y="5852110"/>
                </a:lnTo>
                <a:lnTo>
                  <a:pt x="2078312" y="5852111"/>
                </a:lnTo>
                <a:lnTo>
                  <a:pt x="2078310" y="5852929"/>
                </a:lnTo>
                <a:cubicBezTo>
                  <a:pt x="2078308" y="5854086"/>
                  <a:pt x="2078308" y="5854086"/>
                  <a:pt x="2078308" y="5854086"/>
                </a:cubicBezTo>
                <a:cubicBezTo>
                  <a:pt x="1282928" y="5854259"/>
                  <a:pt x="1282928" y="5854259"/>
                  <a:pt x="1282928" y="5854259"/>
                </a:cubicBezTo>
                <a:cubicBezTo>
                  <a:pt x="1135391" y="5853387"/>
                  <a:pt x="994602" y="5794821"/>
                  <a:pt x="889387" y="5689605"/>
                </a:cubicBezTo>
                <a:cubicBezTo>
                  <a:pt x="165062" y="4965281"/>
                  <a:pt x="165062" y="4965281"/>
                  <a:pt x="165062" y="4965281"/>
                </a:cubicBezTo>
                <a:cubicBezTo>
                  <a:pt x="60954" y="4861173"/>
                  <a:pt x="1280" y="4719276"/>
                  <a:pt x="408" y="4571739"/>
                </a:cubicBezTo>
                <a:lnTo>
                  <a:pt x="438" y="4437419"/>
                </a:lnTo>
                <a:lnTo>
                  <a:pt x="0" y="4437419"/>
                </a:lnTo>
                <a:lnTo>
                  <a:pt x="0" y="2151"/>
                </a:lnTo>
                <a:lnTo>
                  <a:pt x="2386827" y="2151"/>
                </a:lnTo>
                <a:lnTo>
                  <a:pt x="2386827" y="2154"/>
                </a:lnTo>
                <a:lnTo>
                  <a:pt x="3126241" y="2154"/>
                </a:lnTo>
                <a:lnTo>
                  <a:pt x="3126241" y="1330"/>
                </a:lnTo>
                <a:cubicBezTo>
                  <a:pt x="3126243" y="173"/>
                  <a:pt x="3126243" y="173"/>
                  <a:pt x="3126243" y="173"/>
                </a:cubicBezTo>
                <a:cubicBezTo>
                  <a:pt x="3822200" y="22"/>
                  <a:pt x="3909195" y="3"/>
                  <a:pt x="3920070" y="0"/>
                </a:cubicBez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5" name="Text Placeholder 25">
            <a:extLst>
              <a:ext uri="{FF2B5EF4-FFF2-40B4-BE49-F238E27FC236}">
                <a16:creationId xmlns:a16="http://schemas.microsoft.com/office/drawing/2014/main" id="{CAA64B69-6870-9345-43ED-30469132BE79}"/>
              </a:ext>
            </a:extLst>
          </p:cNvPr>
          <p:cNvSpPr>
            <a:spLocks noGrp="1"/>
          </p:cNvSpPr>
          <p:nvPr>
            <p:ph type="body" sz="quarter" idx="11" hasCustomPrompt="1"/>
          </p:nvPr>
        </p:nvSpPr>
        <p:spPr>
          <a:xfrm>
            <a:off x="9077325" y="3883114"/>
            <a:ext cx="2619376" cy="289711"/>
          </a:xfrm>
          <a:prstGeom prst="rect">
            <a:avLst/>
          </a:prstGeom>
        </p:spPr>
        <p:txBody>
          <a:bodyPr anchor="b"/>
          <a:lstStyle>
            <a:lvl1pPr marL="0" indent="0">
              <a:buNone/>
              <a:defRPr sz="2100">
                <a:solidFill>
                  <a:schemeClr val="accent1"/>
                </a:solidFill>
                <a:latin typeface="+mj-lt"/>
              </a:defRPr>
            </a:lvl1pPr>
          </a:lstStyle>
          <a:p>
            <a:pPr lvl="0"/>
            <a:r>
              <a:rPr lang="en-US"/>
              <a:t>Section 00</a:t>
            </a:r>
          </a:p>
        </p:txBody>
      </p:sp>
      <p:sp>
        <p:nvSpPr>
          <p:cNvPr id="2" name="Subtitle 2">
            <a:extLst>
              <a:ext uri="{FF2B5EF4-FFF2-40B4-BE49-F238E27FC236}">
                <a16:creationId xmlns:a16="http://schemas.microsoft.com/office/drawing/2014/main" id="{A3A3FC33-1ED6-1515-EA16-01036EE16E2B}"/>
              </a:ext>
            </a:extLst>
          </p:cNvPr>
          <p:cNvSpPr>
            <a:spLocks noGrp="1"/>
          </p:cNvSpPr>
          <p:nvPr>
            <p:ph type="subTitle" idx="1"/>
          </p:nvPr>
        </p:nvSpPr>
        <p:spPr>
          <a:xfrm>
            <a:off x="9077325" y="4179245"/>
            <a:ext cx="2619375" cy="961080"/>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Title 1">
            <a:extLst>
              <a:ext uri="{FF2B5EF4-FFF2-40B4-BE49-F238E27FC236}">
                <a16:creationId xmlns:a16="http://schemas.microsoft.com/office/drawing/2014/main" id="{A226252F-A467-EB73-566C-0C17582FA9C6}"/>
              </a:ext>
            </a:extLst>
          </p:cNvPr>
          <p:cNvSpPr>
            <a:spLocks noGrp="1"/>
          </p:cNvSpPr>
          <p:nvPr>
            <p:ph type="title"/>
          </p:nvPr>
        </p:nvSpPr>
        <p:spPr>
          <a:xfrm>
            <a:off x="1440315" y="1447799"/>
            <a:ext cx="6065385" cy="3167743"/>
          </a:xfrm>
        </p:spPr>
        <p:txBody>
          <a:bodyPr>
            <a:noAutofit/>
          </a:bodyPr>
          <a:lstStyle>
            <a:lvl1pPr>
              <a:lnSpc>
                <a:spcPct val="84000"/>
              </a:lnSpc>
              <a:defRPr sz="7200">
                <a:solidFill>
                  <a:schemeClr val="bg1"/>
                </a:solidFill>
              </a:defRPr>
            </a:lvl1pPr>
          </a:lstStyle>
          <a:p>
            <a:r>
              <a:rPr lang="en-US"/>
              <a:t>Click to edit Master title style</a:t>
            </a:r>
          </a:p>
        </p:txBody>
      </p:sp>
    </p:spTree>
    <p:extLst>
      <p:ext uri="{BB962C8B-B14F-4D97-AF65-F5344CB8AC3E}">
        <p14:creationId xmlns:p14="http://schemas.microsoft.com/office/powerpoint/2010/main" val="41656310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Long Segue Viridis">
    <p:spTree>
      <p:nvGrpSpPr>
        <p:cNvPr id="1" name=""/>
        <p:cNvGrpSpPr/>
        <p:nvPr/>
      </p:nvGrpSpPr>
      <p:grpSpPr>
        <a:xfrm>
          <a:off x="0" y="0"/>
          <a:ext cx="0" cy="0"/>
          <a:chOff x="0" y="0"/>
          <a:chExt cx="0" cy="0"/>
        </a:xfrm>
      </p:grpSpPr>
      <p:sp>
        <p:nvSpPr>
          <p:cNvPr id="34" name="Freeform: Shape 33">
            <a:extLst>
              <a:ext uri="{FF2B5EF4-FFF2-40B4-BE49-F238E27FC236}">
                <a16:creationId xmlns:a16="http://schemas.microsoft.com/office/drawing/2014/main" id="{69F11427-BF8E-9C4B-8FF2-DBE37EBA0B06}"/>
              </a:ext>
            </a:extLst>
          </p:cNvPr>
          <p:cNvSpPr/>
          <p:nvPr/>
        </p:nvSpPr>
        <p:spPr>
          <a:xfrm>
            <a:off x="0" y="0"/>
            <a:ext cx="11688451" cy="5854259"/>
          </a:xfrm>
          <a:custGeom>
            <a:avLst/>
            <a:gdLst>
              <a:gd name="connsiteX0" fmla="*/ 3920070 w 11688451"/>
              <a:gd name="connsiteY0" fmla="*/ 0 h 5854259"/>
              <a:gd name="connsiteX1" fmla="*/ 3921623 w 11688451"/>
              <a:gd name="connsiteY1" fmla="*/ 0 h 5854259"/>
              <a:gd name="connsiteX2" fmla="*/ 3942361 w 11688451"/>
              <a:gd name="connsiteY2" fmla="*/ 2150 h 5854259"/>
              <a:gd name="connsiteX3" fmla="*/ 5611946 w 11688451"/>
              <a:gd name="connsiteY3" fmla="*/ 2151 h 5854259"/>
              <a:gd name="connsiteX4" fmla="*/ 5641656 w 11688451"/>
              <a:gd name="connsiteY4" fmla="*/ 2151 h 5854259"/>
              <a:gd name="connsiteX5" fmla="*/ 5641656 w 11688451"/>
              <a:gd name="connsiteY5" fmla="*/ 2154 h 5854259"/>
              <a:gd name="connsiteX6" fmla="*/ 6351359 w 11688451"/>
              <a:gd name="connsiteY6" fmla="*/ 2154 h 5854259"/>
              <a:gd name="connsiteX7" fmla="*/ 6351360 w 11688451"/>
              <a:gd name="connsiteY7" fmla="*/ 1330 h 5854259"/>
              <a:gd name="connsiteX8" fmla="*/ 6351361 w 11688451"/>
              <a:gd name="connsiteY8" fmla="*/ 173 h 5854259"/>
              <a:gd name="connsiteX9" fmla="*/ 7146741 w 11688451"/>
              <a:gd name="connsiteY9" fmla="*/ 0 h 5854259"/>
              <a:gd name="connsiteX10" fmla="*/ 7146804 w 11688451"/>
              <a:gd name="connsiteY10" fmla="*/ 7 h 5854259"/>
              <a:gd name="connsiteX11" fmla="*/ 7166212 w 11688451"/>
              <a:gd name="connsiteY11" fmla="*/ 2 h 5854259"/>
              <a:gd name="connsiteX12" fmla="*/ 7174899 w 11688451"/>
              <a:gd name="connsiteY12" fmla="*/ 0 h 5854259"/>
              <a:gd name="connsiteX13" fmla="*/ 7176452 w 11688451"/>
              <a:gd name="connsiteY13" fmla="*/ 0 h 5854259"/>
              <a:gd name="connsiteX14" fmla="*/ 7197190 w 11688451"/>
              <a:gd name="connsiteY14" fmla="*/ 2150 h 5854259"/>
              <a:gd name="connsiteX15" fmla="*/ 8866775 w 11688451"/>
              <a:gd name="connsiteY15" fmla="*/ 2151 h 5854259"/>
              <a:gd name="connsiteX16" fmla="*/ 8866775 w 11688451"/>
              <a:gd name="connsiteY16" fmla="*/ 2154 h 5854259"/>
              <a:gd name="connsiteX17" fmla="*/ 9606188 w 11688451"/>
              <a:gd name="connsiteY17" fmla="*/ 2154 h 5854259"/>
              <a:gd name="connsiteX18" fmla="*/ 9606189 w 11688451"/>
              <a:gd name="connsiteY18" fmla="*/ 1330 h 5854259"/>
              <a:gd name="connsiteX19" fmla="*/ 9606190 w 11688451"/>
              <a:gd name="connsiteY19" fmla="*/ 173 h 5854259"/>
              <a:gd name="connsiteX20" fmla="*/ 10401570 w 11688451"/>
              <a:gd name="connsiteY20" fmla="*/ 0 h 5854259"/>
              <a:gd name="connsiteX21" fmla="*/ 10422338 w 11688451"/>
              <a:gd name="connsiteY21" fmla="*/ 2154 h 5854259"/>
              <a:gd name="connsiteX22" fmla="*/ 10452711 w 11688451"/>
              <a:gd name="connsiteY22" fmla="*/ 2154 h 5854259"/>
              <a:gd name="connsiteX23" fmla="*/ 10452710 w 11688451"/>
              <a:gd name="connsiteY23" fmla="*/ 5304 h 5854259"/>
              <a:gd name="connsiteX24" fmla="*/ 10510507 w 11688451"/>
              <a:gd name="connsiteY24" fmla="*/ 11299 h 5854259"/>
              <a:gd name="connsiteX25" fmla="*/ 10795112 w 11688451"/>
              <a:gd name="connsiteY25" fmla="*/ 164653 h 5854259"/>
              <a:gd name="connsiteX26" fmla="*/ 11519436 w 11688451"/>
              <a:gd name="connsiteY26" fmla="*/ 888978 h 5854259"/>
              <a:gd name="connsiteX27" fmla="*/ 11684089 w 11688451"/>
              <a:gd name="connsiteY27" fmla="*/ 1282519 h 5854259"/>
              <a:gd name="connsiteX28" fmla="*/ 11684061 w 11688451"/>
              <a:gd name="connsiteY28" fmla="*/ 1416839 h 5854259"/>
              <a:gd name="connsiteX29" fmla="*/ 11688451 w 11688451"/>
              <a:gd name="connsiteY29" fmla="*/ 1416840 h 5854259"/>
              <a:gd name="connsiteX30" fmla="*/ 11688451 w 11688451"/>
              <a:gd name="connsiteY30" fmla="*/ 5852108 h 5854259"/>
              <a:gd name="connsiteX31" fmla="*/ 10452711 w 11688451"/>
              <a:gd name="connsiteY31" fmla="*/ 5852108 h 5854259"/>
              <a:gd name="connsiteX32" fmla="*/ 10452710 w 11688451"/>
              <a:gd name="connsiteY32" fmla="*/ 5852111 h 5854259"/>
              <a:gd name="connsiteX33" fmla="*/ 8558258 w 11688451"/>
              <a:gd name="connsiteY33" fmla="*/ 5852110 h 5854259"/>
              <a:gd name="connsiteX34" fmla="*/ 8558257 w 11688451"/>
              <a:gd name="connsiteY34" fmla="*/ 5852929 h 5854259"/>
              <a:gd name="connsiteX35" fmla="*/ 8558256 w 11688451"/>
              <a:gd name="connsiteY35" fmla="*/ 5854086 h 5854259"/>
              <a:gd name="connsiteX36" fmla="*/ 7762876 w 11688451"/>
              <a:gd name="connsiteY36" fmla="*/ 5854259 h 5854259"/>
              <a:gd name="connsiteX37" fmla="*/ 7742135 w 11688451"/>
              <a:gd name="connsiteY37" fmla="*/ 5852108 h 5854259"/>
              <a:gd name="connsiteX38" fmla="*/ 7227592 w 11688451"/>
              <a:gd name="connsiteY38" fmla="*/ 5852108 h 5854259"/>
              <a:gd name="connsiteX39" fmla="*/ 7227592 w 11688451"/>
              <a:gd name="connsiteY39" fmla="*/ 5852110 h 5854259"/>
              <a:gd name="connsiteX40" fmla="*/ 7197882 w 11688451"/>
              <a:gd name="connsiteY40" fmla="*/ 5852110 h 5854259"/>
              <a:gd name="connsiteX41" fmla="*/ 7197881 w 11688451"/>
              <a:gd name="connsiteY41" fmla="*/ 5852111 h 5854259"/>
              <a:gd name="connsiteX42" fmla="*/ 6265511 w 11688451"/>
              <a:gd name="connsiteY42" fmla="*/ 5852111 h 5854259"/>
              <a:gd name="connsiteX43" fmla="*/ 5333141 w 11688451"/>
              <a:gd name="connsiteY43" fmla="*/ 5852111 h 5854259"/>
              <a:gd name="connsiteX44" fmla="*/ 5333139 w 11688451"/>
              <a:gd name="connsiteY44" fmla="*/ 5852929 h 5854259"/>
              <a:gd name="connsiteX45" fmla="*/ 5333137 w 11688451"/>
              <a:gd name="connsiteY45" fmla="*/ 5854086 h 5854259"/>
              <a:gd name="connsiteX46" fmla="*/ 4537757 w 11688451"/>
              <a:gd name="connsiteY46" fmla="*/ 5854259 h 5854259"/>
              <a:gd name="connsiteX47" fmla="*/ 4537695 w 11688451"/>
              <a:gd name="connsiteY47" fmla="*/ 5854253 h 5854259"/>
              <a:gd name="connsiteX48" fmla="*/ 4520475 w 11688451"/>
              <a:gd name="connsiteY48" fmla="*/ 5854257 h 5854259"/>
              <a:gd name="connsiteX49" fmla="*/ 4508047 w 11688451"/>
              <a:gd name="connsiteY49" fmla="*/ 5854259 h 5854259"/>
              <a:gd name="connsiteX50" fmla="*/ 4487307 w 11688451"/>
              <a:gd name="connsiteY50" fmla="*/ 5852108 h 5854259"/>
              <a:gd name="connsiteX51" fmla="*/ 3972763 w 11688451"/>
              <a:gd name="connsiteY51" fmla="*/ 5852108 h 5854259"/>
              <a:gd name="connsiteX52" fmla="*/ 3972763 w 11688451"/>
              <a:gd name="connsiteY52" fmla="*/ 5852110 h 5854259"/>
              <a:gd name="connsiteX53" fmla="*/ 2078312 w 11688451"/>
              <a:gd name="connsiteY53" fmla="*/ 5852111 h 5854259"/>
              <a:gd name="connsiteX54" fmla="*/ 2078310 w 11688451"/>
              <a:gd name="connsiteY54" fmla="*/ 5852929 h 5854259"/>
              <a:gd name="connsiteX55" fmla="*/ 2078308 w 11688451"/>
              <a:gd name="connsiteY55" fmla="*/ 5854086 h 5854259"/>
              <a:gd name="connsiteX56" fmla="*/ 1282928 w 11688451"/>
              <a:gd name="connsiteY56" fmla="*/ 5854259 h 5854259"/>
              <a:gd name="connsiteX57" fmla="*/ 889387 w 11688451"/>
              <a:gd name="connsiteY57" fmla="*/ 5689605 h 5854259"/>
              <a:gd name="connsiteX58" fmla="*/ 165062 w 11688451"/>
              <a:gd name="connsiteY58" fmla="*/ 4965281 h 5854259"/>
              <a:gd name="connsiteX59" fmla="*/ 408 w 11688451"/>
              <a:gd name="connsiteY59" fmla="*/ 4571739 h 5854259"/>
              <a:gd name="connsiteX60" fmla="*/ 438 w 11688451"/>
              <a:gd name="connsiteY60" fmla="*/ 4437419 h 5854259"/>
              <a:gd name="connsiteX61" fmla="*/ 0 w 11688451"/>
              <a:gd name="connsiteY61" fmla="*/ 4437419 h 5854259"/>
              <a:gd name="connsiteX62" fmla="*/ 0 w 11688451"/>
              <a:gd name="connsiteY62" fmla="*/ 2151 h 5854259"/>
              <a:gd name="connsiteX63" fmla="*/ 2386827 w 11688451"/>
              <a:gd name="connsiteY63" fmla="*/ 2151 h 5854259"/>
              <a:gd name="connsiteX64" fmla="*/ 2386827 w 11688451"/>
              <a:gd name="connsiteY64" fmla="*/ 2154 h 5854259"/>
              <a:gd name="connsiteX65" fmla="*/ 3126241 w 11688451"/>
              <a:gd name="connsiteY65" fmla="*/ 2154 h 5854259"/>
              <a:gd name="connsiteX66" fmla="*/ 3126241 w 11688451"/>
              <a:gd name="connsiteY66" fmla="*/ 1330 h 5854259"/>
              <a:gd name="connsiteX67" fmla="*/ 3126243 w 11688451"/>
              <a:gd name="connsiteY67" fmla="*/ 173 h 5854259"/>
              <a:gd name="connsiteX68" fmla="*/ 3920070 w 11688451"/>
              <a:gd name="connsiteY68" fmla="*/ 0 h 585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1688451" h="5854259">
                <a:moveTo>
                  <a:pt x="3920070" y="0"/>
                </a:moveTo>
                <a:cubicBezTo>
                  <a:pt x="3921623" y="0"/>
                  <a:pt x="3921623" y="0"/>
                  <a:pt x="3921623" y="0"/>
                </a:cubicBezTo>
                <a:lnTo>
                  <a:pt x="3942361" y="2150"/>
                </a:lnTo>
                <a:lnTo>
                  <a:pt x="5611946" y="2151"/>
                </a:lnTo>
                <a:lnTo>
                  <a:pt x="5641656" y="2151"/>
                </a:lnTo>
                <a:lnTo>
                  <a:pt x="5641656" y="2154"/>
                </a:lnTo>
                <a:lnTo>
                  <a:pt x="6351359" y="2154"/>
                </a:lnTo>
                <a:lnTo>
                  <a:pt x="6351360" y="1330"/>
                </a:lnTo>
                <a:cubicBezTo>
                  <a:pt x="6351361" y="173"/>
                  <a:pt x="6351361" y="173"/>
                  <a:pt x="6351361" y="173"/>
                </a:cubicBezTo>
                <a:cubicBezTo>
                  <a:pt x="7146741" y="0"/>
                  <a:pt x="7146741" y="0"/>
                  <a:pt x="7146741" y="0"/>
                </a:cubicBezTo>
                <a:lnTo>
                  <a:pt x="7146804" y="7"/>
                </a:lnTo>
                <a:lnTo>
                  <a:pt x="7166212" y="2"/>
                </a:lnTo>
                <a:cubicBezTo>
                  <a:pt x="7170991" y="1"/>
                  <a:pt x="7173540" y="0"/>
                  <a:pt x="7174899" y="0"/>
                </a:cubicBezTo>
                <a:cubicBezTo>
                  <a:pt x="7176452" y="0"/>
                  <a:pt x="7176452" y="0"/>
                  <a:pt x="7176452" y="0"/>
                </a:cubicBezTo>
                <a:lnTo>
                  <a:pt x="7197190" y="2150"/>
                </a:lnTo>
                <a:lnTo>
                  <a:pt x="8866775" y="2151"/>
                </a:lnTo>
                <a:lnTo>
                  <a:pt x="8866775" y="2154"/>
                </a:lnTo>
                <a:lnTo>
                  <a:pt x="9606188" y="2154"/>
                </a:lnTo>
                <a:lnTo>
                  <a:pt x="9606189" y="1330"/>
                </a:lnTo>
                <a:cubicBezTo>
                  <a:pt x="9606190" y="173"/>
                  <a:pt x="9606190" y="173"/>
                  <a:pt x="9606190" y="173"/>
                </a:cubicBezTo>
                <a:cubicBezTo>
                  <a:pt x="10401570" y="0"/>
                  <a:pt x="10401570" y="0"/>
                  <a:pt x="10401570" y="0"/>
                </a:cubicBezTo>
                <a:lnTo>
                  <a:pt x="10422338" y="2154"/>
                </a:lnTo>
                <a:lnTo>
                  <a:pt x="10452711" y="2154"/>
                </a:lnTo>
                <a:lnTo>
                  <a:pt x="10452710" y="5304"/>
                </a:lnTo>
                <a:lnTo>
                  <a:pt x="10510507" y="11299"/>
                </a:lnTo>
                <a:cubicBezTo>
                  <a:pt x="10617278" y="33070"/>
                  <a:pt x="10716200" y="85742"/>
                  <a:pt x="10795112" y="164653"/>
                </a:cubicBezTo>
                <a:cubicBezTo>
                  <a:pt x="11519436" y="888978"/>
                  <a:pt x="11519436" y="888978"/>
                  <a:pt x="11519436" y="888978"/>
                </a:cubicBezTo>
                <a:cubicBezTo>
                  <a:pt x="11623544" y="993086"/>
                  <a:pt x="11683218" y="1134982"/>
                  <a:pt x="11684089" y="1282519"/>
                </a:cubicBezTo>
                <a:lnTo>
                  <a:pt x="11684061" y="1416839"/>
                </a:lnTo>
                <a:lnTo>
                  <a:pt x="11688451" y="1416840"/>
                </a:lnTo>
                <a:lnTo>
                  <a:pt x="11688451" y="5852108"/>
                </a:lnTo>
                <a:lnTo>
                  <a:pt x="10452711" y="5852108"/>
                </a:lnTo>
                <a:lnTo>
                  <a:pt x="10452710" y="5852111"/>
                </a:lnTo>
                <a:lnTo>
                  <a:pt x="8558258" y="5852110"/>
                </a:lnTo>
                <a:lnTo>
                  <a:pt x="8558257" y="5852929"/>
                </a:lnTo>
                <a:cubicBezTo>
                  <a:pt x="8558256" y="5854086"/>
                  <a:pt x="8558256" y="5854086"/>
                  <a:pt x="8558256" y="5854086"/>
                </a:cubicBezTo>
                <a:cubicBezTo>
                  <a:pt x="7762876" y="5854259"/>
                  <a:pt x="7762876" y="5854259"/>
                  <a:pt x="7762876" y="5854259"/>
                </a:cubicBezTo>
                <a:lnTo>
                  <a:pt x="7742135" y="5852108"/>
                </a:lnTo>
                <a:lnTo>
                  <a:pt x="7227592" y="5852108"/>
                </a:lnTo>
                <a:lnTo>
                  <a:pt x="7227592" y="5852110"/>
                </a:lnTo>
                <a:lnTo>
                  <a:pt x="7197882" y="5852110"/>
                </a:lnTo>
                <a:lnTo>
                  <a:pt x="7197881" y="5852111"/>
                </a:lnTo>
                <a:lnTo>
                  <a:pt x="6265511" y="5852111"/>
                </a:lnTo>
                <a:lnTo>
                  <a:pt x="5333141" y="5852111"/>
                </a:lnTo>
                <a:lnTo>
                  <a:pt x="5333139" y="5852929"/>
                </a:lnTo>
                <a:cubicBezTo>
                  <a:pt x="5333137" y="5854086"/>
                  <a:pt x="5333137" y="5854086"/>
                  <a:pt x="5333137" y="5854086"/>
                </a:cubicBezTo>
                <a:cubicBezTo>
                  <a:pt x="4537757" y="5854259"/>
                  <a:pt x="4537757" y="5854259"/>
                  <a:pt x="4537757" y="5854259"/>
                </a:cubicBezTo>
                <a:lnTo>
                  <a:pt x="4537695" y="5854253"/>
                </a:lnTo>
                <a:lnTo>
                  <a:pt x="4520475" y="5854257"/>
                </a:lnTo>
                <a:cubicBezTo>
                  <a:pt x="4508047" y="5854259"/>
                  <a:pt x="4508047" y="5854259"/>
                  <a:pt x="4508047" y="5854259"/>
                </a:cubicBezTo>
                <a:lnTo>
                  <a:pt x="4487307" y="5852108"/>
                </a:lnTo>
                <a:lnTo>
                  <a:pt x="3972763" y="5852108"/>
                </a:lnTo>
                <a:lnTo>
                  <a:pt x="3972763" y="5852110"/>
                </a:lnTo>
                <a:lnTo>
                  <a:pt x="2078312" y="5852111"/>
                </a:lnTo>
                <a:lnTo>
                  <a:pt x="2078310" y="5852929"/>
                </a:lnTo>
                <a:cubicBezTo>
                  <a:pt x="2078308" y="5854086"/>
                  <a:pt x="2078308" y="5854086"/>
                  <a:pt x="2078308" y="5854086"/>
                </a:cubicBezTo>
                <a:cubicBezTo>
                  <a:pt x="1282928" y="5854259"/>
                  <a:pt x="1282928" y="5854259"/>
                  <a:pt x="1282928" y="5854259"/>
                </a:cubicBezTo>
                <a:cubicBezTo>
                  <a:pt x="1135391" y="5853387"/>
                  <a:pt x="994602" y="5794821"/>
                  <a:pt x="889387" y="5689605"/>
                </a:cubicBezTo>
                <a:cubicBezTo>
                  <a:pt x="165062" y="4965281"/>
                  <a:pt x="165062" y="4965281"/>
                  <a:pt x="165062" y="4965281"/>
                </a:cubicBezTo>
                <a:cubicBezTo>
                  <a:pt x="60954" y="4861173"/>
                  <a:pt x="1280" y="4719276"/>
                  <a:pt x="408" y="4571739"/>
                </a:cubicBezTo>
                <a:lnTo>
                  <a:pt x="438" y="4437419"/>
                </a:lnTo>
                <a:lnTo>
                  <a:pt x="0" y="4437419"/>
                </a:lnTo>
                <a:lnTo>
                  <a:pt x="0" y="2151"/>
                </a:lnTo>
                <a:lnTo>
                  <a:pt x="2386827" y="2151"/>
                </a:lnTo>
                <a:lnTo>
                  <a:pt x="2386827" y="2154"/>
                </a:lnTo>
                <a:lnTo>
                  <a:pt x="3126241" y="2154"/>
                </a:lnTo>
                <a:lnTo>
                  <a:pt x="3126241" y="1330"/>
                </a:lnTo>
                <a:cubicBezTo>
                  <a:pt x="3126243" y="173"/>
                  <a:pt x="3126243" y="173"/>
                  <a:pt x="3126243" y="173"/>
                </a:cubicBezTo>
                <a:cubicBezTo>
                  <a:pt x="3822200" y="22"/>
                  <a:pt x="3909195" y="3"/>
                  <a:pt x="3920070" y="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FD12B88C-1D9B-01AB-26E3-BC8A0762016B}"/>
              </a:ext>
            </a:extLst>
          </p:cNvPr>
          <p:cNvSpPr>
            <a:spLocks noGrp="1"/>
          </p:cNvSpPr>
          <p:nvPr>
            <p:ph type="title"/>
          </p:nvPr>
        </p:nvSpPr>
        <p:spPr>
          <a:xfrm>
            <a:off x="1446213" y="1486886"/>
            <a:ext cx="8940800" cy="2492830"/>
          </a:xfrm>
        </p:spPr>
        <p:txBody>
          <a:bodyPr anchor="ctr">
            <a:noAutofit/>
          </a:bodyPr>
          <a:lstStyle>
            <a:lvl1pPr>
              <a:lnSpc>
                <a:spcPct val="84000"/>
              </a:lnSpc>
              <a:defRPr sz="7200">
                <a:solidFill>
                  <a:schemeClr val="accent1"/>
                </a:solidFill>
              </a:defRPr>
            </a:lvl1pPr>
          </a:lstStyle>
          <a:p>
            <a:r>
              <a:rPr lang="en-US"/>
              <a:t>Click to edit Master title style</a:t>
            </a:r>
          </a:p>
        </p:txBody>
      </p:sp>
      <p:sp>
        <p:nvSpPr>
          <p:cNvPr id="4" name="Text Placeholder 25">
            <a:extLst>
              <a:ext uri="{FF2B5EF4-FFF2-40B4-BE49-F238E27FC236}">
                <a16:creationId xmlns:a16="http://schemas.microsoft.com/office/drawing/2014/main" id="{39D42FA4-97E5-2009-BCA8-2325360CAFBE}"/>
              </a:ext>
            </a:extLst>
          </p:cNvPr>
          <p:cNvSpPr>
            <a:spLocks noGrp="1"/>
          </p:cNvSpPr>
          <p:nvPr>
            <p:ph type="body" sz="quarter" idx="15" hasCustomPrompt="1"/>
          </p:nvPr>
        </p:nvSpPr>
        <p:spPr>
          <a:xfrm>
            <a:off x="1446214" y="618372"/>
            <a:ext cx="2620962" cy="397328"/>
          </a:xfrm>
          <a:prstGeom prst="rect">
            <a:avLst/>
          </a:prstGeom>
        </p:spPr>
        <p:txBody>
          <a:bodyPr/>
          <a:lstStyle>
            <a:lvl1pPr marL="0" indent="0">
              <a:buNone/>
              <a:defRPr sz="2100">
                <a:solidFill>
                  <a:schemeClr val="accent1"/>
                </a:solidFill>
                <a:latin typeface="+mj-lt"/>
              </a:defRPr>
            </a:lvl1pPr>
          </a:lstStyle>
          <a:p>
            <a:pPr lvl="0"/>
            <a:r>
              <a:rPr lang="en-US"/>
              <a:t>Section 00</a:t>
            </a:r>
          </a:p>
        </p:txBody>
      </p:sp>
      <p:sp>
        <p:nvSpPr>
          <p:cNvPr id="6" name="Subtitle 2">
            <a:extLst>
              <a:ext uri="{FF2B5EF4-FFF2-40B4-BE49-F238E27FC236}">
                <a16:creationId xmlns:a16="http://schemas.microsoft.com/office/drawing/2014/main" id="{2EAC985E-60C7-9CCC-4E69-91F96197CE3B}"/>
              </a:ext>
            </a:extLst>
          </p:cNvPr>
          <p:cNvSpPr>
            <a:spLocks noGrp="1"/>
          </p:cNvSpPr>
          <p:nvPr>
            <p:ph type="subTitle" idx="1"/>
          </p:nvPr>
        </p:nvSpPr>
        <p:spPr>
          <a:xfrm>
            <a:off x="1446213" y="4176319"/>
            <a:ext cx="8940800" cy="941596"/>
          </a:xfrm>
        </p:spPr>
        <p:txBody>
          <a:bodyPr/>
          <a:lstStyle>
            <a:lvl1pPr marL="0" indent="0" algn="l">
              <a:buNone/>
              <a:defRPr sz="2400">
                <a:solidFill>
                  <a:schemeClr val="accent1"/>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55459516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Long Segue Sky">
    <p:spTree>
      <p:nvGrpSpPr>
        <p:cNvPr id="1" name=""/>
        <p:cNvGrpSpPr/>
        <p:nvPr/>
      </p:nvGrpSpPr>
      <p:grpSpPr>
        <a:xfrm>
          <a:off x="0" y="0"/>
          <a:ext cx="0" cy="0"/>
          <a:chOff x="0" y="0"/>
          <a:chExt cx="0" cy="0"/>
        </a:xfrm>
      </p:grpSpPr>
      <p:sp>
        <p:nvSpPr>
          <p:cNvPr id="34" name="Freeform: Shape 33">
            <a:extLst>
              <a:ext uri="{FF2B5EF4-FFF2-40B4-BE49-F238E27FC236}">
                <a16:creationId xmlns:a16="http://schemas.microsoft.com/office/drawing/2014/main" id="{69F11427-BF8E-9C4B-8FF2-DBE37EBA0B06}"/>
              </a:ext>
            </a:extLst>
          </p:cNvPr>
          <p:cNvSpPr/>
          <p:nvPr/>
        </p:nvSpPr>
        <p:spPr>
          <a:xfrm>
            <a:off x="0" y="0"/>
            <a:ext cx="11688451" cy="5854259"/>
          </a:xfrm>
          <a:custGeom>
            <a:avLst/>
            <a:gdLst>
              <a:gd name="connsiteX0" fmla="*/ 3920070 w 11688451"/>
              <a:gd name="connsiteY0" fmla="*/ 0 h 5854259"/>
              <a:gd name="connsiteX1" fmla="*/ 3921623 w 11688451"/>
              <a:gd name="connsiteY1" fmla="*/ 0 h 5854259"/>
              <a:gd name="connsiteX2" fmla="*/ 3942361 w 11688451"/>
              <a:gd name="connsiteY2" fmla="*/ 2150 h 5854259"/>
              <a:gd name="connsiteX3" fmla="*/ 5611946 w 11688451"/>
              <a:gd name="connsiteY3" fmla="*/ 2151 h 5854259"/>
              <a:gd name="connsiteX4" fmla="*/ 5641656 w 11688451"/>
              <a:gd name="connsiteY4" fmla="*/ 2151 h 5854259"/>
              <a:gd name="connsiteX5" fmla="*/ 5641656 w 11688451"/>
              <a:gd name="connsiteY5" fmla="*/ 2154 h 5854259"/>
              <a:gd name="connsiteX6" fmla="*/ 6351359 w 11688451"/>
              <a:gd name="connsiteY6" fmla="*/ 2154 h 5854259"/>
              <a:gd name="connsiteX7" fmla="*/ 6351360 w 11688451"/>
              <a:gd name="connsiteY7" fmla="*/ 1330 h 5854259"/>
              <a:gd name="connsiteX8" fmla="*/ 6351361 w 11688451"/>
              <a:gd name="connsiteY8" fmla="*/ 173 h 5854259"/>
              <a:gd name="connsiteX9" fmla="*/ 7146741 w 11688451"/>
              <a:gd name="connsiteY9" fmla="*/ 0 h 5854259"/>
              <a:gd name="connsiteX10" fmla="*/ 7146804 w 11688451"/>
              <a:gd name="connsiteY10" fmla="*/ 7 h 5854259"/>
              <a:gd name="connsiteX11" fmla="*/ 7166212 w 11688451"/>
              <a:gd name="connsiteY11" fmla="*/ 2 h 5854259"/>
              <a:gd name="connsiteX12" fmla="*/ 7174899 w 11688451"/>
              <a:gd name="connsiteY12" fmla="*/ 0 h 5854259"/>
              <a:gd name="connsiteX13" fmla="*/ 7176452 w 11688451"/>
              <a:gd name="connsiteY13" fmla="*/ 0 h 5854259"/>
              <a:gd name="connsiteX14" fmla="*/ 7197190 w 11688451"/>
              <a:gd name="connsiteY14" fmla="*/ 2150 h 5854259"/>
              <a:gd name="connsiteX15" fmla="*/ 8866775 w 11688451"/>
              <a:gd name="connsiteY15" fmla="*/ 2151 h 5854259"/>
              <a:gd name="connsiteX16" fmla="*/ 8866775 w 11688451"/>
              <a:gd name="connsiteY16" fmla="*/ 2154 h 5854259"/>
              <a:gd name="connsiteX17" fmla="*/ 9606188 w 11688451"/>
              <a:gd name="connsiteY17" fmla="*/ 2154 h 5854259"/>
              <a:gd name="connsiteX18" fmla="*/ 9606189 w 11688451"/>
              <a:gd name="connsiteY18" fmla="*/ 1330 h 5854259"/>
              <a:gd name="connsiteX19" fmla="*/ 9606190 w 11688451"/>
              <a:gd name="connsiteY19" fmla="*/ 173 h 5854259"/>
              <a:gd name="connsiteX20" fmla="*/ 10401570 w 11688451"/>
              <a:gd name="connsiteY20" fmla="*/ 0 h 5854259"/>
              <a:gd name="connsiteX21" fmla="*/ 10422338 w 11688451"/>
              <a:gd name="connsiteY21" fmla="*/ 2154 h 5854259"/>
              <a:gd name="connsiteX22" fmla="*/ 10452711 w 11688451"/>
              <a:gd name="connsiteY22" fmla="*/ 2154 h 5854259"/>
              <a:gd name="connsiteX23" fmla="*/ 10452710 w 11688451"/>
              <a:gd name="connsiteY23" fmla="*/ 5304 h 5854259"/>
              <a:gd name="connsiteX24" fmla="*/ 10510507 w 11688451"/>
              <a:gd name="connsiteY24" fmla="*/ 11299 h 5854259"/>
              <a:gd name="connsiteX25" fmla="*/ 10795112 w 11688451"/>
              <a:gd name="connsiteY25" fmla="*/ 164653 h 5854259"/>
              <a:gd name="connsiteX26" fmla="*/ 11519436 w 11688451"/>
              <a:gd name="connsiteY26" fmla="*/ 888978 h 5854259"/>
              <a:gd name="connsiteX27" fmla="*/ 11684089 w 11688451"/>
              <a:gd name="connsiteY27" fmla="*/ 1282519 h 5854259"/>
              <a:gd name="connsiteX28" fmla="*/ 11684061 w 11688451"/>
              <a:gd name="connsiteY28" fmla="*/ 1416839 h 5854259"/>
              <a:gd name="connsiteX29" fmla="*/ 11688451 w 11688451"/>
              <a:gd name="connsiteY29" fmla="*/ 1416840 h 5854259"/>
              <a:gd name="connsiteX30" fmla="*/ 11688451 w 11688451"/>
              <a:gd name="connsiteY30" fmla="*/ 5852108 h 5854259"/>
              <a:gd name="connsiteX31" fmla="*/ 10452711 w 11688451"/>
              <a:gd name="connsiteY31" fmla="*/ 5852108 h 5854259"/>
              <a:gd name="connsiteX32" fmla="*/ 10452710 w 11688451"/>
              <a:gd name="connsiteY32" fmla="*/ 5852111 h 5854259"/>
              <a:gd name="connsiteX33" fmla="*/ 8558258 w 11688451"/>
              <a:gd name="connsiteY33" fmla="*/ 5852110 h 5854259"/>
              <a:gd name="connsiteX34" fmla="*/ 8558257 w 11688451"/>
              <a:gd name="connsiteY34" fmla="*/ 5852929 h 5854259"/>
              <a:gd name="connsiteX35" fmla="*/ 8558256 w 11688451"/>
              <a:gd name="connsiteY35" fmla="*/ 5854086 h 5854259"/>
              <a:gd name="connsiteX36" fmla="*/ 7762876 w 11688451"/>
              <a:gd name="connsiteY36" fmla="*/ 5854259 h 5854259"/>
              <a:gd name="connsiteX37" fmla="*/ 7742135 w 11688451"/>
              <a:gd name="connsiteY37" fmla="*/ 5852108 h 5854259"/>
              <a:gd name="connsiteX38" fmla="*/ 7227592 w 11688451"/>
              <a:gd name="connsiteY38" fmla="*/ 5852108 h 5854259"/>
              <a:gd name="connsiteX39" fmla="*/ 7227592 w 11688451"/>
              <a:gd name="connsiteY39" fmla="*/ 5852110 h 5854259"/>
              <a:gd name="connsiteX40" fmla="*/ 7197882 w 11688451"/>
              <a:gd name="connsiteY40" fmla="*/ 5852110 h 5854259"/>
              <a:gd name="connsiteX41" fmla="*/ 7197881 w 11688451"/>
              <a:gd name="connsiteY41" fmla="*/ 5852111 h 5854259"/>
              <a:gd name="connsiteX42" fmla="*/ 6265511 w 11688451"/>
              <a:gd name="connsiteY42" fmla="*/ 5852111 h 5854259"/>
              <a:gd name="connsiteX43" fmla="*/ 5333141 w 11688451"/>
              <a:gd name="connsiteY43" fmla="*/ 5852111 h 5854259"/>
              <a:gd name="connsiteX44" fmla="*/ 5333139 w 11688451"/>
              <a:gd name="connsiteY44" fmla="*/ 5852929 h 5854259"/>
              <a:gd name="connsiteX45" fmla="*/ 5333137 w 11688451"/>
              <a:gd name="connsiteY45" fmla="*/ 5854086 h 5854259"/>
              <a:gd name="connsiteX46" fmla="*/ 4537757 w 11688451"/>
              <a:gd name="connsiteY46" fmla="*/ 5854259 h 5854259"/>
              <a:gd name="connsiteX47" fmla="*/ 4537695 w 11688451"/>
              <a:gd name="connsiteY47" fmla="*/ 5854253 h 5854259"/>
              <a:gd name="connsiteX48" fmla="*/ 4520475 w 11688451"/>
              <a:gd name="connsiteY48" fmla="*/ 5854257 h 5854259"/>
              <a:gd name="connsiteX49" fmla="*/ 4508047 w 11688451"/>
              <a:gd name="connsiteY49" fmla="*/ 5854259 h 5854259"/>
              <a:gd name="connsiteX50" fmla="*/ 4487307 w 11688451"/>
              <a:gd name="connsiteY50" fmla="*/ 5852108 h 5854259"/>
              <a:gd name="connsiteX51" fmla="*/ 3972763 w 11688451"/>
              <a:gd name="connsiteY51" fmla="*/ 5852108 h 5854259"/>
              <a:gd name="connsiteX52" fmla="*/ 3972763 w 11688451"/>
              <a:gd name="connsiteY52" fmla="*/ 5852110 h 5854259"/>
              <a:gd name="connsiteX53" fmla="*/ 2078312 w 11688451"/>
              <a:gd name="connsiteY53" fmla="*/ 5852111 h 5854259"/>
              <a:gd name="connsiteX54" fmla="*/ 2078310 w 11688451"/>
              <a:gd name="connsiteY54" fmla="*/ 5852929 h 5854259"/>
              <a:gd name="connsiteX55" fmla="*/ 2078308 w 11688451"/>
              <a:gd name="connsiteY55" fmla="*/ 5854086 h 5854259"/>
              <a:gd name="connsiteX56" fmla="*/ 1282928 w 11688451"/>
              <a:gd name="connsiteY56" fmla="*/ 5854259 h 5854259"/>
              <a:gd name="connsiteX57" fmla="*/ 889387 w 11688451"/>
              <a:gd name="connsiteY57" fmla="*/ 5689605 h 5854259"/>
              <a:gd name="connsiteX58" fmla="*/ 165062 w 11688451"/>
              <a:gd name="connsiteY58" fmla="*/ 4965281 h 5854259"/>
              <a:gd name="connsiteX59" fmla="*/ 408 w 11688451"/>
              <a:gd name="connsiteY59" fmla="*/ 4571739 h 5854259"/>
              <a:gd name="connsiteX60" fmla="*/ 438 w 11688451"/>
              <a:gd name="connsiteY60" fmla="*/ 4437419 h 5854259"/>
              <a:gd name="connsiteX61" fmla="*/ 0 w 11688451"/>
              <a:gd name="connsiteY61" fmla="*/ 4437419 h 5854259"/>
              <a:gd name="connsiteX62" fmla="*/ 0 w 11688451"/>
              <a:gd name="connsiteY62" fmla="*/ 2151 h 5854259"/>
              <a:gd name="connsiteX63" fmla="*/ 2386827 w 11688451"/>
              <a:gd name="connsiteY63" fmla="*/ 2151 h 5854259"/>
              <a:gd name="connsiteX64" fmla="*/ 2386827 w 11688451"/>
              <a:gd name="connsiteY64" fmla="*/ 2154 h 5854259"/>
              <a:gd name="connsiteX65" fmla="*/ 3126241 w 11688451"/>
              <a:gd name="connsiteY65" fmla="*/ 2154 h 5854259"/>
              <a:gd name="connsiteX66" fmla="*/ 3126241 w 11688451"/>
              <a:gd name="connsiteY66" fmla="*/ 1330 h 5854259"/>
              <a:gd name="connsiteX67" fmla="*/ 3126243 w 11688451"/>
              <a:gd name="connsiteY67" fmla="*/ 173 h 5854259"/>
              <a:gd name="connsiteX68" fmla="*/ 3920070 w 11688451"/>
              <a:gd name="connsiteY68" fmla="*/ 0 h 585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1688451" h="5854259">
                <a:moveTo>
                  <a:pt x="3920070" y="0"/>
                </a:moveTo>
                <a:cubicBezTo>
                  <a:pt x="3921623" y="0"/>
                  <a:pt x="3921623" y="0"/>
                  <a:pt x="3921623" y="0"/>
                </a:cubicBezTo>
                <a:lnTo>
                  <a:pt x="3942361" y="2150"/>
                </a:lnTo>
                <a:lnTo>
                  <a:pt x="5611946" y="2151"/>
                </a:lnTo>
                <a:lnTo>
                  <a:pt x="5641656" y="2151"/>
                </a:lnTo>
                <a:lnTo>
                  <a:pt x="5641656" y="2154"/>
                </a:lnTo>
                <a:lnTo>
                  <a:pt x="6351359" y="2154"/>
                </a:lnTo>
                <a:lnTo>
                  <a:pt x="6351360" y="1330"/>
                </a:lnTo>
                <a:cubicBezTo>
                  <a:pt x="6351361" y="173"/>
                  <a:pt x="6351361" y="173"/>
                  <a:pt x="6351361" y="173"/>
                </a:cubicBezTo>
                <a:cubicBezTo>
                  <a:pt x="7146741" y="0"/>
                  <a:pt x="7146741" y="0"/>
                  <a:pt x="7146741" y="0"/>
                </a:cubicBezTo>
                <a:lnTo>
                  <a:pt x="7146804" y="7"/>
                </a:lnTo>
                <a:lnTo>
                  <a:pt x="7166212" y="2"/>
                </a:lnTo>
                <a:cubicBezTo>
                  <a:pt x="7170991" y="1"/>
                  <a:pt x="7173540" y="0"/>
                  <a:pt x="7174899" y="0"/>
                </a:cubicBezTo>
                <a:cubicBezTo>
                  <a:pt x="7176452" y="0"/>
                  <a:pt x="7176452" y="0"/>
                  <a:pt x="7176452" y="0"/>
                </a:cubicBezTo>
                <a:lnTo>
                  <a:pt x="7197190" y="2150"/>
                </a:lnTo>
                <a:lnTo>
                  <a:pt x="8866775" y="2151"/>
                </a:lnTo>
                <a:lnTo>
                  <a:pt x="8866775" y="2154"/>
                </a:lnTo>
                <a:lnTo>
                  <a:pt x="9606188" y="2154"/>
                </a:lnTo>
                <a:lnTo>
                  <a:pt x="9606189" y="1330"/>
                </a:lnTo>
                <a:cubicBezTo>
                  <a:pt x="9606190" y="173"/>
                  <a:pt x="9606190" y="173"/>
                  <a:pt x="9606190" y="173"/>
                </a:cubicBezTo>
                <a:cubicBezTo>
                  <a:pt x="10401570" y="0"/>
                  <a:pt x="10401570" y="0"/>
                  <a:pt x="10401570" y="0"/>
                </a:cubicBezTo>
                <a:lnTo>
                  <a:pt x="10422338" y="2154"/>
                </a:lnTo>
                <a:lnTo>
                  <a:pt x="10452711" y="2154"/>
                </a:lnTo>
                <a:lnTo>
                  <a:pt x="10452710" y="5304"/>
                </a:lnTo>
                <a:lnTo>
                  <a:pt x="10510507" y="11299"/>
                </a:lnTo>
                <a:cubicBezTo>
                  <a:pt x="10617278" y="33070"/>
                  <a:pt x="10716200" y="85742"/>
                  <a:pt x="10795112" y="164653"/>
                </a:cubicBezTo>
                <a:cubicBezTo>
                  <a:pt x="11519436" y="888978"/>
                  <a:pt x="11519436" y="888978"/>
                  <a:pt x="11519436" y="888978"/>
                </a:cubicBezTo>
                <a:cubicBezTo>
                  <a:pt x="11623544" y="993086"/>
                  <a:pt x="11683218" y="1134982"/>
                  <a:pt x="11684089" y="1282519"/>
                </a:cubicBezTo>
                <a:lnTo>
                  <a:pt x="11684061" y="1416839"/>
                </a:lnTo>
                <a:lnTo>
                  <a:pt x="11688451" y="1416840"/>
                </a:lnTo>
                <a:lnTo>
                  <a:pt x="11688451" y="5852108"/>
                </a:lnTo>
                <a:lnTo>
                  <a:pt x="10452711" y="5852108"/>
                </a:lnTo>
                <a:lnTo>
                  <a:pt x="10452710" y="5852111"/>
                </a:lnTo>
                <a:lnTo>
                  <a:pt x="8558258" y="5852110"/>
                </a:lnTo>
                <a:lnTo>
                  <a:pt x="8558257" y="5852929"/>
                </a:lnTo>
                <a:cubicBezTo>
                  <a:pt x="8558256" y="5854086"/>
                  <a:pt x="8558256" y="5854086"/>
                  <a:pt x="8558256" y="5854086"/>
                </a:cubicBezTo>
                <a:cubicBezTo>
                  <a:pt x="7762876" y="5854259"/>
                  <a:pt x="7762876" y="5854259"/>
                  <a:pt x="7762876" y="5854259"/>
                </a:cubicBezTo>
                <a:lnTo>
                  <a:pt x="7742135" y="5852108"/>
                </a:lnTo>
                <a:lnTo>
                  <a:pt x="7227592" y="5852108"/>
                </a:lnTo>
                <a:lnTo>
                  <a:pt x="7227592" y="5852110"/>
                </a:lnTo>
                <a:lnTo>
                  <a:pt x="7197882" y="5852110"/>
                </a:lnTo>
                <a:lnTo>
                  <a:pt x="7197881" y="5852111"/>
                </a:lnTo>
                <a:lnTo>
                  <a:pt x="6265511" y="5852111"/>
                </a:lnTo>
                <a:lnTo>
                  <a:pt x="5333141" y="5852111"/>
                </a:lnTo>
                <a:lnTo>
                  <a:pt x="5333139" y="5852929"/>
                </a:lnTo>
                <a:cubicBezTo>
                  <a:pt x="5333137" y="5854086"/>
                  <a:pt x="5333137" y="5854086"/>
                  <a:pt x="5333137" y="5854086"/>
                </a:cubicBezTo>
                <a:cubicBezTo>
                  <a:pt x="4537757" y="5854259"/>
                  <a:pt x="4537757" y="5854259"/>
                  <a:pt x="4537757" y="5854259"/>
                </a:cubicBezTo>
                <a:lnTo>
                  <a:pt x="4537695" y="5854253"/>
                </a:lnTo>
                <a:lnTo>
                  <a:pt x="4520475" y="5854257"/>
                </a:lnTo>
                <a:cubicBezTo>
                  <a:pt x="4508047" y="5854259"/>
                  <a:pt x="4508047" y="5854259"/>
                  <a:pt x="4508047" y="5854259"/>
                </a:cubicBezTo>
                <a:lnTo>
                  <a:pt x="4487307" y="5852108"/>
                </a:lnTo>
                <a:lnTo>
                  <a:pt x="3972763" y="5852108"/>
                </a:lnTo>
                <a:lnTo>
                  <a:pt x="3972763" y="5852110"/>
                </a:lnTo>
                <a:lnTo>
                  <a:pt x="2078312" y="5852111"/>
                </a:lnTo>
                <a:lnTo>
                  <a:pt x="2078310" y="5852929"/>
                </a:lnTo>
                <a:cubicBezTo>
                  <a:pt x="2078308" y="5854086"/>
                  <a:pt x="2078308" y="5854086"/>
                  <a:pt x="2078308" y="5854086"/>
                </a:cubicBezTo>
                <a:cubicBezTo>
                  <a:pt x="1282928" y="5854259"/>
                  <a:pt x="1282928" y="5854259"/>
                  <a:pt x="1282928" y="5854259"/>
                </a:cubicBezTo>
                <a:cubicBezTo>
                  <a:pt x="1135391" y="5853387"/>
                  <a:pt x="994602" y="5794821"/>
                  <a:pt x="889387" y="5689605"/>
                </a:cubicBezTo>
                <a:cubicBezTo>
                  <a:pt x="165062" y="4965281"/>
                  <a:pt x="165062" y="4965281"/>
                  <a:pt x="165062" y="4965281"/>
                </a:cubicBezTo>
                <a:cubicBezTo>
                  <a:pt x="60954" y="4861173"/>
                  <a:pt x="1280" y="4719276"/>
                  <a:pt x="408" y="4571739"/>
                </a:cubicBezTo>
                <a:lnTo>
                  <a:pt x="438" y="4437419"/>
                </a:lnTo>
                <a:lnTo>
                  <a:pt x="0" y="4437419"/>
                </a:lnTo>
                <a:lnTo>
                  <a:pt x="0" y="2151"/>
                </a:lnTo>
                <a:lnTo>
                  <a:pt x="2386827" y="2151"/>
                </a:lnTo>
                <a:lnTo>
                  <a:pt x="2386827" y="2154"/>
                </a:lnTo>
                <a:lnTo>
                  <a:pt x="3126241" y="2154"/>
                </a:lnTo>
                <a:lnTo>
                  <a:pt x="3126241" y="1330"/>
                </a:lnTo>
                <a:cubicBezTo>
                  <a:pt x="3126243" y="173"/>
                  <a:pt x="3126243" y="173"/>
                  <a:pt x="3126243" y="173"/>
                </a:cubicBezTo>
                <a:cubicBezTo>
                  <a:pt x="3822200" y="22"/>
                  <a:pt x="3909195" y="3"/>
                  <a:pt x="3920070" y="0"/>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Title 1">
            <a:extLst>
              <a:ext uri="{FF2B5EF4-FFF2-40B4-BE49-F238E27FC236}">
                <a16:creationId xmlns:a16="http://schemas.microsoft.com/office/drawing/2014/main" id="{1923696B-E6D1-2488-5D3F-68B3F6D6D62C}"/>
              </a:ext>
            </a:extLst>
          </p:cNvPr>
          <p:cNvSpPr>
            <a:spLocks noGrp="1"/>
          </p:cNvSpPr>
          <p:nvPr>
            <p:ph type="title"/>
          </p:nvPr>
        </p:nvSpPr>
        <p:spPr>
          <a:xfrm>
            <a:off x="1446213" y="1486886"/>
            <a:ext cx="8940800" cy="2492830"/>
          </a:xfrm>
        </p:spPr>
        <p:txBody>
          <a:bodyPr anchor="ctr">
            <a:noAutofit/>
          </a:bodyPr>
          <a:lstStyle>
            <a:lvl1pPr>
              <a:lnSpc>
                <a:spcPct val="84000"/>
              </a:lnSpc>
              <a:defRPr sz="7200">
                <a:solidFill>
                  <a:schemeClr val="bg1"/>
                </a:solidFill>
              </a:defRPr>
            </a:lvl1pPr>
          </a:lstStyle>
          <a:p>
            <a:r>
              <a:rPr lang="en-US"/>
              <a:t>Click to edit Master title style</a:t>
            </a:r>
          </a:p>
        </p:txBody>
      </p:sp>
      <p:sp>
        <p:nvSpPr>
          <p:cNvPr id="8" name="Text Placeholder 25">
            <a:extLst>
              <a:ext uri="{FF2B5EF4-FFF2-40B4-BE49-F238E27FC236}">
                <a16:creationId xmlns:a16="http://schemas.microsoft.com/office/drawing/2014/main" id="{62F0885D-82A8-8F0E-A681-58B009245A25}"/>
              </a:ext>
            </a:extLst>
          </p:cNvPr>
          <p:cNvSpPr>
            <a:spLocks noGrp="1"/>
          </p:cNvSpPr>
          <p:nvPr>
            <p:ph type="body" sz="quarter" idx="15" hasCustomPrompt="1"/>
          </p:nvPr>
        </p:nvSpPr>
        <p:spPr>
          <a:xfrm>
            <a:off x="1446214" y="618372"/>
            <a:ext cx="2620962" cy="397328"/>
          </a:xfrm>
          <a:prstGeom prst="rect">
            <a:avLst/>
          </a:prstGeom>
        </p:spPr>
        <p:txBody>
          <a:bodyPr/>
          <a:lstStyle>
            <a:lvl1pPr marL="0" indent="0">
              <a:buNone/>
              <a:defRPr sz="2100">
                <a:solidFill>
                  <a:schemeClr val="bg1"/>
                </a:solidFill>
                <a:latin typeface="+mj-lt"/>
              </a:defRPr>
            </a:lvl1pPr>
          </a:lstStyle>
          <a:p>
            <a:pPr lvl="0"/>
            <a:r>
              <a:rPr lang="en-US"/>
              <a:t>Section 00</a:t>
            </a:r>
          </a:p>
        </p:txBody>
      </p:sp>
      <p:sp>
        <p:nvSpPr>
          <p:cNvPr id="9" name="Subtitle 2">
            <a:extLst>
              <a:ext uri="{FF2B5EF4-FFF2-40B4-BE49-F238E27FC236}">
                <a16:creationId xmlns:a16="http://schemas.microsoft.com/office/drawing/2014/main" id="{43EBA2B0-AB72-511C-7F98-4BEEE74F266C}"/>
              </a:ext>
            </a:extLst>
          </p:cNvPr>
          <p:cNvSpPr>
            <a:spLocks noGrp="1"/>
          </p:cNvSpPr>
          <p:nvPr>
            <p:ph type="subTitle" idx="1"/>
          </p:nvPr>
        </p:nvSpPr>
        <p:spPr>
          <a:xfrm>
            <a:off x="1446213" y="4176319"/>
            <a:ext cx="8940800" cy="941596"/>
          </a:xfrm>
        </p:spPr>
        <p:txBody>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21847408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Long Segue Sol">
    <p:spTree>
      <p:nvGrpSpPr>
        <p:cNvPr id="1" name=""/>
        <p:cNvGrpSpPr/>
        <p:nvPr/>
      </p:nvGrpSpPr>
      <p:grpSpPr>
        <a:xfrm>
          <a:off x="0" y="0"/>
          <a:ext cx="0" cy="0"/>
          <a:chOff x="0" y="0"/>
          <a:chExt cx="0" cy="0"/>
        </a:xfrm>
      </p:grpSpPr>
      <p:sp>
        <p:nvSpPr>
          <p:cNvPr id="34" name="Freeform: Shape 33">
            <a:extLst>
              <a:ext uri="{FF2B5EF4-FFF2-40B4-BE49-F238E27FC236}">
                <a16:creationId xmlns:a16="http://schemas.microsoft.com/office/drawing/2014/main" id="{69F11427-BF8E-9C4B-8FF2-DBE37EBA0B06}"/>
              </a:ext>
            </a:extLst>
          </p:cNvPr>
          <p:cNvSpPr/>
          <p:nvPr/>
        </p:nvSpPr>
        <p:spPr>
          <a:xfrm>
            <a:off x="0" y="0"/>
            <a:ext cx="11688451" cy="5854259"/>
          </a:xfrm>
          <a:custGeom>
            <a:avLst/>
            <a:gdLst>
              <a:gd name="connsiteX0" fmla="*/ 3920070 w 11688451"/>
              <a:gd name="connsiteY0" fmla="*/ 0 h 5854259"/>
              <a:gd name="connsiteX1" fmla="*/ 3921623 w 11688451"/>
              <a:gd name="connsiteY1" fmla="*/ 0 h 5854259"/>
              <a:gd name="connsiteX2" fmla="*/ 3942361 w 11688451"/>
              <a:gd name="connsiteY2" fmla="*/ 2150 h 5854259"/>
              <a:gd name="connsiteX3" fmla="*/ 5611946 w 11688451"/>
              <a:gd name="connsiteY3" fmla="*/ 2151 h 5854259"/>
              <a:gd name="connsiteX4" fmla="*/ 5641656 w 11688451"/>
              <a:gd name="connsiteY4" fmla="*/ 2151 h 5854259"/>
              <a:gd name="connsiteX5" fmla="*/ 5641656 w 11688451"/>
              <a:gd name="connsiteY5" fmla="*/ 2154 h 5854259"/>
              <a:gd name="connsiteX6" fmla="*/ 6351359 w 11688451"/>
              <a:gd name="connsiteY6" fmla="*/ 2154 h 5854259"/>
              <a:gd name="connsiteX7" fmla="*/ 6351360 w 11688451"/>
              <a:gd name="connsiteY7" fmla="*/ 1330 h 5854259"/>
              <a:gd name="connsiteX8" fmla="*/ 6351361 w 11688451"/>
              <a:gd name="connsiteY8" fmla="*/ 173 h 5854259"/>
              <a:gd name="connsiteX9" fmla="*/ 7146741 w 11688451"/>
              <a:gd name="connsiteY9" fmla="*/ 0 h 5854259"/>
              <a:gd name="connsiteX10" fmla="*/ 7146804 w 11688451"/>
              <a:gd name="connsiteY10" fmla="*/ 7 h 5854259"/>
              <a:gd name="connsiteX11" fmla="*/ 7166212 w 11688451"/>
              <a:gd name="connsiteY11" fmla="*/ 2 h 5854259"/>
              <a:gd name="connsiteX12" fmla="*/ 7174899 w 11688451"/>
              <a:gd name="connsiteY12" fmla="*/ 0 h 5854259"/>
              <a:gd name="connsiteX13" fmla="*/ 7176452 w 11688451"/>
              <a:gd name="connsiteY13" fmla="*/ 0 h 5854259"/>
              <a:gd name="connsiteX14" fmla="*/ 7197190 w 11688451"/>
              <a:gd name="connsiteY14" fmla="*/ 2150 h 5854259"/>
              <a:gd name="connsiteX15" fmla="*/ 8866775 w 11688451"/>
              <a:gd name="connsiteY15" fmla="*/ 2151 h 5854259"/>
              <a:gd name="connsiteX16" fmla="*/ 8866775 w 11688451"/>
              <a:gd name="connsiteY16" fmla="*/ 2154 h 5854259"/>
              <a:gd name="connsiteX17" fmla="*/ 9606188 w 11688451"/>
              <a:gd name="connsiteY17" fmla="*/ 2154 h 5854259"/>
              <a:gd name="connsiteX18" fmla="*/ 9606189 w 11688451"/>
              <a:gd name="connsiteY18" fmla="*/ 1330 h 5854259"/>
              <a:gd name="connsiteX19" fmla="*/ 9606190 w 11688451"/>
              <a:gd name="connsiteY19" fmla="*/ 173 h 5854259"/>
              <a:gd name="connsiteX20" fmla="*/ 10401570 w 11688451"/>
              <a:gd name="connsiteY20" fmla="*/ 0 h 5854259"/>
              <a:gd name="connsiteX21" fmla="*/ 10422338 w 11688451"/>
              <a:gd name="connsiteY21" fmla="*/ 2154 h 5854259"/>
              <a:gd name="connsiteX22" fmla="*/ 10452711 w 11688451"/>
              <a:gd name="connsiteY22" fmla="*/ 2154 h 5854259"/>
              <a:gd name="connsiteX23" fmla="*/ 10452710 w 11688451"/>
              <a:gd name="connsiteY23" fmla="*/ 5304 h 5854259"/>
              <a:gd name="connsiteX24" fmla="*/ 10510507 w 11688451"/>
              <a:gd name="connsiteY24" fmla="*/ 11299 h 5854259"/>
              <a:gd name="connsiteX25" fmla="*/ 10795112 w 11688451"/>
              <a:gd name="connsiteY25" fmla="*/ 164653 h 5854259"/>
              <a:gd name="connsiteX26" fmla="*/ 11519436 w 11688451"/>
              <a:gd name="connsiteY26" fmla="*/ 888978 h 5854259"/>
              <a:gd name="connsiteX27" fmla="*/ 11684089 w 11688451"/>
              <a:gd name="connsiteY27" fmla="*/ 1282519 h 5854259"/>
              <a:gd name="connsiteX28" fmla="*/ 11684061 w 11688451"/>
              <a:gd name="connsiteY28" fmla="*/ 1416839 h 5854259"/>
              <a:gd name="connsiteX29" fmla="*/ 11688451 w 11688451"/>
              <a:gd name="connsiteY29" fmla="*/ 1416840 h 5854259"/>
              <a:gd name="connsiteX30" fmla="*/ 11688451 w 11688451"/>
              <a:gd name="connsiteY30" fmla="*/ 5852108 h 5854259"/>
              <a:gd name="connsiteX31" fmla="*/ 10452711 w 11688451"/>
              <a:gd name="connsiteY31" fmla="*/ 5852108 h 5854259"/>
              <a:gd name="connsiteX32" fmla="*/ 10452710 w 11688451"/>
              <a:gd name="connsiteY32" fmla="*/ 5852111 h 5854259"/>
              <a:gd name="connsiteX33" fmla="*/ 8558258 w 11688451"/>
              <a:gd name="connsiteY33" fmla="*/ 5852110 h 5854259"/>
              <a:gd name="connsiteX34" fmla="*/ 8558257 w 11688451"/>
              <a:gd name="connsiteY34" fmla="*/ 5852929 h 5854259"/>
              <a:gd name="connsiteX35" fmla="*/ 8558256 w 11688451"/>
              <a:gd name="connsiteY35" fmla="*/ 5854086 h 5854259"/>
              <a:gd name="connsiteX36" fmla="*/ 7762876 w 11688451"/>
              <a:gd name="connsiteY36" fmla="*/ 5854259 h 5854259"/>
              <a:gd name="connsiteX37" fmla="*/ 7742135 w 11688451"/>
              <a:gd name="connsiteY37" fmla="*/ 5852108 h 5854259"/>
              <a:gd name="connsiteX38" fmla="*/ 7227592 w 11688451"/>
              <a:gd name="connsiteY38" fmla="*/ 5852108 h 5854259"/>
              <a:gd name="connsiteX39" fmla="*/ 7227592 w 11688451"/>
              <a:gd name="connsiteY39" fmla="*/ 5852110 h 5854259"/>
              <a:gd name="connsiteX40" fmla="*/ 7197882 w 11688451"/>
              <a:gd name="connsiteY40" fmla="*/ 5852110 h 5854259"/>
              <a:gd name="connsiteX41" fmla="*/ 7197881 w 11688451"/>
              <a:gd name="connsiteY41" fmla="*/ 5852111 h 5854259"/>
              <a:gd name="connsiteX42" fmla="*/ 6265511 w 11688451"/>
              <a:gd name="connsiteY42" fmla="*/ 5852111 h 5854259"/>
              <a:gd name="connsiteX43" fmla="*/ 5333141 w 11688451"/>
              <a:gd name="connsiteY43" fmla="*/ 5852111 h 5854259"/>
              <a:gd name="connsiteX44" fmla="*/ 5333139 w 11688451"/>
              <a:gd name="connsiteY44" fmla="*/ 5852929 h 5854259"/>
              <a:gd name="connsiteX45" fmla="*/ 5333137 w 11688451"/>
              <a:gd name="connsiteY45" fmla="*/ 5854086 h 5854259"/>
              <a:gd name="connsiteX46" fmla="*/ 4537757 w 11688451"/>
              <a:gd name="connsiteY46" fmla="*/ 5854259 h 5854259"/>
              <a:gd name="connsiteX47" fmla="*/ 4537695 w 11688451"/>
              <a:gd name="connsiteY47" fmla="*/ 5854253 h 5854259"/>
              <a:gd name="connsiteX48" fmla="*/ 4520475 w 11688451"/>
              <a:gd name="connsiteY48" fmla="*/ 5854257 h 5854259"/>
              <a:gd name="connsiteX49" fmla="*/ 4508047 w 11688451"/>
              <a:gd name="connsiteY49" fmla="*/ 5854259 h 5854259"/>
              <a:gd name="connsiteX50" fmla="*/ 4487307 w 11688451"/>
              <a:gd name="connsiteY50" fmla="*/ 5852108 h 5854259"/>
              <a:gd name="connsiteX51" fmla="*/ 3972763 w 11688451"/>
              <a:gd name="connsiteY51" fmla="*/ 5852108 h 5854259"/>
              <a:gd name="connsiteX52" fmla="*/ 3972763 w 11688451"/>
              <a:gd name="connsiteY52" fmla="*/ 5852110 h 5854259"/>
              <a:gd name="connsiteX53" fmla="*/ 2078312 w 11688451"/>
              <a:gd name="connsiteY53" fmla="*/ 5852111 h 5854259"/>
              <a:gd name="connsiteX54" fmla="*/ 2078310 w 11688451"/>
              <a:gd name="connsiteY54" fmla="*/ 5852929 h 5854259"/>
              <a:gd name="connsiteX55" fmla="*/ 2078308 w 11688451"/>
              <a:gd name="connsiteY55" fmla="*/ 5854086 h 5854259"/>
              <a:gd name="connsiteX56" fmla="*/ 1282928 w 11688451"/>
              <a:gd name="connsiteY56" fmla="*/ 5854259 h 5854259"/>
              <a:gd name="connsiteX57" fmla="*/ 889387 w 11688451"/>
              <a:gd name="connsiteY57" fmla="*/ 5689605 h 5854259"/>
              <a:gd name="connsiteX58" fmla="*/ 165062 w 11688451"/>
              <a:gd name="connsiteY58" fmla="*/ 4965281 h 5854259"/>
              <a:gd name="connsiteX59" fmla="*/ 408 w 11688451"/>
              <a:gd name="connsiteY59" fmla="*/ 4571739 h 5854259"/>
              <a:gd name="connsiteX60" fmla="*/ 438 w 11688451"/>
              <a:gd name="connsiteY60" fmla="*/ 4437419 h 5854259"/>
              <a:gd name="connsiteX61" fmla="*/ 0 w 11688451"/>
              <a:gd name="connsiteY61" fmla="*/ 4437419 h 5854259"/>
              <a:gd name="connsiteX62" fmla="*/ 0 w 11688451"/>
              <a:gd name="connsiteY62" fmla="*/ 2151 h 5854259"/>
              <a:gd name="connsiteX63" fmla="*/ 2386827 w 11688451"/>
              <a:gd name="connsiteY63" fmla="*/ 2151 h 5854259"/>
              <a:gd name="connsiteX64" fmla="*/ 2386827 w 11688451"/>
              <a:gd name="connsiteY64" fmla="*/ 2154 h 5854259"/>
              <a:gd name="connsiteX65" fmla="*/ 3126241 w 11688451"/>
              <a:gd name="connsiteY65" fmla="*/ 2154 h 5854259"/>
              <a:gd name="connsiteX66" fmla="*/ 3126241 w 11688451"/>
              <a:gd name="connsiteY66" fmla="*/ 1330 h 5854259"/>
              <a:gd name="connsiteX67" fmla="*/ 3126243 w 11688451"/>
              <a:gd name="connsiteY67" fmla="*/ 173 h 5854259"/>
              <a:gd name="connsiteX68" fmla="*/ 3920070 w 11688451"/>
              <a:gd name="connsiteY68" fmla="*/ 0 h 585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1688451" h="5854259">
                <a:moveTo>
                  <a:pt x="3920070" y="0"/>
                </a:moveTo>
                <a:cubicBezTo>
                  <a:pt x="3921623" y="0"/>
                  <a:pt x="3921623" y="0"/>
                  <a:pt x="3921623" y="0"/>
                </a:cubicBezTo>
                <a:lnTo>
                  <a:pt x="3942361" y="2150"/>
                </a:lnTo>
                <a:lnTo>
                  <a:pt x="5611946" y="2151"/>
                </a:lnTo>
                <a:lnTo>
                  <a:pt x="5641656" y="2151"/>
                </a:lnTo>
                <a:lnTo>
                  <a:pt x="5641656" y="2154"/>
                </a:lnTo>
                <a:lnTo>
                  <a:pt x="6351359" y="2154"/>
                </a:lnTo>
                <a:lnTo>
                  <a:pt x="6351360" y="1330"/>
                </a:lnTo>
                <a:cubicBezTo>
                  <a:pt x="6351361" y="173"/>
                  <a:pt x="6351361" y="173"/>
                  <a:pt x="6351361" y="173"/>
                </a:cubicBezTo>
                <a:cubicBezTo>
                  <a:pt x="7146741" y="0"/>
                  <a:pt x="7146741" y="0"/>
                  <a:pt x="7146741" y="0"/>
                </a:cubicBezTo>
                <a:lnTo>
                  <a:pt x="7146804" y="7"/>
                </a:lnTo>
                <a:lnTo>
                  <a:pt x="7166212" y="2"/>
                </a:lnTo>
                <a:cubicBezTo>
                  <a:pt x="7170991" y="1"/>
                  <a:pt x="7173540" y="0"/>
                  <a:pt x="7174899" y="0"/>
                </a:cubicBezTo>
                <a:cubicBezTo>
                  <a:pt x="7176452" y="0"/>
                  <a:pt x="7176452" y="0"/>
                  <a:pt x="7176452" y="0"/>
                </a:cubicBezTo>
                <a:lnTo>
                  <a:pt x="7197190" y="2150"/>
                </a:lnTo>
                <a:lnTo>
                  <a:pt x="8866775" y="2151"/>
                </a:lnTo>
                <a:lnTo>
                  <a:pt x="8866775" y="2154"/>
                </a:lnTo>
                <a:lnTo>
                  <a:pt x="9606188" y="2154"/>
                </a:lnTo>
                <a:lnTo>
                  <a:pt x="9606189" y="1330"/>
                </a:lnTo>
                <a:cubicBezTo>
                  <a:pt x="9606190" y="173"/>
                  <a:pt x="9606190" y="173"/>
                  <a:pt x="9606190" y="173"/>
                </a:cubicBezTo>
                <a:cubicBezTo>
                  <a:pt x="10401570" y="0"/>
                  <a:pt x="10401570" y="0"/>
                  <a:pt x="10401570" y="0"/>
                </a:cubicBezTo>
                <a:lnTo>
                  <a:pt x="10422338" y="2154"/>
                </a:lnTo>
                <a:lnTo>
                  <a:pt x="10452711" y="2154"/>
                </a:lnTo>
                <a:lnTo>
                  <a:pt x="10452710" y="5304"/>
                </a:lnTo>
                <a:lnTo>
                  <a:pt x="10510507" y="11299"/>
                </a:lnTo>
                <a:cubicBezTo>
                  <a:pt x="10617278" y="33070"/>
                  <a:pt x="10716200" y="85742"/>
                  <a:pt x="10795112" y="164653"/>
                </a:cubicBezTo>
                <a:cubicBezTo>
                  <a:pt x="11519436" y="888978"/>
                  <a:pt x="11519436" y="888978"/>
                  <a:pt x="11519436" y="888978"/>
                </a:cubicBezTo>
                <a:cubicBezTo>
                  <a:pt x="11623544" y="993086"/>
                  <a:pt x="11683218" y="1134982"/>
                  <a:pt x="11684089" y="1282519"/>
                </a:cubicBezTo>
                <a:lnTo>
                  <a:pt x="11684061" y="1416839"/>
                </a:lnTo>
                <a:lnTo>
                  <a:pt x="11688451" y="1416840"/>
                </a:lnTo>
                <a:lnTo>
                  <a:pt x="11688451" y="5852108"/>
                </a:lnTo>
                <a:lnTo>
                  <a:pt x="10452711" y="5852108"/>
                </a:lnTo>
                <a:lnTo>
                  <a:pt x="10452710" y="5852111"/>
                </a:lnTo>
                <a:lnTo>
                  <a:pt x="8558258" y="5852110"/>
                </a:lnTo>
                <a:lnTo>
                  <a:pt x="8558257" y="5852929"/>
                </a:lnTo>
                <a:cubicBezTo>
                  <a:pt x="8558256" y="5854086"/>
                  <a:pt x="8558256" y="5854086"/>
                  <a:pt x="8558256" y="5854086"/>
                </a:cubicBezTo>
                <a:cubicBezTo>
                  <a:pt x="7762876" y="5854259"/>
                  <a:pt x="7762876" y="5854259"/>
                  <a:pt x="7762876" y="5854259"/>
                </a:cubicBezTo>
                <a:lnTo>
                  <a:pt x="7742135" y="5852108"/>
                </a:lnTo>
                <a:lnTo>
                  <a:pt x="7227592" y="5852108"/>
                </a:lnTo>
                <a:lnTo>
                  <a:pt x="7227592" y="5852110"/>
                </a:lnTo>
                <a:lnTo>
                  <a:pt x="7197882" y="5852110"/>
                </a:lnTo>
                <a:lnTo>
                  <a:pt x="7197881" y="5852111"/>
                </a:lnTo>
                <a:lnTo>
                  <a:pt x="6265511" y="5852111"/>
                </a:lnTo>
                <a:lnTo>
                  <a:pt x="5333141" y="5852111"/>
                </a:lnTo>
                <a:lnTo>
                  <a:pt x="5333139" y="5852929"/>
                </a:lnTo>
                <a:cubicBezTo>
                  <a:pt x="5333137" y="5854086"/>
                  <a:pt x="5333137" y="5854086"/>
                  <a:pt x="5333137" y="5854086"/>
                </a:cubicBezTo>
                <a:cubicBezTo>
                  <a:pt x="4537757" y="5854259"/>
                  <a:pt x="4537757" y="5854259"/>
                  <a:pt x="4537757" y="5854259"/>
                </a:cubicBezTo>
                <a:lnTo>
                  <a:pt x="4537695" y="5854253"/>
                </a:lnTo>
                <a:lnTo>
                  <a:pt x="4520475" y="5854257"/>
                </a:lnTo>
                <a:cubicBezTo>
                  <a:pt x="4508047" y="5854259"/>
                  <a:pt x="4508047" y="5854259"/>
                  <a:pt x="4508047" y="5854259"/>
                </a:cubicBezTo>
                <a:lnTo>
                  <a:pt x="4487307" y="5852108"/>
                </a:lnTo>
                <a:lnTo>
                  <a:pt x="3972763" y="5852108"/>
                </a:lnTo>
                <a:lnTo>
                  <a:pt x="3972763" y="5852110"/>
                </a:lnTo>
                <a:lnTo>
                  <a:pt x="2078312" y="5852111"/>
                </a:lnTo>
                <a:lnTo>
                  <a:pt x="2078310" y="5852929"/>
                </a:lnTo>
                <a:cubicBezTo>
                  <a:pt x="2078308" y="5854086"/>
                  <a:pt x="2078308" y="5854086"/>
                  <a:pt x="2078308" y="5854086"/>
                </a:cubicBezTo>
                <a:cubicBezTo>
                  <a:pt x="1282928" y="5854259"/>
                  <a:pt x="1282928" y="5854259"/>
                  <a:pt x="1282928" y="5854259"/>
                </a:cubicBezTo>
                <a:cubicBezTo>
                  <a:pt x="1135391" y="5853387"/>
                  <a:pt x="994602" y="5794821"/>
                  <a:pt x="889387" y="5689605"/>
                </a:cubicBezTo>
                <a:cubicBezTo>
                  <a:pt x="165062" y="4965281"/>
                  <a:pt x="165062" y="4965281"/>
                  <a:pt x="165062" y="4965281"/>
                </a:cubicBezTo>
                <a:cubicBezTo>
                  <a:pt x="60954" y="4861173"/>
                  <a:pt x="1280" y="4719276"/>
                  <a:pt x="408" y="4571739"/>
                </a:cubicBezTo>
                <a:lnTo>
                  <a:pt x="438" y="4437419"/>
                </a:lnTo>
                <a:lnTo>
                  <a:pt x="0" y="4437419"/>
                </a:lnTo>
                <a:lnTo>
                  <a:pt x="0" y="2151"/>
                </a:lnTo>
                <a:lnTo>
                  <a:pt x="2386827" y="2151"/>
                </a:lnTo>
                <a:lnTo>
                  <a:pt x="2386827" y="2154"/>
                </a:lnTo>
                <a:lnTo>
                  <a:pt x="3126241" y="2154"/>
                </a:lnTo>
                <a:lnTo>
                  <a:pt x="3126241" y="1330"/>
                </a:lnTo>
                <a:cubicBezTo>
                  <a:pt x="3126243" y="173"/>
                  <a:pt x="3126243" y="173"/>
                  <a:pt x="3126243" y="173"/>
                </a:cubicBezTo>
                <a:cubicBezTo>
                  <a:pt x="3822200" y="22"/>
                  <a:pt x="3909195" y="3"/>
                  <a:pt x="3920070" y="0"/>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0B9C111B-C4DA-DB86-B196-398891D51E4F}"/>
              </a:ext>
            </a:extLst>
          </p:cNvPr>
          <p:cNvSpPr>
            <a:spLocks noGrp="1"/>
          </p:cNvSpPr>
          <p:nvPr>
            <p:ph type="title"/>
          </p:nvPr>
        </p:nvSpPr>
        <p:spPr>
          <a:xfrm>
            <a:off x="1446213" y="1486886"/>
            <a:ext cx="8940800" cy="2492830"/>
          </a:xfrm>
        </p:spPr>
        <p:txBody>
          <a:bodyPr anchor="ctr">
            <a:noAutofit/>
          </a:bodyPr>
          <a:lstStyle>
            <a:lvl1pPr>
              <a:lnSpc>
                <a:spcPct val="84000"/>
              </a:lnSpc>
              <a:defRPr sz="7200">
                <a:solidFill>
                  <a:schemeClr val="accent1"/>
                </a:solidFill>
              </a:defRPr>
            </a:lvl1pPr>
          </a:lstStyle>
          <a:p>
            <a:r>
              <a:rPr lang="en-US"/>
              <a:t>Click to edit Master title style</a:t>
            </a:r>
          </a:p>
        </p:txBody>
      </p:sp>
      <p:sp>
        <p:nvSpPr>
          <p:cNvPr id="4" name="Text Placeholder 25">
            <a:extLst>
              <a:ext uri="{FF2B5EF4-FFF2-40B4-BE49-F238E27FC236}">
                <a16:creationId xmlns:a16="http://schemas.microsoft.com/office/drawing/2014/main" id="{A790AF06-497B-5541-6E7F-7A27B5278F82}"/>
              </a:ext>
            </a:extLst>
          </p:cNvPr>
          <p:cNvSpPr>
            <a:spLocks noGrp="1"/>
          </p:cNvSpPr>
          <p:nvPr>
            <p:ph type="body" sz="quarter" idx="15" hasCustomPrompt="1"/>
          </p:nvPr>
        </p:nvSpPr>
        <p:spPr>
          <a:xfrm>
            <a:off x="1446214" y="618372"/>
            <a:ext cx="2620962" cy="397328"/>
          </a:xfrm>
          <a:prstGeom prst="rect">
            <a:avLst/>
          </a:prstGeom>
        </p:spPr>
        <p:txBody>
          <a:bodyPr/>
          <a:lstStyle>
            <a:lvl1pPr marL="0" indent="0">
              <a:buNone/>
              <a:defRPr sz="2100">
                <a:solidFill>
                  <a:schemeClr val="accent1"/>
                </a:solidFill>
                <a:latin typeface="+mj-lt"/>
              </a:defRPr>
            </a:lvl1pPr>
          </a:lstStyle>
          <a:p>
            <a:pPr lvl="0"/>
            <a:r>
              <a:rPr lang="en-US"/>
              <a:t>Section 00</a:t>
            </a:r>
          </a:p>
        </p:txBody>
      </p:sp>
      <p:sp>
        <p:nvSpPr>
          <p:cNvPr id="6" name="Subtitle 2">
            <a:extLst>
              <a:ext uri="{FF2B5EF4-FFF2-40B4-BE49-F238E27FC236}">
                <a16:creationId xmlns:a16="http://schemas.microsoft.com/office/drawing/2014/main" id="{D18999DA-13C6-1DF9-A678-6E673FDAF67D}"/>
              </a:ext>
            </a:extLst>
          </p:cNvPr>
          <p:cNvSpPr>
            <a:spLocks noGrp="1"/>
          </p:cNvSpPr>
          <p:nvPr>
            <p:ph type="subTitle" idx="1"/>
          </p:nvPr>
        </p:nvSpPr>
        <p:spPr>
          <a:xfrm>
            <a:off x="1446213" y="4176319"/>
            <a:ext cx="8940800" cy="941596"/>
          </a:xfrm>
        </p:spPr>
        <p:txBody>
          <a:bodyPr/>
          <a:lstStyle>
            <a:lvl1pPr marL="0" indent="0" algn="l">
              <a:buNone/>
              <a:defRPr sz="2400">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63278950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Long Segue Casia">
    <p:spTree>
      <p:nvGrpSpPr>
        <p:cNvPr id="1" name=""/>
        <p:cNvGrpSpPr/>
        <p:nvPr/>
      </p:nvGrpSpPr>
      <p:grpSpPr>
        <a:xfrm>
          <a:off x="0" y="0"/>
          <a:ext cx="0" cy="0"/>
          <a:chOff x="0" y="0"/>
          <a:chExt cx="0" cy="0"/>
        </a:xfrm>
      </p:grpSpPr>
      <p:sp>
        <p:nvSpPr>
          <p:cNvPr id="34" name="Freeform: Shape 33">
            <a:extLst>
              <a:ext uri="{FF2B5EF4-FFF2-40B4-BE49-F238E27FC236}">
                <a16:creationId xmlns:a16="http://schemas.microsoft.com/office/drawing/2014/main" id="{69F11427-BF8E-9C4B-8FF2-DBE37EBA0B06}"/>
              </a:ext>
            </a:extLst>
          </p:cNvPr>
          <p:cNvSpPr/>
          <p:nvPr/>
        </p:nvSpPr>
        <p:spPr>
          <a:xfrm>
            <a:off x="0" y="0"/>
            <a:ext cx="11688451" cy="5854259"/>
          </a:xfrm>
          <a:custGeom>
            <a:avLst/>
            <a:gdLst>
              <a:gd name="connsiteX0" fmla="*/ 3920070 w 11688451"/>
              <a:gd name="connsiteY0" fmla="*/ 0 h 5854259"/>
              <a:gd name="connsiteX1" fmla="*/ 3921623 w 11688451"/>
              <a:gd name="connsiteY1" fmla="*/ 0 h 5854259"/>
              <a:gd name="connsiteX2" fmla="*/ 3942361 w 11688451"/>
              <a:gd name="connsiteY2" fmla="*/ 2150 h 5854259"/>
              <a:gd name="connsiteX3" fmla="*/ 5611946 w 11688451"/>
              <a:gd name="connsiteY3" fmla="*/ 2151 h 5854259"/>
              <a:gd name="connsiteX4" fmla="*/ 5641656 w 11688451"/>
              <a:gd name="connsiteY4" fmla="*/ 2151 h 5854259"/>
              <a:gd name="connsiteX5" fmla="*/ 5641656 w 11688451"/>
              <a:gd name="connsiteY5" fmla="*/ 2154 h 5854259"/>
              <a:gd name="connsiteX6" fmla="*/ 6351359 w 11688451"/>
              <a:gd name="connsiteY6" fmla="*/ 2154 h 5854259"/>
              <a:gd name="connsiteX7" fmla="*/ 6351360 w 11688451"/>
              <a:gd name="connsiteY7" fmla="*/ 1330 h 5854259"/>
              <a:gd name="connsiteX8" fmla="*/ 6351361 w 11688451"/>
              <a:gd name="connsiteY8" fmla="*/ 173 h 5854259"/>
              <a:gd name="connsiteX9" fmla="*/ 7146741 w 11688451"/>
              <a:gd name="connsiteY9" fmla="*/ 0 h 5854259"/>
              <a:gd name="connsiteX10" fmla="*/ 7146804 w 11688451"/>
              <a:gd name="connsiteY10" fmla="*/ 7 h 5854259"/>
              <a:gd name="connsiteX11" fmla="*/ 7166212 w 11688451"/>
              <a:gd name="connsiteY11" fmla="*/ 2 h 5854259"/>
              <a:gd name="connsiteX12" fmla="*/ 7174899 w 11688451"/>
              <a:gd name="connsiteY12" fmla="*/ 0 h 5854259"/>
              <a:gd name="connsiteX13" fmla="*/ 7176452 w 11688451"/>
              <a:gd name="connsiteY13" fmla="*/ 0 h 5854259"/>
              <a:gd name="connsiteX14" fmla="*/ 7197190 w 11688451"/>
              <a:gd name="connsiteY14" fmla="*/ 2150 h 5854259"/>
              <a:gd name="connsiteX15" fmla="*/ 8866775 w 11688451"/>
              <a:gd name="connsiteY15" fmla="*/ 2151 h 5854259"/>
              <a:gd name="connsiteX16" fmla="*/ 8866775 w 11688451"/>
              <a:gd name="connsiteY16" fmla="*/ 2154 h 5854259"/>
              <a:gd name="connsiteX17" fmla="*/ 9606188 w 11688451"/>
              <a:gd name="connsiteY17" fmla="*/ 2154 h 5854259"/>
              <a:gd name="connsiteX18" fmla="*/ 9606189 w 11688451"/>
              <a:gd name="connsiteY18" fmla="*/ 1330 h 5854259"/>
              <a:gd name="connsiteX19" fmla="*/ 9606190 w 11688451"/>
              <a:gd name="connsiteY19" fmla="*/ 173 h 5854259"/>
              <a:gd name="connsiteX20" fmla="*/ 10401570 w 11688451"/>
              <a:gd name="connsiteY20" fmla="*/ 0 h 5854259"/>
              <a:gd name="connsiteX21" fmla="*/ 10422338 w 11688451"/>
              <a:gd name="connsiteY21" fmla="*/ 2154 h 5854259"/>
              <a:gd name="connsiteX22" fmla="*/ 10452711 w 11688451"/>
              <a:gd name="connsiteY22" fmla="*/ 2154 h 5854259"/>
              <a:gd name="connsiteX23" fmla="*/ 10452710 w 11688451"/>
              <a:gd name="connsiteY23" fmla="*/ 5304 h 5854259"/>
              <a:gd name="connsiteX24" fmla="*/ 10510507 w 11688451"/>
              <a:gd name="connsiteY24" fmla="*/ 11299 h 5854259"/>
              <a:gd name="connsiteX25" fmla="*/ 10795112 w 11688451"/>
              <a:gd name="connsiteY25" fmla="*/ 164653 h 5854259"/>
              <a:gd name="connsiteX26" fmla="*/ 11519436 w 11688451"/>
              <a:gd name="connsiteY26" fmla="*/ 888978 h 5854259"/>
              <a:gd name="connsiteX27" fmla="*/ 11684089 w 11688451"/>
              <a:gd name="connsiteY27" fmla="*/ 1282519 h 5854259"/>
              <a:gd name="connsiteX28" fmla="*/ 11684061 w 11688451"/>
              <a:gd name="connsiteY28" fmla="*/ 1416839 h 5854259"/>
              <a:gd name="connsiteX29" fmla="*/ 11688451 w 11688451"/>
              <a:gd name="connsiteY29" fmla="*/ 1416840 h 5854259"/>
              <a:gd name="connsiteX30" fmla="*/ 11688451 w 11688451"/>
              <a:gd name="connsiteY30" fmla="*/ 5852108 h 5854259"/>
              <a:gd name="connsiteX31" fmla="*/ 10452711 w 11688451"/>
              <a:gd name="connsiteY31" fmla="*/ 5852108 h 5854259"/>
              <a:gd name="connsiteX32" fmla="*/ 10452710 w 11688451"/>
              <a:gd name="connsiteY32" fmla="*/ 5852111 h 5854259"/>
              <a:gd name="connsiteX33" fmla="*/ 8558258 w 11688451"/>
              <a:gd name="connsiteY33" fmla="*/ 5852110 h 5854259"/>
              <a:gd name="connsiteX34" fmla="*/ 8558257 w 11688451"/>
              <a:gd name="connsiteY34" fmla="*/ 5852929 h 5854259"/>
              <a:gd name="connsiteX35" fmla="*/ 8558256 w 11688451"/>
              <a:gd name="connsiteY35" fmla="*/ 5854086 h 5854259"/>
              <a:gd name="connsiteX36" fmla="*/ 7762876 w 11688451"/>
              <a:gd name="connsiteY36" fmla="*/ 5854259 h 5854259"/>
              <a:gd name="connsiteX37" fmla="*/ 7742135 w 11688451"/>
              <a:gd name="connsiteY37" fmla="*/ 5852108 h 5854259"/>
              <a:gd name="connsiteX38" fmla="*/ 7227592 w 11688451"/>
              <a:gd name="connsiteY38" fmla="*/ 5852108 h 5854259"/>
              <a:gd name="connsiteX39" fmla="*/ 7227592 w 11688451"/>
              <a:gd name="connsiteY39" fmla="*/ 5852110 h 5854259"/>
              <a:gd name="connsiteX40" fmla="*/ 7197882 w 11688451"/>
              <a:gd name="connsiteY40" fmla="*/ 5852110 h 5854259"/>
              <a:gd name="connsiteX41" fmla="*/ 7197881 w 11688451"/>
              <a:gd name="connsiteY41" fmla="*/ 5852111 h 5854259"/>
              <a:gd name="connsiteX42" fmla="*/ 6265511 w 11688451"/>
              <a:gd name="connsiteY42" fmla="*/ 5852111 h 5854259"/>
              <a:gd name="connsiteX43" fmla="*/ 5333141 w 11688451"/>
              <a:gd name="connsiteY43" fmla="*/ 5852111 h 5854259"/>
              <a:gd name="connsiteX44" fmla="*/ 5333139 w 11688451"/>
              <a:gd name="connsiteY44" fmla="*/ 5852929 h 5854259"/>
              <a:gd name="connsiteX45" fmla="*/ 5333137 w 11688451"/>
              <a:gd name="connsiteY45" fmla="*/ 5854086 h 5854259"/>
              <a:gd name="connsiteX46" fmla="*/ 4537757 w 11688451"/>
              <a:gd name="connsiteY46" fmla="*/ 5854259 h 5854259"/>
              <a:gd name="connsiteX47" fmla="*/ 4537695 w 11688451"/>
              <a:gd name="connsiteY47" fmla="*/ 5854253 h 5854259"/>
              <a:gd name="connsiteX48" fmla="*/ 4520475 w 11688451"/>
              <a:gd name="connsiteY48" fmla="*/ 5854257 h 5854259"/>
              <a:gd name="connsiteX49" fmla="*/ 4508047 w 11688451"/>
              <a:gd name="connsiteY49" fmla="*/ 5854259 h 5854259"/>
              <a:gd name="connsiteX50" fmla="*/ 4487307 w 11688451"/>
              <a:gd name="connsiteY50" fmla="*/ 5852108 h 5854259"/>
              <a:gd name="connsiteX51" fmla="*/ 3972763 w 11688451"/>
              <a:gd name="connsiteY51" fmla="*/ 5852108 h 5854259"/>
              <a:gd name="connsiteX52" fmla="*/ 3972763 w 11688451"/>
              <a:gd name="connsiteY52" fmla="*/ 5852110 h 5854259"/>
              <a:gd name="connsiteX53" fmla="*/ 2078312 w 11688451"/>
              <a:gd name="connsiteY53" fmla="*/ 5852111 h 5854259"/>
              <a:gd name="connsiteX54" fmla="*/ 2078310 w 11688451"/>
              <a:gd name="connsiteY54" fmla="*/ 5852929 h 5854259"/>
              <a:gd name="connsiteX55" fmla="*/ 2078308 w 11688451"/>
              <a:gd name="connsiteY55" fmla="*/ 5854086 h 5854259"/>
              <a:gd name="connsiteX56" fmla="*/ 1282928 w 11688451"/>
              <a:gd name="connsiteY56" fmla="*/ 5854259 h 5854259"/>
              <a:gd name="connsiteX57" fmla="*/ 889387 w 11688451"/>
              <a:gd name="connsiteY57" fmla="*/ 5689605 h 5854259"/>
              <a:gd name="connsiteX58" fmla="*/ 165062 w 11688451"/>
              <a:gd name="connsiteY58" fmla="*/ 4965281 h 5854259"/>
              <a:gd name="connsiteX59" fmla="*/ 408 w 11688451"/>
              <a:gd name="connsiteY59" fmla="*/ 4571739 h 5854259"/>
              <a:gd name="connsiteX60" fmla="*/ 438 w 11688451"/>
              <a:gd name="connsiteY60" fmla="*/ 4437419 h 5854259"/>
              <a:gd name="connsiteX61" fmla="*/ 0 w 11688451"/>
              <a:gd name="connsiteY61" fmla="*/ 4437419 h 5854259"/>
              <a:gd name="connsiteX62" fmla="*/ 0 w 11688451"/>
              <a:gd name="connsiteY62" fmla="*/ 2151 h 5854259"/>
              <a:gd name="connsiteX63" fmla="*/ 2386827 w 11688451"/>
              <a:gd name="connsiteY63" fmla="*/ 2151 h 5854259"/>
              <a:gd name="connsiteX64" fmla="*/ 2386827 w 11688451"/>
              <a:gd name="connsiteY64" fmla="*/ 2154 h 5854259"/>
              <a:gd name="connsiteX65" fmla="*/ 3126241 w 11688451"/>
              <a:gd name="connsiteY65" fmla="*/ 2154 h 5854259"/>
              <a:gd name="connsiteX66" fmla="*/ 3126241 w 11688451"/>
              <a:gd name="connsiteY66" fmla="*/ 1330 h 5854259"/>
              <a:gd name="connsiteX67" fmla="*/ 3126243 w 11688451"/>
              <a:gd name="connsiteY67" fmla="*/ 173 h 5854259"/>
              <a:gd name="connsiteX68" fmla="*/ 3920070 w 11688451"/>
              <a:gd name="connsiteY68" fmla="*/ 0 h 585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1688451" h="5854259">
                <a:moveTo>
                  <a:pt x="3920070" y="0"/>
                </a:moveTo>
                <a:cubicBezTo>
                  <a:pt x="3921623" y="0"/>
                  <a:pt x="3921623" y="0"/>
                  <a:pt x="3921623" y="0"/>
                </a:cubicBezTo>
                <a:lnTo>
                  <a:pt x="3942361" y="2150"/>
                </a:lnTo>
                <a:lnTo>
                  <a:pt x="5611946" y="2151"/>
                </a:lnTo>
                <a:lnTo>
                  <a:pt x="5641656" y="2151"/>
                </a:lnTo>
                <a:lnTo>
                  <a:pt x="5641656" y="2154"/>
                </a:lnTo>
                <a:lnTo>
                  <a:pt x="6351359" y="2154"/>
                </a:lnTo>
                <a:lnTo>
                  <a:pt x="6351360" y="1330"/>
                </a:lnTo>
                <a:cubicBezTo>
                  <a:pt x="6351361" y="173"/>
                  <a:pt x="6351361" y="173"/>
                  <a:pt x="6351361" y="173"/>
                </a:cubicBezTo>
                <a:cubicBezTo>
                  <a:pt x="7146741" y="0"/>
                  <a:pt x="7146741" y="0"/>
                  <a:pt x="7146741" y="0"/>
                </a:cubicBezTo>
                <a:lnTo>
                  <a:pt x="7146804" y="7"/>
                </a:lnTo>
                <a:lnTo>
                  <a:pt x="7166212" y="2"/>
                </a:lnTo>
                <a:cubicBezTo>
                  <a:pt x="7170991" y="1"/>
                  <a:pt x="7173540" y="0"/>
                  <a:pt x="7174899" y="0"/>
                </a:cubicBezTo>
                <a:cubicBezTo>
                  <a:pt x="7176452" y="0"/>
                  <a:pt x="7176452" y="0"/>
                  <a:pt x="7176452" y="0"/>
                </a:cubicBezTo>
                <a:lnTo>
                  <a:pt x="7197190" y="2150"/>
                </a:lnTo>
                <a:lnTo>
                  <a:pt x="8866775" y="2151"/>
                </a:lnTo>
                <a:lnTo>
                  <a:pt x="8866775" y="2154"/>
                </a:lnTo>
                <a:lnTo>
                  <a:pt x="9606188" y="2154"/>
                </a:lnTo>
                <a:lnTo>
                  <a:pt x="9606189" y="1330"/>
                </a:lnTo>
                <a:cubicBezTo>
                  <a:pt x="9606190" y="173"/>
                  <a:pt x="9606190" y="173"/>
                  <a:pt x="9606190" y="173"/>
                </a:cubicBezTo>
                <a:cubicBezTo>
                  <a:pt x="10401570" y="0"/>
                  <a:pt x="10401570" y="0"/>
                  <a:pt x="10401570" y="0"/>
                </a:cubicBezTo>
                <a:lnTo>
                  <a:pt x="10422338" y="2154"/>
                </a:lnTo>
                <a:lnTo>
                  <a:pt x="10452711" y="2154"/>
                </a:lnTo>
                <a:lnTo>
                  <a:pt x="10452710" y="5304"/>
                </a:lnTo>
                <a:lnTo>
                  <a:pt x="10510507" y="11299"/>
                </a:lnTo>
                <a:cubicBezTo>
                  <a:pt x="10617278" y="33070"/>
                  <a:pt x="10716200" y="85742"/>
                  <a:pt x="10795112" y="164653"/>
                </a:cubicBezTo>
                <a:cubicBezTo>
                  <a:pt x="11519436" y="888978"/>
                  <a:pt x="11519436" y="888978"/>
                  <a:pt x="11519436" y="888978"/>
                </a:cubicBezTo>
                <a:cubicBezTo>
                  <a:pt x="11623544" y="993086"/>
                  <a:pt x="11683218" y="1134982"/>
                  <a:pt x="11684089" y="1282519"/>
                </a:cubicBezTo>
                <a:lnTo>
                  <a:pt x="11684061" y="1416839"/>
                </a:lnTo>
                <a:lnTo>
                  <a:pt x="11688451" y="1416840"/>
                </a:lnTo>
                <a:lnTo>
                  <a:pt x="11688451" y="5852108"/>
                </a:lnTo>
                <a:lnTo>
                  <a:pt x="10452711" y="5852108"/>
                </a:lnTo>
                <a:lnTo>
                  <a:pt x="10452710" y="5852111"/>
                </a:lnTo>
                <a:lnTo>
                  <a:pt x="8558258" y="5852110"/>
                </a:lnTo>
                <a:lnTo>
                  <a:pt x="8558257" y="5852929"/>
                </a:lnTo>
                <a:cubicBezTo>
                  <a:pt x="8558256" y="5854086"/>
                  <a:pt x="8558256" y="5854086"/>
                  <a:pt x="8558256" y="5854086"/>
                </a:cubicBezTo>
                <a:cubicBezTo>
                  <a:pt x="7762876" y="5854259"/>
                  <a:pt x="7762876" y="5854259"/>
                  <a:pt x="7762876" y="5854259"/>
                </a:cubicBezTo>
                <a:lnTo>
                  <a:pt x="7742135" y="5852108"/>
                </a:lnTo>
                <a:lnTo>
                  <a:pt x="7227592" y="5852108"/>
                </a:lnTo>
                <a:lnTo>
                  <a:pt x="7227592" y="5852110"/>
                </a:lnTo>
                <a:lnTo>
                  <a:pt x="7197882" y="5852110"/>
                </a:lnTo>
                <a:lnTo>
                  <a:pt x="7197881" y="5852111"/>
                </a:lnTo>
                <a:lnTo>
                  <a:pt x="6265511" y="5852111"/>
                </a:lnTo>
                <a:lnTo>
                  <a:pt x="5333141" y="5852111"/>
                </a:lnTo>
                <a:lnTo>
                  <a:pt x="5333139" y="5852929"/>
                </a:lnTo>
                <a:cubicBezTo>
                  <a:pt x="5333137" y="5854086"/>
                  <a:pt x="5333137" y="5854086"/>
                  <a:pt x="5333137" y="5854086"/>
                </a:cubicBezTo>
                <a:cubicBezTo>
                  <a:pt x="4537757" y="5854259"/>
                  <a:pt x="4537757" y="5854259"/>
                  <a:pt x="4537757" y="5854259"/>
                </a:cubicBezTo>
                <a:lnTo>
                  <a:pt x="4537695" y="5854253"/>
                </a:lnTo>
                <a:lnTo>
                  <a:pt x="4520475" y="5854257"/>
                </a:lnTo>
                <a:cubicBezTo>
                  <a:pt x="4508047" y="5854259"/>
                  <a:pt x="4508047" y="5854259"/>
                  <a:pt x="4508047" y="5854259"/>
                </a:cubicBezTo>
                <a:lnTo>
                  <a:pt x="4487307" y="5852108"/>
                </a:lnTo>
                <a:lnTo>
                  <a:pt x="3972763" y="5852108"/>
                </a:lnTo>
                <a:lnTo>
                  <a:pt x="3972763" y="5852110"/>
                </a:lnTo>
                <a:lnTo>
                  <a:pt x="2078312" y="5852111"/>
                </a:lnTo>
                <a:lnTo>
                  <a:pt x="2078310" y="5852929"/>
                </a:lnTo>
                <a:cubicBezTo>
                  <a:pt x="2078308" y="5854086"/>
                  <a:pt x="2078308" y="5854086"/>
                  <a:pt x="2078308" y="5854086"/>
                </a:cubicBezTo>
                <a:cubicBezTo>
                  <a:pt x="1282928" y="5854259"/>
                  <a:pt x="1282928" y="5854259"/>
                  <a:pt x="1282928" y="5854259"/>
                </a:cubicBezTo>
                <a:cubicBezTo>
                  <a:pt x="1135391" y="5853387"/>
                  <a:pt x="994602" y="5794821"/>
                  <a:pt x="889387" y="5689605"/>
                </a:cubicBezTo>
                <a:cubicBezTo>
                  <a:pt x="165062" y="4965281"/>
                  <a:pt x="165062" y="4965281"/>
                  <a:pt x="165062" y="4965281"/>
                </a:cubicBezTo>
                <a:cubicBezTo>
                  <a:pt x="60954" y="4861173"/>
                  <a:pt x="1280" y="4719276"/>
                  <a:pt x="408" y="4571739"/>
                </a:cubicBezTo>
                <a:lnTo>
                  <a:pt x="438" y="4437419"/>
                </a:lnTo>
                <a:lnTo>
                  <a:pt x="0" y="4437419"/>
                </a:lnTo>
                <a:lnTo>
                  <a:pt x="0" y="2151"/>
                </a:lnTo>
                <a:lnTo>
                  <a:pt x="2386827" y="2151"/>
                </a:lnTo>
                <a:lnTo>
                  <a:pt x="2386827" y="2154"/>
                </a:lnTo>
                <a:lnTo>
                  <a:pt x="3126241" y="2154"/>
                </a:lnTo>
                <a:lnTo>
                  <a:pt x="3126241" y="1330"/>
                </a:lnTo>
                <a:cubicBezTo>
                  <a:pt x="3126243" y="173"/>
                  <a:pt x="3126243" y="173"/>
                  <a:pt x="3126243" y="173"/>
                </a:cubicBezTo>
                <a:cubicBezTo>
                  <a:pt x="3822200" y="22"/>
                  <a:pt x="3909195" y="3"/>
                  <a:pt x="3920070" y="0"/>
                </a:cubicBezTo>
                <a:close/>
              </a:path>
            </a:pathLst>
          </a:custGeom>
          <a:solidFill>
            <a:srgbClr val="8E71F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A4508AA4-21A6-A763-C113-04D0F2C3DC28}"/>
              </a:ext>
            </a:extLst>
          </p:cNvPr>
          <p:cNvSpPr>
            <a:spLocks noGrp="1"/>
          </p:cNvSpPr>
          <p:nvPr>
            <p:ph type="title"/>
          </p:nvPr>
        </p:nvSpPr>
        <p:spPr>
          <a:xfrm>
            <a:off x="1446213" y="1486886"/>
            <a:ext cx="8940800" cy="2492830"/>
          </a:xfrm>
        </p:spPr>
        <p:txBody>
          <a:bodyPr anchor="ctr">
            <a:noAutofit/>
          </a:bodyPr>
          <a:lstStyle>
            <a:lvl1pPr>
              <a:lnSpc>
                <a:spcPct val="84000"/>
              </a:lnSpc>
              <a:defRPr sz="7200">
                <a:solidFill>
                  <a:schemeClr val="bg1"/>
                </a:solidFill>
              </a:defRPr>
            </a:lvl1pPr>
          </a:lstStyle>
          <a:p>
            <a:r>
              <a:rPr lang="en-US"/>
              <a:t>Click to edit Master title style</a:t>
            </a:r>
          </a:p>
        </p:txBody>
      </p:sp>
      <p:sp>
        <p:nvSpPr>
          <p:cNvPr id="4" name="Text Placeholder 25">
            <a:extLst>
              <a:ext uri="{FF2B5EF4-FFF2-40B4-BE49-F238E27FC236}">
                <a16:creationId xmlns:a16="http://schemas.microsoft.com/office/drawing/2014/main" id="{FF5B4CC8-BCAB-B098-1C87-6C66DABB26B3}"/>
              </a:ext>
            </a:extLst>
          </p:cNvPr>
          <p:cNvSpPr>
            <a:spLocks noGrp="1"/>
          </p:cNvSpPr>
          <p:nvPr>
            <p:ph type="body" sz="quarter" idx="15" hasCustomPrompt="1"/>
          </p:nvPr>
        </p:nvSpPr>
        <p:spPr>
          <a:xfrm>
            <a:off x="1446214" y="618372"/>
            <a:ext cx="2620962" cy="397328"/>
          </a:xfrm>
          <a:prstGeom prst="rect">
            <a:avLst/>
          </a:prstGeom>
        </p:spPr>
        <p:txBody>
          <a:bodyPr/>
          <a:lstStyle>
            <a:lvl1pPr marL="0" indent="0">
              <a:buNone/>
              <a:defRPr sz="2100">
                <a:solidFill>
                  <a:schemeClr val="bg1"/>
                </a:solidFill>
                <a:latin typeface="+mj-lt"/>
              </a:defRPr>
            </a:lvl1pPr>
          </a:lstStyle>
          <a:p>
            <a:pPr lvl="0"/>
            <a:r>
              <a:rPr lang="en-US"/>
              <a:t>Section 00</a:t>
            </a:r>
          </a:p>
        </p:txBody>
      </p:sp>
      <p:sp>
        <p:nvSpPr>
          <p:cNvPr id="6" name="Subtitle 2">
            <a:extLst>
              <a:ext uri="{FF2B5EF4-FFF2-40B4-BE49-F238E27FC236}">
                <a16:creationId xmlns:a16="http://schemas.microsoft.com/office/drawing/2014/main" id="{1F68F2A6-6656-0CB8-C928-65BEF054BA97}"/>
              </a:ext>
            </a:extLst>
          </p:cNvPr>
          <p:cNvSpPr>
            <a:spLocks noGrp="1"/>
          </p:cNvSpPr>
          <p:nvPr>
            <p:ph type="subTitle" idx="1"/>
          </p:nvPr>
        </p:nvSpPr>
        <p:spPr>
          <a:xfrm>
            <a:off x="1446213" y="4176319"/>
            <a:ext cx="8940800" cy="941596"/>
          </a:xfrm>
        </p:spPr>
        <p:txBody>
          <a:bodyPr/>
          <a:lstStyle>
            <a:lvl1pPr marL="0" indent="0" algn="l">
              <a:buNone/>
              <a:defRPr sz="2400">
                <a:solidFill>
                  <a:schemeClr val="bg1"/>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32544389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Long Segue Electric Azure">
    <p:spTree>
      <p:nvGrpSpPr>
        <p:cNvPr id="1" name=""/>
        <p:cNvGrpSpPr/>
        <p:nvPr/>
      </p:nvGrpSpPr>
      <p:grpSpPr>
        <a:xfrm>
          <a:off x="0" y="0"/>
          <a:ext cx="0" cy="0"/>
          <a:chOff x="0" y="0"/>
          <a:chExt cx="0" cy="0"/>
        </a:xfrm>
      </p:grpSpPr>
      <p:sp>
        <p:nvSpPr>
          <p:cNvPr id="34" name="Freeform: Shape 33">
            <a:extLst>
              <a:ext uri="{FF2B5EF4-FFF2-40B4-BE49-F238E27FC236}">
                <a16:creationId xmlns:a16="http://schemas.microsoft.com/office/drawing/2014/main" id="{69F11427-BF8E-9C4B-8FF2-DBE37EBA0B06}"/>
              </a:ext>
            </a:extLst>
          </p:cNvPr>
          <p:cNvSpPr/>
          <p:nvPr/>
        </p:nvSpPr>
        <p:spPr>
          <a:xfrm>
            <a:off x="0" y="0"/>
            <a:ext cx="11688451" cy="5854259"/>
          </a:xfrm>
          <a:custGeom>
            <a:avLst/>
            <a:gdLst>
              <a:gd name="connsiteX0" fmla="*/ 3920070 w 11688451"/>
              <a:gd name="connsiteY0" fmla="*/ 0 h 5854259"/>
              <a:gd name="connsiteX1" fmla="*/ 3921623 w 11688451"/>
              <a:gd name="connsiteY1" fmla="*/ 0 h 5854259"/>
              <a:gd name="connsiteX2" fmla="*/ 3942361 w 11688451"/>
              <a:gd name="connsiteY2" fmla="*/ 2150 h 5854259"/>
              <a:gd name="connsiteX3" fmla="*/ 5611946 w 11688451"/>
              <a:gd name="connsiteY3" fmla="*/ 2151 h 5854259"/>
              <a:gd name="connsiteX4" fmla="*/ 5641656 w 11688451"/>
              <a:gd name="connsiteY4" fmla="*/ 2151 h 5854259"/>
              <a:gd name="connsiteX5" fmla="*/ 5641656 w 11688451"/>
              <a:gd name="connsiteY5" fmla="*/ 2154 h 5854259"/>
              <a:gd name="connsiteX6" fmla="*/ 6351359 w 11688451"/>
              <a:gd name="connsiteY6" fmla="*/ 2154 h 5854259"/>
              <a:gd name="connsiteX7" fmla="*/ 6351360 w 11688451"/>
              <a:gd name="connsiteY7" fmla="*/ 1330 h 5854259"/>
              <a:gd name="connsiteX8" fmla="*/ 6351361 w 11688451"/>
              <a:gd name="connsiteY8" fmla="*/ 173 h 5854259"/>
              <a:gd name="connsiteX9" fmla="*/ 7146741 w 11688451"/>
              <a:gd name="connsiteY9" fmla="*/ 0 h 5854259"/>
              <a:gd name="connsiteX10" fmla="*/ 7146804 w 11688451"/>
              <a:gd name="connsiteY10" fmla="*/ 7 h 5854259"/>
              <a:gd name="connsiteX11" fmla="*/ 7166212 w 11688451"/>
              <a:gd name="connsiteY11" fmla="*/ 2 h 5854259"/>
              <a:gd name="connsiteX12" fmla="*/ 7174899 w 11688451"/>
              <a:gd name="connsiteY12" fmla="*/ 0 h 5854259"/>
              <a:gd name="connsiteX13" fmla="*/ 7176452 w 11688451"/>
              <a:gd name="connsiteY13" fmla="*/ 0 h 5854259"/>
              <a:gd name="connsiteX14" fmla="*/ 7197190 w 11688451"/>
              <a:gd name="connsiteY14" fmla="*/ 2150 h 5854259"/>
              <a:gd name="connsiteX15" fmla="*/ 8866775 w 11688451"/>
              <a:gd name="connsiteY15" fmla="*/ 2151 h 5854259"/>
              <a:gd name="connsiteX16" fmla="*/ 8866775 w 11688451"/>
              <a:gd name="connsiteY16" fmla="*/ 2154 h 5854259"/>
              <a:gd name="connsiteX17" fmla="*/ 9606188 w 11688451"/>
              <a:gd name="connsiteY17" fmla="*/ 2154 h 5854259"/>
              <a:gd name="connsiteX18" fmla="*/ 9606189 w 11688451"/>
              <a:gd name="connsiteY18" fmla="*/ 1330 h 5854259"/>
              <a:gd name="connsiteX19" fmla="*/ 9606190 w 11688451"/>
              <a:gd name="connsiteY19" fmla="*/ 173 h 5854259"/>
              <a:gd name="connsiteX20" fmla="*/ 10401570 w 11688451"/>
              <a:gd name="connsiteY20" fmla="*/ 0 h 5854259"/>
              <a:gd name="connsiteX21" fmla="*/ 10422338 w 11688451"/>
              <a:gd name="connsiteY21" fmla="*/ 2154 h 5854259"/>
              <a:gd name="connsiteX22" fmla="*/ 10452711 w 11688451"/>
              <a:gd name="connsiteY22" fmla="*/ 2154 h 5854259"/>
              <a:gd name="connsiteX23" fmla="*/ 10452710 w 11688451"/>
              <a:gd name="connsiteY23" fmla="*/ 5304 h 5854259"/>
              <a:gd name="connsiteX24" fmla="*/ 10510507 w 11688451"/>
              <a:gd name="connsiteY24" fmla="*/ 11299 h 5854259"/>
              <a:gd name="connsiteX25" fmla="*/ 10795112 w 11688451"/>
              <a:gd name="connsiteY25" fmla="*/ 164653 h 5854259"/>
              <a:gd name="connsiteX26" fmla="*/ 11519436 w 11688451"/>
              <a:gd name="connsiteY26" fmla="*/ 888978 h 5854259"/>
              <a:gd name="connsiteX27" fmla="*/ 11684089 w 11688451"/>
              <a:gd name="connsiteY27" fmla="*/ 1282519 h 5854259"/>
              <a:gd name="connsiteX28" fmla="*/ 11684061 w 11688451"/>
              <a:gd name="connsiteY28" fmla="*/ 1416839 h 5854259"/>
              <a:gd name="connsiteX29" fmla="*/ 11688451 w 11688451"/>
              <a:gd name="connsiteY29" fmla="*/ 1416840 h 5854259"/>
              <a:gd name="connsiteX30" fmla="*/ 11688451 w 11688451"/>
              <a:gd name="connsiteY30" fmla="*/ 5852108 h 5854259"/>
              <a:gd name="connsiteX31" fmla="*/ 10452711 w 11688451"/>
              <a:gd name="connsiteY31" fmla="*/ 5852108 h 5854259"/>
              <a:gd name="connsiteX32" fmla="*/ 10452710 w 11688451"/>
              <a:gd name="connsiteY32" fmla="*/ 5852111 h 5854259"/>
              <a:gd name="connsiteX33" fmla="*/ 8558258 w 11688451"/>
              <a:gd name="connsiteY33" fmla="*/ 5852110 h 5854259"/>
              <a:gd name="connsiteX34" fmla="*/ 8558257 w 11688451"/>
              <a:gd name="connsiteY34" fmla="*/ 5852929 h 5854259"/>
              <a:gd name="connsiteX35" fmla="*/ 8558256 w 11688451"/>
              <a:gd name="connsiteY35" fmla="*/ 5854086 h 5854259"/>
              <a:gd name="connsiteX36" fmla="*/ 7762876 w 11688451"/>
              <a:gd name="connsiteY36" fmla="*/ 5854259 h 5854259"/>
              <a:gd name="connsiteX37" fmla="*/ 7742135 w 11688451"/>
              <a:gd name="connsiteY37" fmla="*/ 5852108 h 5854259"/>
              <a:gd name="connsiteX38" fmla="*/ 7227592 w 11688451"/>
              <a:gd name="connsiteY38" fmla="*/ 5852108 h 5854259"/>
              <a:gd name="connsiteX39" fmla="*/ 7227592 w 11688451"/>
              <a:gd name="connsiteY39" fmla="*/ 5852110 h 5854259"/>
              <a:gd name="connsiteX40" fmla="*/ 7197882 w 11688451"/>
              <a:gd name="connsiteY40" fmla="*/ 5852110 h 5854259"/>
              <a:gd name="connsiteX41" fmla="*/ 7197881 w 11688451"/>
              <a:gd name="connsiteY41" fmla="*/ 5852111 h 5854259"/>
              <a:gd name="connsiteX42" fmla="*/ 6265511 w 11688451"/>
              <a:gd name="connsiteY42" fmla="*/ 5852111 h 5854259"/>
              <a:gd name="connsiteX43" fmla="*/ 5333141 w 11688451"/>
              <a:gd name="connsiteY43" fmla="*/ 5852111 h 5854259"/>
              <a:gd name="connsiteX44" fmla="*/ 5333139 w 11688451"/>
              <a:gd name="connsiteY44" fmla="*/ 5852929 h 5854259"/>
              <a:gd name="connsiteX45" fmla="*/ 5333137 w 11688451"/>
              <a:gd name="connsiteY45" fmla="*/ 5854086 h 5854259"/>
              <a:gd name="connsiteX46" fmla="*/ 4537757 w 11688451"/>
              <a:gd name="connsiteY46" fmla="*/ 5854259 h 5854259"/>
              <a:gd name="connsiteX47" fmla="*/ 4537695 w 11688451"/>
              <a:gd name="connsiteY47" fmla="*/ 5854253 h 5854259"/>
              <a:gd name="connsiteX48" fmla="*/ 4520475 w 11688451"/>
              <a:gd name="connsiteY48" fmla="*/ 5854257 h 5854259"/>
              <a:gd name="connsiteX49" fmla="*/ 4508047 w 11688451"/>
              <a:gd name="connsiteY49" fmla="*/ 5854259 h 5854259"/>
              <a:gd name="connsiteX50" fmla="*/ 4487307 w 11688451"/>
              <a:gd name="connsiteY50" fmla="*/ 5852108 h 5854259"/>
              <a:gd name="connsiteX51" fmla="*/ 3972763 w 11688451"/>
              <a:gd name="connsiteY51" fmla="*/ 5852108 h 5854259"/>
              <a:gd name="connsiteX52" fmla="*/ 3972763 w 11688451"/>
              <a:gd name="connsiteY52" fmla="*/ 5852110 h 5854259"/>
              <a:gd name="connsiteX53" fmla="*/ 2078312 w 11688451"/>
              <a:gd name="connsiteY53" fmla="*/ 5852111 h 5854259"/>
              <a:gd name="connsiteX54" fmla="*/ 2078310 w 11688451"/>
              <a:gd name="connsiteY54" fmla="*/ 5852929 h 5854259"/>
              <a:gd name="connsiteX55" fmla="*/ 2078308 w 11688451"/>
              <a:gd name="connsiteY55" fmla="*/ 5854086 h 5854259"/>
              <a:gd name="connsiteX56" fmla="*/ 1282928 w 11688451"/>
              <a:gd name="connsiteY56" fmla="*/ 5854259 h 5854259"/>
              <a:gd name="connsiteX57" fmla="*/ 889387 w 11688451"/>
              <a:gd name="connsiteY57" fmla="*/ 5689605 h 5854259"/>
              <a:gd name="connsiteX58" fmla="*/ 165062 w 11688451"/>
              <a:gd name="connsiteY58" fmla="*/ 4965281 h 5854259"/>
              <a:gd name="connsiteX59" fmla="*/ 408 w 11688451"/>
              <a:gd name="connsiteY59" fmla="*/ 4571739 h 5854259"/>
              <a:gd name="connsiteX60" fmla="*/ 438 w 11688451"/>
              <a:gd name="connsiteY60" fmla="*/ 4437419 h 5854259"/>
              <a:gd name="connsiteX61" fmla="*/ 0 w 11688451"/>
              <a:gd name="connsiteY61" fmla="*/ 4437419 h 5854259"/>
              <a:gd name="connsiteX62" fmla="*/ 0 w 11688451"/>
              <a:gd name="connsiteY62" fmla="*/ 2151 h 5854259"/>
              <a:gd name="connsiteX63" fmla="*/ 2386827 w 11688451"/>
              <a:gd name="connsiteY63" fmla="*/ 2151 h 5854259"/>
              <a:gd name="connsiteX64" fmla="*/ 2386827 w 11688451"/>
              <a:gd name="connsiteY64" fmla="*/ 2154 h 5854259"/>
              <a:gd name="connsiteX65" fmla="*/ 3126241 w 11688451"/>
              <a:gd name="connsiteY65" fmla="*/ 2154 h 5854259"/>
              <a:gd name="connsiteX66" fmla="*/ 3126241 w 11688451"/>
              <a:gd name="connsiteY66" fmla="*/ 1330 h 5854259"/>
              <a:gd name="connsiteX67" fmla="*/ 3126243 w 11688451"/>
              <a:gd name="connsiteY67" fmla="*/ 173 h 5854259"/>
              <a:gd name="connsiteX68" fmla="*/ 3920070 w 11688451"/>
              <a:gd name="connsiteY68" fmla="*/ 0 h 585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1688451" h="5854259">
                <a:moveTo>
                  <a:pt x="3920070" y="0"/>
                </a:moveTo>
                <a:cubicBezTo>
                  <a:pt x="3921623" y="0"/>
                  <a:pt x="3921623" y="0"/>
                  <a:pt x="3921623" y="0"/>
                </a:cubicBezTo>
                <a:lnTo>
                  <a:pt x="3942361" y="2150"/>
                </a:lnTo>
                <a:lnTo>
                  <a:pt x="5611946" y="2151"/>
                </a:lnTo>
                <a:lnTo>
                  <a:pt x="5641656" y="2151"/>
                </a:lnTo>
                <a:lnTo>
                  <a:pt x="5641656" y="2154"/>
                </a:lnTo>
                <a:lnTo>
                  <a:pt x="6351359" y="2154"/>
                </a:lnTo>
                <a:lnTo>
                  <a:pt x="6351360" y="1330"/>
                </a:lnTo>
                <a:cubicBezTo>
                  <a:pt x="6351361" y="173"/>
                  <a:pt x="6351361" y="173"/>
                  <a:pt x="6351361" y="173"/>
                </a:cubicBezTo>
                <a:cubicBezTo>
                  <a:pt x="7146741" y="0"/>
                  <a:pt x="7146741" y="0"/>
                  <a:pt x="7146741" y="0"/>
                </a:cubicBezTo>
                <a:lnTo>
                  <a:pt x="7146804" y="7"/>
                </a:lnTo>
                <a:lnTo>
                  <a:pt x="7166212" y="2"/>
                </a:lnTo>
                <a:cubicBezTo>
                  <a:pt x="7170991" y="1"/>
                  <a:pt x="7173540" y="0"/>
                  <a:pt x="7174899" y="0"/>
                </a:cubicBezTo>
                <a:cubicBezTo>
                  <a:pt x="7176452" y="0"/>
                  <a:pt x="7176452" y="0"/>
                  <a:pt x="7176452" y="0"/>
                </a:cubicBezTo>
                <a:lnTo>
                  <a:pt x="7197190" y="2150"/>
                </a:lnTo>
                <a:lnTo>
                  <a:pt x="8866775" y="2151"/>
                </a:lnTo>
                <a:lnTo>
                  <a:pt x="8866775" y="2154"/>
                </a:lnTo>
                <a:lnTo>
                  <a:pt x="9606188" y="2154"/>
                </a:lnTo>
                <a:lnTo>
                  <a:pt x="9606189" y="1330"/>
                </a:lnTo>
                <a:cubicBezTo>
                  <a:pt x="9606190" y="173"/>
                  <a:pt x="9606190" y="173"/>
                  <a:pt x="9606190" y="173"/>
                </a:cubicBezTo>
                <a:cubicBezTo>
                  <a:pt x="10401570" y="0"/>
                  <a:pt x="10401570" y="0"/>
                  <a:pt x="10401570" y="0"/>
                </a:cubicBezTo>
                <a:lnTo>
                  <a:pt x="10422338" y="2154"/>
                </a:lnTo>
                <a:lnTo>
                  <a:pt x="10452711" y="2154"/>
                </a:lnTo>
                <a:lnTo>
                  <a:pt x="10452710" y="5304"/>
                </a:lnTo>
                <a:lnTo>
                  <a:pt x="10510507" y="11299"/>
                </a:lnTo>
                <a:cubicBezTo>
                  <a:pt x="10617278" y="33070"/>
                  <a:pt x="10716200" y="85742"/>
                  <a:pt x="10795112" y="164653"/>
                </a:cubicBezTo>
                <a:cubicBezTo>
                  <a:pt x="11519436" y="888978"/>
                  <a:pt x="11519436" y="888978"/>
                  <a:pt x="11519436" y="888978"/>
                </a:cubicBezTo>
                <a:cubicBezTo>
                  <a:pt x="11623544" y="993086"/>
                  <a:pt x="11683218" y="1134982"/>
                  <a:pt x="11684089" y="1282519"/>
                </a:cubicBezTo>
                <a:lnTo>
                  <a:pt x="11684061" y="1416839"/>
                </a:lnTo>
                <a:lnTo>
                  <a:pt x="11688451" y="1416840"/>
                </a:lnTo>
                <a:lnTo>
                  <a:pt x="11688451" y="5852108"/>
                </a:lnTo>
                <a:lnTo>
                  <a:pt x="10452711" y="5852108"/>
                </a:lnTo>
                <a:lnTo>
                  <a:pt x="10452710" y="5852111"/>
                </a:lnTo>
                <a:lnTo>
                  <a:pt x="8558258" y="5852110"/>
                </a:lnTo>
                <a:lnTo>
                  <a:pt x="8558257" y="5852929"/>
                </a:lnTo>
                <a:cubicBezTo>
                  <a:pt x="8558256" y="5854086"/>
                  <a:pt x="8558256" y="5854086"/>
                  <a:pt x="8558256" y="5854086"/>
                </a:cubicBezTo>
                <a:cubicBezTo>
                  <a:pt x="7762876" y="5854259"/>
                  <a:pt x="7762876" y="5854259"/>
                  <a:pt x="7762876" y="5854259"/>
                </a:cubicBezTo>
                <a:lnTo>
                  <a:pt x="7742135" y="5852108"/>
                </a:lnTo>
                <a:lnTo>
                  <a:pt x="7227592" y="5852108"/>
                </a:lnTo>
                <a:lnTo>
                  <a:pt x="7227592" y="5852110"/>
                </a:lnTo>
                <a:lnTo>
                  <a:pt x="7197882" y="5852110"/>
                </a:lnTo>
                <a:lnTo>
                  <a:pt x="7197881" y="5852111"/>
                </a:lnTo>
                <a:lnTo>
                  <a:pt x="6265511" y="5852111"/>
                </a:lnTo>
                <a:lnTo>
                  <a:pt x="5333141" y="5852111"/>
                </a:lnTo>
                <a:lnTo>
                  <a:pt x="5333139" y="5852929"/>
                </a:lnTo>
                <a:cubicBezTo>
                  <a:pt x="5333137" y="5854086"/>
                  <a:pt x="5333137" y="5854086"/>
                  <a:pt x="5333137" y="5854086"/>
                </a:cubicBezTo>
                <a:cubicBezTo>
                  <a:pt x="4537757" y="5854259"/>
                  <a:pt x="4537757" y="5854259"/>
                  <a:pt x="4537757" y="5854259"/>
                </a:cubicBezTo>
                <a:lnTo>
                  <a:pt x="4537695" y="5854253"/>
                </a:lnTo>
                <a:lnTo>
                  <a:pt x="4520475" y="5854257"/>
                </a:lnTo>
                <a:cubicBezTo>
                  <a:pt x="4508047" y="5854259"/>
                  <a:pt x="4508047" y="5854259"/>
                  <a:pt x="4508047" y="5854259"/>
                </a:cubicBezTo>
                <a:lnTo>
                  <a:pt x="4487307" y="5852108"/>
                </a:lnTo>
                <a:lnTo>
                  <a:pt x="3972763" y="5852108"/>
                </a:lnTo>
                <a:lnTo>
                  <a:pt x="3972763" y="5852110"/>
                </a:lnTo>
                <a:lnTo>
                  <a:pt x="2078312" y="5852111"/>
                </a:lnTo>
                <a:lnTo>
                  <a:pt x="2078310" y="5852929"/>
                </a:lnTo>
                <a:cubicBezTo>
                  <a:pt x="2078308" y="5854086"/>
                  <a:pt x="2078308" y="5854086"/>
                  <a:pt x="2078308" y="5854086"/>
                </a:cubicBezTo>
                <a:cubicBezTo>
                  <a:pt x="1282928" y="5854259"/>
                  <a:pt x="1282928" y="5854259"/>
                  <a:pt x="1282928" y="5854259"/>
                </a:cubicBezTo>
                <a:cubicBezTo>
                  <a:pt x="1135391" y="5853387"/>
                  <a:pt x="994602" y="5794821"/>
                  <a:pt x="889387" y="5689605"/>
                </a:cubicBezTo>
                <a:cubicBezTo>
                  <a:pt x="165062" y="4965281"/>
                  <a:pt x="165062" y="4965281"/>
                  <a:pt x="165062" y="4965281"/>
                </a:cubicBezTo>
                <a:cubicBezTo>
                  <a:pt x="60954" y="4861173"/>
                  <a:pt x="1280" y="4719276"/>
                  <a:pt x="408" y="4571739"/>
                </a:cubicBezTo>
                <a:lnTo>
                  <a:pt x="438" y="4437419"/>
                </a:lnTo>
                <a:lnTo>
                  <a:pt x="0" y="4437419"/>
                </a:lnTo>
                <a:lnTo>
                  <a:pt x="0" y="2151"/>
                </a:lnTo>
                <a:lnTo>
                  <a:pt x="2386827" y="2151"/>
                </a:lnTo>
                <a:lnTo>
                  <a:pt x="2386827" y="2154"/>
                </a:lnTo>
                <a:lnTo>
                  <a:pt x="3126241" y="2154"/>
                </a:lnTo>
                <a:lnTo>
                  <a:pt x="3126241" y="1330"/>
                </a:lnTo>
                <a:cubicBezTo>
                  <a:pt x="3126243" y="173"/>
                  <a:pt x="3126243" y="173"/>
                  <a:pt x="3126243" y="173"/>
                </a:cubicBezTo>
                <a:cubicBezTo>
                  <a:pt x="3822200" y="22"/>
                  <a:pt x="3909195" y="3"/>
                  <a:pt x="3920070" y="0"/>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Title 1">
            <a:extLst>
              <a:ext uri="{FF2B5EF4-FFF2-40B4-BE49-F238E27FC236}">
                <a16:creationId xmlns:a16="http://schemas.microsoft.com/office/drawing/2014/main" id="{E74613F8-95E1-898F-E892-A10CE92D32B3}"/>
              </a:ext>
            </a:extLst>
          </p:cNvPr>
          <p:cNvSpPr>
            <a:spLocks noGrp="1"/>
          </p:cNvSpPr>
          <p:nvPr>
            <p:ph type="title"/>
          </p:nvPr>
        </p:nvSpPr>
        <p:spPr>
          <a:xfrm>
            <a:off x="1446213" y="1486886"/>
            <a:ext cx="8940800" cy="2492830"/>
          </a:xfrm>
        </p:spPr>
        <p:txBody>
          <a:bodyPr anchor="ctr">
            <a:noAutofit/>
          </a:bodyPr>
          <a:lstStyle>
            <a:lvl1pPr>
              <a:lnSpc>
                <a:spcPct val="84000"/>
              </a:lnSpc>
              <a:defRPr sz="7200">
                <a:solidFill>
                  <a:schemeClr val="bg1"/>
                </a:solidFill>
              </a:defRPr>
            </a:lvl1pPr>
          </a:lstStyle>
          <a:p>
            <a:r>
              <a:rPr lang="en-US"/>
              <a:t>Click to edit Master title style</a:t>
            </a:r>
          </a:p>
        </p:txBody>
      </p:sp>
      <p:sp>
        <p:nvSpPr>
          <p:cNvPr id="5" name="Text Placeholder 25">
            <a:extLst>
              <a:ext uri="{FF2B5EF4-FFF2-40B4-BE49-F238E27FC236}">
                <a16:creationId xmlns:a16="http://schemas.microsoft.com/office/drawing/2014/main" id="{2BE5304D-327B-37D1-0009-A5564B1A88B3}"/>
              </a:ext>
            </a:extLst>
          </p:cNvPr>
          <p:cNvSpPr>
            <a:spLocks noGrp="1"/>
          </p:cNvSpPr>
          <p:nvPr>
            <p:ph type="body" sz="quarter" idx="15" hasCustomPrompt="1"/>
          </p:nvPr>
        </p:nvSpPr>
        <p:spPr>
          <a:xfrm>
            <a:off x="1446214" y="618372"/>
            <a:ext cx="2620962" cy="397328"/>
          </a:xfrm>
          <a:prstGeom prst="rect">
            <a:avLst/>
          </a:prstGeom>
        </p:spPr>
        <p:txBody>
          <a:bodyPr/>
          <a:lstStyle>
            <a:lvl1pPr marL="0" indent="0">
              <a:buNone/>
              <a:defRPr sz="2100">
                <a:solidFill>
                  <a:schemeClr val="bg1"/>
                </a:solidFill>
                <a:latin typeface="+mj-lt"/>
              </a:defRPr>
            </a:lvl1pPr>
          </a:lstStyle>
          <a:p>
            <a:pPr lvl="0"/>
            <a:r>
              <a:rPr lang="en-US"/>
              <a:t>Section 00</a:t>
            </a:r>
          </a:p>
        </p:txBody>
      </p:sp>
      <p:sp>
        <p:nvSpPr>
          <p:cNvPr id="6" name="Subtitle 2">
            <a:extLst>
              <a:ext uri="{FF2B5EF4-FFF2-40B4-BE49-F238E27FC236}">
                <a16:creationId xmlns:a16="http://schemas.microsoft.com/office/drawing/2014/main" id="{2E66B613-EC13-792C-8933-FE53D0C39A38}"/>
              </a:ext>
            </a:extLst>
          </p:cNvPr>
          <p:cNvSpPr>
            <a:spLocks noGrp="1"/>
          </p:cNvSpPr>
          <p:nvPr>
            <p:ph type="subTitle" idx="1"/>
          </p:nvPr>
        </p:nvSpPr>
        <p:spPr>
          <a:xfrm>
            <a:off x="1446213" y="4176319"/>
            <a:ext cx="8940800" cy="941596"/>
          </a:xfrm>
        </p:spPr>
        <p:txBody>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97514019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Long Segue Suma">
    <p:spTree>
      <p:nvGrpSpPr>
        <p:cNvPr id="1" name=""/>
        <p:cNvGrpSpPr/>
        <p:nvPr/>
      </p:nvGrpSpPr>
      <p:grpSpPr>
        <a:xfrm>
          <a:off x="0" y="0"/>
          <a:ext cx="0" cy="0"/>
          <a:chOff x="0" y="0"/>
          <a:chExt cx="0" cy="0"/>
        </a:xfrm>
      </p:grpSpPr>
      <p:sp>
        <p:nvSpPr>
          <p:cNvPr id="34" name="Freeform: Shape 33">
            <a:extLst>
              <a:ext uri="{FF2B5EF4-FFF2-40B4-BE49-F238E27FC236}">
                <a16:creationId xmlns:a16="http://schemas.microsoft.com/office/drawing/2014/main" id="{69F11427-BF8E-9C4B-8FF2-DBE37EBA0B06}"/>
              </a:ext>
            </a:extLst>
          </p:cNvPr>
          <p:cNvSpPr/>
          <p:nvPr/>
        </p:nvSpPr>
        <p:spPr>
          <a:xfrm>
            <a:off x="0" y="0"/>
            <a:ext cx="11688451" cy="5854259"/>
          </a:xfrm>
          <a:custGeom>
            <a:avLst/>
            <a:gdLst>
              <a:gd name="connsiteX0" fmla="*/ 3920070 w 11688451"/>
              <a:gd name="connsiteY0" fmla="*/ 0 h 5854259"/>
              <a:gd name="connsiteX1" fmla="*/ 3921623 w 11688451"/>
              <a:gd name="connsiteY1" fmla="*/ 0 h 5854259"/>
              <a:gd name="connsiteX2" fmla="*/ 3942361 w 11688451"/>
              <a:gd name="connsiteY2" fmla="*/ 2150 h 5854259"/>
              <a:gd name="connsiteX3" fmla="*/ 5611946 w 11688451"/>
              <a:gd name="connsiteY3" fmla="*/ 2151 h 5854259"/>
              <a:gd name="connsiteX4" fmla="*/ 5641656 w 11688451"/>
              <a:gd name="connsiteY4" fmla="*/ 2151 h 5854259"/>
              <a:gd name="connsiteX5" fmla="*/ 5641656 w 11688451"/>
              <a:gd name="connsiteY5" fmla="*/ 2154 h 5854259"/>
              <a:gd name="connsiteX6" fmla="*/ 6351359 w 11688451"/>
              <a:gd name="connsiteY6" fmla="*/ 2154 h 5854259"/>
              <a:gd name="connsiteX7" fmla="*/ 6351360 w 11688451"/>
              <a:gd name="connsiteY7" fmla="*/ 1330 h 5854259"/>
              <a:gd name="connsiteX8" fmla="*/ 6351361 w 11688451"/>
              <a:gd name="connsiteY8" fmla="*/ 173 h 5854259"/>
              <a:gd name="connsiteX9" fmla="*/ 7146741 w 11688451"/>
              <a:gd name="connsiteY9" fmla="*/ 0 h 5854259"/>
              <a:gd name="connsiteX10" fmla="*/ 7146804 w 11688451"/>
              <a:gd name="connsiteY10" fmla="*/ 7 h 5854259"/>
              <a:gd name="connsiteX11" fmla="*/ 7166212 w 11688451"/>
              <a:gd name="connsiteY11" fmla="*/ 2 h 5854259"/>
              <a:gd name="connsiteX12" fmla="*/ 7174899 w 11688451"/>
              <a:gd name="connsiteY12" fmla="*/ 0 h 5854259"/>
              <a:gd name="connsiteX13" fmla="*/ 7176452 w 11688451"/>
              <a:gd name="connsiteY13" fmla="*/ 0 h 5854259"/>
              <a:gd name="connsiteX14" fmla="*/ 7197190 w 11688451"/>
              <a:gd name="connsiteY14" fmla="*/ 2150 h 5854259"/>
              <a:gd name="connsiteX15" fmla="*/ 8866775 w 11688451"/>
              <a:gd name="connsiteY15" fmla="*/ 2151 h 5854259"/>
              <a:gd name="connsiteX16" fmla="*/ 8866775 w 11688451"/>
              <a:gd name="connsiteY16" fmla="*/ 2154 h 5854259"/>
              <a:gd name="connsiteX17" fmla="*/ 9606188 w 11688451"/>
              <a:gd name="connsiteY17" fmla="*/ 2154 h 5854259"/>
              <a:gd name="connsiteX18" fmla="*/ 9606189 w 11688451"/>
              <a:gd name="connsiteY18" fmla="*/ 1330 h 5854259"/>
              <a:gd name="connsiteX19" fmla="*/ 9606190 w 11688451"/>
              <a:gd name="connsiteY19" fmla="*/ 173 h 5854259"/>
              <a:gd name="connsiteX20" fmla="*/ 10401570 w 11688451"/>
              <a:gd name="connsiteY20" fmla="*/ 0 h 5854259"/>
              <a:gd name="connsiteX21" fmla="*/ 10422338 w 11688451"/>
              <a:gd name="connsiteY21" fmla="*/ 2154 h 5854259"/>
              <a:gd name="connsiteX22" fmla="*/ 10452711 w 11688451"/>
              <a:gd name="connsiteY22" fmla="*/ 2154 h 5854259"/>
              <a:gd name="connsiteX23" fmla="*/ 10452710 w 11688451"/>
              <a:gd name="connsiteY23" fmla="*/ 5304 h 5854259"/>
              <a:gd name="connsiteX24" fmla="*/ 10510507 w 11688451"/>
              <a:gd name="connsiteY24" fmla="*/ 11299 h 5854259"/>
              <a:gd name="connsiteX25" fmla="*/ 10795112 w 11688451"/>
              <a:gd name="connsiteY25" fmla="*/ 164653 h 5854259"/>
              <a:gd name="connsiteX26" fmla="*/ 11519436 w 11688451"/>
              <a:gd name="connsiteY26" fmla="*/ 888978 h 5854259"/>
              <a:gd name="connsiteX27" fmla="*/ 11684089 w 11688451"/>
              <a:gd name="connsiteY27" fmla="*/ 1282519 h 5854259"/>
              <a:gd name="connsiteX28" fmla="*/ 11684061 w 11688451"/>
              <a:gd name="connsiteY28" fmla="*/ 1416839 h 5854259"/>
              <a:gd name="connsiteX29" fmla="*/ 11688451 w 11688451"/>
              <a:gd name="connsiteY29" fmla="*/ 1416840 h 5854259"/>
              <a:gd name="connsiteX30" fmla="*/ 11688451 w 11688451"/>
              <a:gd name="connsiteY30" fmla="*/ 5852108 h 5854259"/>
              <a:gd name="connsiteX31" fmla="*/ 10452711 w 11688451"/>
              <a:gd name="connsiteY31" fmla="*/ 5852108 h 5854259"/>
              <a:gd name="connsiteX32" fmla="*/ 10452710 w 11688451"/>
              <a:gd name="connsiteY32" fmla="*/ 5852111 h 5854259"/>
              <a:gd name="connsiteX33" fmla="*/ 8558258 w 11688451"/>
              <a:gd name="connsiteY33" fmla="*/ 5852110 h 5854259"/>
              <a:gd name="connsiteX34" fmla="*/ 8558257 w 11688451"/>
              <a:gd name="connsiteY34" fmla="*/ 5852929 h 5854259"/>
              <a:gd name="connsiteX35" fmla="*/ 8558256 w 11688451"/>
              <a:gd name="connsiteY35" fmla="*/ 5854086 h 5854259"/>
              <a:gd name="connsiteX36" fmla="*/ 7762876 w 11688451"/>
              <a:gd name="connsiteY36" fmla="*/ 5854259 h 5854259"/>
              <a:gd name="connsiteX37" fmla="*/ 7742135 w 11688451"/>
              <a:gd name="connsiteY37" fmla="*/ 5852108 h 5854259"/>
              <a:gd name="connsiteX38" fmla="*/ 7227592 w 11688451"/>
              <a:gd name="connsiteY38" fmla="*/ 5852108 h 5854259"/>
              <a:gd name="connsiteX39" fmla="*/ 7227592 w 11688451"/>
              <a:gd name="connsiteY39" fmla="*/ 5852110 h 5854259"/>
              <a:gd name="connsiteX40" fmla="*/ 7197882 w 11688451"/>
              <a:gd name="connsiteY40" fmla="*/ 5852110 h 5854259"/>
              <a:gd name="connsiteX41" fmla="*/ 7197881 w 11688451"/>
              <a:gd name="connsiteY41" fmla="*/ 5852111 h 5854259"/>
              <a:gd name="connsiteX42" fmla="*/ 6265511 w 11688451"/>
              <a:gd name="connsiteY42" fmla="*/ 5852111 h 5854259"/>
              <a:gd name="connsiteX43" fmla="*/ 5333141 w 11688451"/>
              <a:gd name="connsiteY43" fmla="*/ 5852111 h 5854259"/>
              <a:gd name="connsiteX44" fmla="*/ 5333139 w 11688451"/>
              <a:gd name="connsiteY44" fmla="*/ 5852929 h 5854259"/>
              <a:gd name="connsiteX45" fmla="*/ 5333137 w 11688451"/>
              <a:gd name="connsiteY45" fmla="*/ 5854086 h 5854259"/>
              <a:gd name="connsiteX46" fmla="*/ 4537757 w 11688451"/>
              <a:gd name="connsiteY46" fmla="*/ 5854259 h 5854259"/>
              <a:gd name="connsiteX47" fmla="*/ 4537695 w 11688451"/>
              <a:gd name="connsiteY47" fmla="*/ 5854253 h 5854259"/>
              <a:gd name="connsiteX48" fmla="*/ 4520475 w 11688451"/>
              <a:gd name="connsiteY48" fmla="*/ 5854257 h 5854259"/>
              <a:gd name="connsiteX49" fmla="*/ 4508047 w 11688451"/>
              <a:gd name="connsiteY49" fmla="*/ 5854259 h 5854259"/>
              <a:gd name="connsiteX50" fmla="*/ 4487307 w 11688451"/>
              <a:gd name="connsiteY50" fmla="*/ 5852108 h 5854259"/>
              <a:gd name="connsiteX51" fmla="*/ 3972763 w 11688451"/>
              <a:gd name="connsiteY51" fmla="*/ 5852108 h 5854259"/>
              <a:gd name="connsiteX52" fmla="*/ 3972763 w 11688451"/>
              <a:gd name="connsiteY52" fmla="*/ 5852110 h 5854259"/>
              <a:gd name="connsiteX53" fmla="*/ 2078312 w 11688451"/>
              <a:gd name="connsiteY53" fmla="*/ 5852111 h 5854259"/>
              <a:gd name="connsiteX54" fmla="*/ 2078310 w 11688451"/>
              <a:gd name="connsiteY54" fmla="*/ 5852929 h 5854259"/>
              <a:gd name="connsiteX55" fmla="*/ 2078308 w 11688451"/>
              <a:gd name="connsiteY55" fmla="*/ 5854086 h 5854259"/>
              <a:gd name="connsiteX56" fmla="*/ 1282928 w 11688451"/>
              <a:gd name="connsiteY56" fmla="*/ 5854259 h 5854259"/>
              <a:gd name="connsiteX57" fmla="*/ 889387 w 11688451"/>
              <a:gd name="connsiteY57" fmla="*/ 5689605 h 5854259"/>
              <a:gd name="connsiteX58" fmla="*/ 165062 w 11688451"/>
              <a:gd name="connsiteY58" fmla="*/ 4965281 h 5854259"/>
              <a:gd name="connsiteX59" fmla="*/ 408 w 11688451"/>
              <a:gd name="connsiteY59" fmla="*/ 4571739 h 5854259"/>
              <a:gd name="connsiteX60" fmla="*/ 438 w 11688451"/>
              <a:gd name="connsiteY60" fmla="*/ 4437419 h 5854259"/>
              <a:gd name="connsiteX61" fmla="*/ 0 w 11688451"/>
              <a:gd name="connsiteY61" fmla="*/ 4437419 h 5854259"/>
              <a:gd name="connsiteX62" fmla="*/ 0 w 11688451"/>
              <a:gd name="connsiteY62" fmla="*/ 2151 h 5854259"/>
              <a:gd name="connsiteX63" fmla="*/ 2386827 w 11688451"/>
              <a:gd name="connsiteY63" fmla="*/ 2151 h 5854259"/>
              <a:gd name="connsiteX64" fmla="*/ 2386827 w 11688451"/>
              <a:gd name="connsiteY64" fmla="*/ 2154 h 5854259"/>
              <a:gd name="connsiteX65" fmla="*/ 3126241 w 11688451"/>
              <a:gd name="connsiteY65" fmla="*/ 2154 h 5854259"/>
              <a:gd name="connsiteX66" fmla="*/ 3126241 w 11688451"/>
              <a:gd name="connsiteY66" fmla="*/ 1330 h 5854259"/>
              <a:gd name="connsiteX67" fmla="*/ 3126243 w 11688451"/>
              <a:gd name="connsiteY67" fmla="*/ 173 h 5854259"/>
              <a:gd name="connsiteX68" fmla="*/ 3920070 w 11688451"/>
              <a:gd name="connsiteY68" fmla="*/ 0 h 585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1688451" h="5854259">
                <a:moveTo>
                  <a:pt x="3920070" y="0"/>
                </a:moveTo>
                <a:cubicBezTo>
                  <a:pt x="3921623" y="0"/>
                  <a:pt x="3921623" y="0"/>
                  <a:pt x="3921623" y="0"/>
                </a:cubicBezTo>
                <a:lnTo>
                  <a:pt x="3942361" y="2150"/>
                </a:lnTo>
                <a:lnTo>
                  <a:pt x="5611946" y="2151"/>
                </a:lnTo>
                <a:lnTo>
                  <a:pt x="5641656" y="2151"/>
                </a:lnTo>
                <a:lnTo>
                  <a:pt x="5641656" y="2154"/>
                </a:lnTo>
                <a:lnTo>
                  <a:pt x="6351359" y="2154"/>
                </a:lnTo>
                <a:lnTo>
                  <a:pt x="6351360" y="1330"/>
                </a:lnTo>
                <a:cubicBezTo>
                  <a:pt x="6351361" y="173"/>
                  <a:pt x="6351361" y="173"/>
                  <a:pt x="6351361" y="173"/>
                </a:cubicBezTo>
                <a:cubicBezTo>
                  <a:pt x="7146741" y="0"/>
                  <a:pt x="7146741" y="0"/>
                  <a:pt x="7146741" y="0"/>
                </a:cubicBezTo>
                <a:lnTo>
                  <a:pt x="7146804" y="7"/>
                </a:lnTo>
                <a:lnTo>
                  <a:pt x="7166212" y="2"/>
                </a:lnTo>
                <a:cubicBezTo>
                  <a:pt x="7170991" y="1"/>
                  <a:pt x="7173540" y="0"/>
                  <a:pt x="7174899" y="0"/>
                </a:cubicBezTo>
                <a:cubicBezTo>
                  <a:pt x="7176452" y="0"/>
                  <a:pt x="7176452" y="0"/>
                  <a:pt x="7176452" y="0"/>
                </a:cubicBezTo>
                <a:lnTo>
                  <a:pt x="7197190" y="2150"/>
                </a:lnTo>
                <a:lnTo>
                  <a:pt x="8866775" y="2151"/>
                </a:lnTo>
                <a:lnTo>
                  <a:pt x="8866775" y="2154"/>
                </a:lnTo>
                <a:lnTo>
                  <a:pt x="9606188" y="2154"/>
                </a:lnTo>
                <a:lnTo>
                  <a:pt x="9606189" y="1330"/>
                </a:lnTo>
                <a:cubicBezTo>
                  <a:pt x="9606190" y="173"/>
                  <a:pt x="9606190" y="173"/>
                  <a:pt x="9606190" y="173"/>
                </a:cubicBezTo>
                <a:cubicBezTo>
                  <a:pt x="10401570" y="0"/>
                  <a:pt x="10401570" y="0"/>
                  <a:pt x="10401570" y="0"/>
                </a:cubicBezTo>
                <a:lnTo>
                  <a:pt x="10422338" y="2154"/>
                </a:lnTo>
                <a:lnTo>
                  <a:pt x="10452711" y="2154"/>
                </a:lnTo>
                <a:lnTo>
                  <a:pt x="10452710" y="5304"/>
                </a:lnTo>
                <a:lnTo>
                  <a:pt x="10510507" y="11299"/>
                </a:lnTo>
                <a:cubicBezTo>
                  <a:pt x="10617278" y="33070"/>
                  <a:pt x="10716200" y="85742"/>
                  <a:pt x="10795112" y="164653"/>
                </a:cubicBezTo>
                <a:cubicBezTo>
                  <a:pt x="11519436" y="888978"/>
                  <a:pt x="11519436" y="888978"/>
                  <a:pt x="11519436" y="888978"/>
                </a:cubicBezTo>
                <a:cubicBezTo>
                  <a:pt x="11623544" y="993086"/>
                  <a:pt x="11683218" y="1134982"/>
                  <a:pt x="11684089" y="1282519"/>
                </a:cubicBezTo>
                <a:lnTo>
                  <a:pt x="11684061" y="1416839"/>
                </a:lnTo>
                <a:lnTo>
                  <a:pt x="11688451" y="1416840"/>
                </a:lnTo>
                <a:lnTo>
                  <a:pt x="11688451" y="5852108"/>
                </a:lnTo>
                <a:lnTo>
                  <a:pt x="10452711" y="5852108"/>
                </a:lnTo>
                <a:lnTo>
                  <a:pt x="10452710" y="5852111"/>
                </a:lnTo>
                <a:lnTo>
                  <a:pt x="8558258" y="5852110"/>
                </a:lnTo>
                <a:lnTo>
                  <a:pt x="8558257" y="5852929"/>
                </a:lnTo>
                <a:cubicBezTo>
                  <a:pt x="8558256" y="5854086"/>
                  <a:pt x="8558256" y="5854086"/>
                  <a:pt x="8558256" y="5854086"/>
                </a:cubicBezTo>
                <a:cubicBezTo>
                  <a:pt x="7762876" y="5854259"/>
                  <a:pt x="7762876" y="5854259"/>
                  <a:pt x="7762876" y="5854259"/>
                </a:cubicBezTo>
                <a:lnTo>
                  <a:pt x="7742135" y="5852108"/>
                </a:lnTo>
                <a:lnTo>
                  <a:pt x="7227592" y="5852108"/>
                </a:lnTo>
                <a:lnTo>
                  <a:pt x="7227592" y="5852110"/>
                </a:lnTo>
                <a:lnTo>
                  <a:pt x="7197882" y="5852110"/>
                </a:lnTo>
                <a:lnTo>
                  <a:pt x="7197881" y="5852111"/>
                </a:lnTo>
                <a:lnTo>
                  <a:pt x="6265511" y="5852111"/>
                </a:lnTo>
                <a:lnTo>
                  <a:pt x="5333141" y="5852111"/>
                </a:lnTo>
                <a:lnTo>
                  <a:pt x="5333139" y="5852929"/>
                </a:lnTo>
                <a:cubicBezTo>
                  <a:pt x="5333137" y="5854086"/>
                  <a:pt x="5333137" y="5854086"/>
                  <a:pt x="5333137" y="5854086"/>
                </a:cubicBezTo>
                <a:cubicBezTo>
                  <a:pt x="4537757" y="5854259"/>
                  <a:pt x="4537757" y="5854259"/>
                  <a:pt x="4537757" y="5854259"/>
                </a:cubicBezTo>
                <a:lnTo>
                  <a:pt x="4537695" y="5854253"/>
                </a:lnTo>
                <a:lnTo>
                  <a:pt x="4520475" y="5854257"/>
                </a:lnTo>
                <a:cubicBezTo>
                  <a:pt x="4508047" y="5854259"/>
                  <a:pt x="4508047" y="5854259"/>
                  <a:pt x="4508047" y="5854259"/>
                </a:cubicBezTo>
                <a:lnTo>
                  <a:pt x="4487307" y="5852108"/>
                </a:lnTo>
                <a:lnTo>
                  <a:pt x="3972763" y="5852108"/>
                </a:lnTo>
                <a:lnTo>
                  <a:pt x="3972763" y="5852110"/>
                </a:lnTo>
                <a:lnTo>
                  <a:pt x="2078312" y="5852111"/>
                </a:lnTo>
                <a:lnTo>
                  <a:pt x="2078310" y="5852929"/>
                </a:lnTo>
                <a:cubicBezTo>
                  <a:pt x="2078308" y="5854086"/>
                  <a:pt x="2078308" y="5854086"/>
                  <a:pt x="2078308" y="5854086"/>
                </a:cubicBezTo>
                <a:cubicBezTo>
                  <a:pt x="1282928" y="5854259"/>
                  <a:pt x="1282928" y="5854259"/>
                  <a:pt x="1282928" y="5854259"/>
                </a:cubicBezTo>
                <a:cubicBezTo>
                  <a:pt x="1135391" y="5853387"/>
                  <a:pt x="994602" y="5794821"/>
                  <a:pt x="889387" y="5689605"/>
                </a:cubicBezTo>
                <a:cubicBezTo>
                  <a:pt x="165062" y="4965281"/>
                  <a:pt x="165062" y="4965281"/>
                  <a:pt x="165062" y="4965281"/>
                </a:cubicBezTo>
                <a:cubicBezTo>
                  <a:pt x="60954" y="4861173"/>
                  <a:pt x="1280" y="4719276"/>
                  <a:pt x="408" y="4571739"/>
                </a:cubicBezTo>
                <a:lnTo>
                  <a:pt x="438" y="4437419"/>
                </a:lnTo>
                <a:lnTo>
                  <a:pt x="0" y="4437419"/>
                </a:lnTo>
                <a:lnTo>
                  <a:pt x="0" y="2151"/>
                </a:lnTo>
                <a:lnTo>
                  <a:pt x="2386827" y="2151"/>
                </a:lnTo>
                <a:lnTo>
                  <a:pt x="2386827" y="2154"/>
                </a:lnTo>
                <a:lnTo>
                  <a:pt x="3126241" y="2154"/>
                </a:lnTo>
                <a:lnTo>
                  <a:pt x="3126241" y="1330"/>
                </a:lnTo>
                <a:cubicBezTo>
                  <a:pt x="3126243" y="173"/>
                  <a:pt x="3126243" y="173"/>
                  <a:pt x="3126243" y="173"/>
                </a:cubicBezTo>
                <a:cubicBezTo>
                  <a:pt x="3822200" y="22"/>
                  <a:pt x="3909195" y="3"/>
                  <a:pt x="3920070" y="0"/>
                </a:cubicBezTo>
                <a:close/>
              </a:path>
            </a:pathLst>
          </a:custGeom>
          <a:solidFill>
            <a:srgbClr val="FE8A2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Title 1">
            <a:extLst>
              <a:ext uri="{FF2B5EF4-FFF2-40B4-BE49-F238E27FC236}">
                <a16:creationId xmlns:a16="http://schemas.microsoft.com/office/drawing/2014/main" id="{49582F92-FD72-D592-598D-5A2C6A686C83}"/>
              </a:ext>
            </a:extLst>
          </p:cNvPr>
          <p:cNvSpPr>
            <a:spLocks noGrp="1"/>
          </p:cNvSpPr>
          <p:nvPr>
            <p:ph type="title"/>
          </p:nvPr>
        </p:nvSpPr>
        <p:spPr>
          <a:xfrm>
            <a:off x="1446213" y="1486886"/>
            <a:ext cx="8940800" cy="2492830"/>
          </a:xfrm>
        </p:spPr>
        <p:txBody>
          <a:bodyPr anchor="ctr">
            <a:noAutofit/>
          </a:bodyPr>
          <a:lstStyle>
            <a:lvl1pPr>
              <a:lnSpc>
                <a:spcPct val="84000"/>
              </a:lnSpc>
              <a:defRPr sz="7200">
                <a:solidFill>
                  <a:schemeClr val="bg1"/>
                </a:solidFill>
              </a:defRPr>
            </a:lvl1pPr>
          </a:lstStyle>
          <a:p>
            <a:r>
              <a:rPr lang="en-US"/>
              <a:t>Click to edit Master title style</a:t>
            </a:r>
          </a:p>
        </p:txBody>
      </p:sp>
      <p:sp>
        <p:nvSpPr>
          <p:cNvPr id="5" name="Text Placeholder 25">
            <a:extLst>
              <a:ext uri="{FF2B5EF4-FFF2-40B4-BE49-F238E27FC236}">
                <a16:creationId xmlns:a16="http://schemas.microsoft.com/office/drawing/2014/main" id="{A51FA575-D879-1736-3F6A-3D70E1E431D5}"/>
              </a:ext>
            </a:extLst>
          </p:cNvPr>
          <p:cNvSpPr>
            <a:spLocks noGrp="1"/>
          </p:cNvSpPr>
          <p:nvPr>
            <p:ph type="body" sz="quarter" idx="15" hasCustomPrompt="1"/>
          </p:nvPr>
        </p:nvSpPr>
        <p:spPr>
          <a:xfrm>
            <a:off x="1446214" y="618372"/>
            <a:ext cx="2620962" cy="397328"/>
          </a:xfrm>
          <a:prstGeom prst="rect">
            <a:avLst/>
          </a:prstGeom>
        </p:spPr>
        <p:txBody>
          <a:bodyPr/>
          <a:lstStyle>
            <a:lvl1pPr marL="0" indent="0">
              <a:buNone/>
              <a:defRPr sz="2100">
                <a:solidFill>
                  <a:schemeClr val="bg1"/>
                </a:solidFill>
                <a:latin typeface="+mj-lt"/>
              </a:defRPr>
            </a:lvl1pPr>
          </a:lstStyle>
          <a:p>
            <a:pPr lvl="0"/>
            <a:r>
              <a:rPr lang="en-US"/>
              <a:t>Section 00</a:t>
            </a:r>
          </a:p>
        </p:txBody>
      </p:sp>
      <p:sp>
        <p:nvSpPr>
          <p:cNvPr id="6" name="Subtitle 2">
            <a:extLst>
              <a:ext uri="{FF2B5EF4-FFF2-40B4-BE49-F238E27FC236}">
                <a16:creationId xmlns:a16="http://schemas.microsoft.com/office/drawing/2014/main" id="{943B597F-1636-E1C0-C0F7-980B564F7431}"/>
              </a:ext>
            </a:extLst>
          </p:cNvPr>
          <p:cNvSpPr>
            <a:spLocks noGrp="1"/>
          </p:cNvSpPr>
          <p:nvPr>
            <p:ph type="subTitle" idx="1"/>
          </p:nvPr>
        </p:nvSpPr>
        <p:spPr>
          <a:xfrm>
            <a:off x="1446213" y="4176319"/>
            <a:ext cx="8940800" cy="941596"/>
          </a:xfrm>
        </p:spPr>
        <p:txBody>
          <a:bodyPr/>
          <a:lstStyle>
            <a:lvl1pPr marL="0" indent="0" algn="l">
              <a:buNone/>
              <a:defRPr sz="2400">
                <a:solidFill>
                  <a:schemeClr val="bg1"/>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92169067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Long Segue Dark">
    <p:spTree>
      <p:nvGrpSpPr>
        <p:cNvPr id="1" name=""/>
        <p:cNvGrpSpPr/>
        <p:nvPr/>
      </p:nvGrpSpPr>
      <p:grpSpPr>
        <a:xfrm>
          <a:off x="0" y="0"/>
          <a:ext cx="0" cy="0"/>
          <a:chOff x="0" y="0"/>
          <a:chExt cx="0" cy="0"/>
        </a:xfrm>
      </p:grpSpPr>
      <p:sp>
        <p:nvSpPr>
          <p:cNvPr id="34" name="Freeform: Shape 33">
            <a:extLst>
              <a:ext uri="{FF2B5EF4-FFF2-40B4-BE49-F238E27FC236}">
                <a16:creationId xmlns:a16="http://schemas.microsoft.com/office/drawing/2014/main" id="{69F11427-BF8E-9C4B-8FF2-DBE37EBA0B06}"/>
              </a:ext>
            </a:extLst>
          </p:cNvPr>
          <p:cNvSpPr/>
          <p:nvPr/>
        </p:nvSpPr>
        <p:spPr>
          <a:xfrm>
            <a:off x="1" y="0"/>
            <a:ext cx="11637818" cy="5854259"/>
          </a:xfrm>
          <a:custGeom>
            <a:avLst/>
            <a:gdLst>
              <a:gd name="connsiteX0" fmla="*/ 3920070 w 11688451"/>
              <a:gd name="connsiteY0" fmla="*/ 0 h 5854259"/>
              <a:gd name="connsiteX1" fmla="*/ 3921623 w 11688451"/>
              <a:gd name="connsiteY1" fmla="*/ 0 h 5854259"/>
              <a:gd name="connsiteX2" fmla="*/ 3942361 w 11688451"/>
              <a:gd name="connsiteY2" fmla="*/ 2150 h 5854259"/>
              <a:gd name="connsiteX3" fmla="*/ 5611946 w 11688451"/>
              <a:gd name="connsiteY3" fmla="*/ 2151 h 5854259"/>
              <a:gd name="connsiteX4" fmla="*/ 5641656 w 11688451"/>
              <a:gd name="connsiteY4" fmla="*/ 2151 h 5854259"/>
              <a:gd name="connsiteX5" fmla="*/ 5641656 w 11688451"/>
              <a:gd name="connsiteY5" fmla="*/ 2154 h 5854259"/>
              <a:gd name="connsiteX6" fmla="*/ 6351359 w 11688451"/>
              <a:gd name="connsiteY6" fmla="*/ 2154 h 5854259"/>
              <a:gd name="connsiteX7" fmla="*/ 6351360 w 11688451"/>
              <a:gd name="connsiteY7" fmla="*/ 1330 h 5854259"/>
              <a:gd name="connsiteX8" fmla="*/ 6351361 w 11688451"/>
              <a:gd name="connsiteY8" fmla="*/ 173 h 5854259"/>
              <a:gd name="connsiteX9" fmla="*/ 7146741 w 11688451"/>
              <a:gd name="connsiteY9" fmla="*/ 0 h 5854259"/>
              <a:gd name="connsiteX10" fmla="*/ 7146804 w 11688451"/>
              <a:gd name="connsiteY10" fmla="*/ 7 h 5854259"/>
              <a:gd name="connsiteX11" fmla="*/ 7166212 w 11688451"/>
              <a:gd name="connsiteY11" fmla="*/ 2 h 5854259"/>
              <a:gd name="connsiteX12" fmla="*/ 7174899 w 11688451"/>
              <a:gd name="connsiteY12" fmla="*/ 0 h 5854259"/>
              <a:gd name="connsiteX13" fmla="*/ 7176452 w 11688451"/>
              <a:gd name="connsiteY13" fmla="*/ 0 h 5854259"/>
              <a:gd name="connsiteX14" fmla="*/ 7197190 w 11688451"/>
              <a:gd name="connsiteY14" fmla="*/ 2150 h 5854259"/>
              <a:gd name="connsiteX15" fmla="*/ 8866775 w 11688451"/>
              <a:gd name="connsiteY15" fmla="*/ 2151 h 5854259"/>
              <a:gd name="connsiteX16" fmla="*/ 8866775 w 11688451"/>
              <a:gd name="connsiteY16" fmla="*/ 2154 h 5854259"/>
              <a:gd name="connsiteX17" fmla="*/ 9606188 w 11688451"/>
              <a:gd name="connsiteY17" fmla="*/ 2154 h 5854259"/>
              <a:gd name="connsiteX18" fmla="*/ 9606189 w 11688451"/>
              <a:gd name="connsiteY18" fmla="*/ 1330 h 5854259"/>
              <a:gd name="connsiteX19" fmla="*/ 9606190 w 11688451"/>
              <a:gd name="connsiteY19" fmla="*/ 173 h 5854259"/>
              <a:gd name="connsiteX20" fmla="*/ 10401570 w 11688451"/>
              <a:gd name="connsiteY20" fmla="*/ 0 h 5854259"/>
              <a:gd name="connsiteX21" fmla="*/ 10422338 w 11688451"/>
              <a:gd name="connsiteY21" fmla="*/ 2154 h 5854259"/>
              <a:gd name="connsiteX22" fmla="*/ 10452711 w 11688451"/>
              <a:gd name="connsiteY22" fmla="*/ 2154 h 5854259"/>
              <a:gd name="connsiteX23" fmla="*/ 10452710 w 11688451"/>
              <a:gd name="connsiteY23" fmla="*/ 5304 h 5854259"/>
              <a:gd name="connsiteX24" fmla="*/ 10510507 w 11688451"/>
              <a:gd name="connsiteY24" fmla="*/ 11299 h 5854259"/>
              <a:gd name="connsiteX25" fmla="*/ 10795112 w 11688451"/>
              <a:gd name="connsiteY25" fmla="*/ 164653 h 5854259"/>
              <a:gd name="connsiteX26" fmla="*/ 11519436 w 11688451"/>
              <a:gd name="connsiteY26" fmla="*/ 888978 h 5854259"/>
              <a:gd name="connsiteX27" fmla="*/ 11684089 w 11688451"/>
              <a:gd name="connsiteY27" fmla="*/ 1282519 h 5854259"/>
              <a:gd name="connsiteX28" fmla="*/ 11684061 w 11688451"/>
              <a:gd name="connsiteY28" fmla="*/ 1416839 h 5854259"/>
              <a:gd name="connsiteX29" fmla="*/ 11688451 w 11688451"/>
              <a:gd name="connsiteY29" fmla="*/ 1416840 h 5854259"/>
              <a:gd name="connsiteX30" fmla="*/ 11688451 w 11688451"/>
              <a:gd name="connsiteY30" fmla="*/ 5852108 h 5854259"/>
              <a:gd name="connsiteX31" fmla="*/ 10452711 w 11688451"/>
              <a:gd name="connsiteY31" fmla="*/ 5852108 h 5854259"/>
              <a:gd name="connsiteX32" fmla="*/ 10452710 w 11688451"/>
              <a:gd name="connsiteY32" fmla="*/ 5852111 h 5854259"/>
              <a:gd name="connsiteX33" fmla="*/ 8558258 w 11688451"/>
              <a:gd name="connsiteY33" fmla="*/ 5852110 h 5854259"/>
              <a:gd name="connsiteX34" fmla="*/ 8558257 w 11688451"/>
              <a:gd name="connsiteY34" fmla="*/ 5852929 h 5854259"/>
              <a:gd name="connsiteX35" fmla="*/ 8558256 w 11688451"/>
              <a:gd name="connsiteY35" fmla="*/ 5854086 h 5854259"/>
              <a:gd name="connsiteX36" fmla="*/ 7762876 w 11688451"/>
              <a:gd name="connsiteY36" fmla="*/ 5854259 h 5854259"/>
              <a:gd name="connsiteX37" fmla="*/ 7742135 w 11688451"/>
              <a:gd name="connsiteY37" fmla="*/ 5852108 h 5854259"/>
              <a:gd name="connsiteX38" fmla="*/ 7227592 w 11688451"/>
              <a:gd name="connsiteY38" fmla="*/ 5852108 h 5854259"/>
              <a:gd name="connsiteX39" fmla="*/ 7227592 w 11688451"/>
              <a:gd name="connsiteY39" fmla="*/ 5852110 h 5854259"/>
              <a:gd name="connsiteX40" fmla="*/ 7197882 w 11688451"/>
              <a:gd name="connsiteY40" fmla="*/ 5852110 h 5854259"/>
              <a:gd name="connsiteX41" fmla="*/ 7197881 w 11688451"/>
              <a:gd name="connsiteY41" fmla="*/ 5852111 h 5854259"/>
              <a:gd name="connsiteX42" fmla="*/ 6265511 w 11688451"/>
              <a:gd name="connsiteY42" fmla="*/ 5852111 h 5854259"/>
              <a:gd name="connsiteX43" fmla="*/ 5333141 w 11688451"/>
              <a:gd name="connsiteY43" fmla="*/ 5852111 h 5854259"/>
              <a:gd name="connsiteX44" fmla="*/ 5333139 w 11688451"/>
              <a:gd name="connsiteY44" fmla="*/ 5852929 h 5854259"/>
              <a:gd name="connsiteX45" fmla="*/ 5333137 w 11688451"/>
              <a:gd name="connsiteY45" fmla="*/ 5854086 h 5854259"/>
              <a:gd name="connsiteX46" fmla="*/ 4537757 w 11688451"/>
              <a:gd name="connsiteY46" fmla="*/ 5854259 h 5854259"/>
              <a:gd name="connsiteX47" fmla="*/ 4537695 w 11688451"/>
              <a:gd name="connsiteY47" fmla="*/ 5854253 h 5854259"/>
              <a:gd name="connsiteX48" fmla="*/ 4520475 w 11688451"/>
              <a:gd name="connsiteY48" fmla="*/ 5854257 h 5854259"/>
              <a:gd name="connsiteX49" fmla="*/ 4508047 w 11688451"/>
              <a:gd name="connsiteY49" fmla="*/ 5854259 h 5854259"/>
              <a:gd name="connsiteX50" fmla="*/ 4487307 w 11688451"/>
              <a:gd name="connsiteY50" fmla="*/ 5852108 h 5854259"/>
              <a:gd name="connsiteX51" fmla="*/ 3972763 w 11688451"/>
              <a:gd name="connsiteY51" fmla="*/ 5852108 h 5854259"/>
              <a:gd name="connsiteX52" fmla="*/ 3972763 w 11688451"/>
              <a:gd name="connsiteY52" fmla="*/ 5852110 h 5854259"/>
              <a:gd name="connsiteX53" fmla="*/ 2078312 w 11688451"/>
              <a:gd name="connsiteY53" fmla="*/ 5852111 h 5854259"/>
              <a:gd name="connsiteX54" fmla="*/ 2078310 w 11688451"/>
              <a:gd name="connsiteY54" fmla="*/ 5852929 h 5854259"/>
              <a:gd name="connsiteX55" fmla="*/ 2078308 w 11688451"/>
              <a:gd name="connsiteY55" fmla="*/ 5854086 h 5854259"/>
              <a:gd name="connsiteX56" fmla="*/ 1282928 w 11688451"/>
              <a:gd name="connsiteY56" fmla="*/ 5854259 h 5854259"/>
              <a:gd name="connsiteX57" fmla="*/ 889387 w 11688451"/>
              <a:gd name="connsiteY57" fmla="*/ 5689605 h 5854259"/>
              <a:gd name="connsiteX58" fmla="*/ 165062 w 11688451"/>
              <a:gd name="connsiteY58" fmla="*/ 4965281 h 5854259"/>
              <a:gd name="connsiteX59" fmla="*/ 408 w 11688451"/>
              <a:gd name="connsiteY59" fmla="*/ 4571739 h 5854259"/>
              <a:gd name="connsiteX60" fmla="*/ 438 w 11688451"/>
              <a:gd name="connsiteY60" fmla="*/ 4437419 h 5854259"/>
              <a:gd name="connsiteX61" fmla="*/ 0 w 11688451"/>
              <a:gd name="connsiteY61" fmla="*/ 4437419 h 5854259"/>
              <a:gd name="connsiteX62" fmla="*/ 0 w 11688451"/>
              <a:gd name="connsiteY62" fmla="*/ 2151 h 5854259"/>
              <a:gd name="connsiteX63" fmla="*/ 2386827 w 11688451"/>
              <a:gd name="connsiteY63" fmla="*/ 2151 h 5854259"/>
              <a:gd name="connsiteX64" fmla="*/ 2386827 w 11688451"/>
              <a:gd name="connsiteY64" fmla="*/ 2154 h 5854259"/>
              <a:gd name="connsiteX65" fmla="*/ 3126241 w 11688451"/>
              <a:gd name="connsiteY65" fmla="*/ 2154 h 5854259"/>
              <a:gd name="connsiteX66" fmla="*/ 3126241 w 11688451"/>
              <a:gd name="connsiteY66" fmla="*/ 1330 h 5854259"/>
              <a:gd name="connsiteX67" fmla="*/ 3126243 w 11688451"/>
              <a:gd name="connsiteY67" fmla="*/ 173 h 5854259"/>
              <a:gd name="connsiteX68" fmla="*/ 3920070 w 11688451"/>
              <a:gd name="connsiteY68" fmla="*/ 0 h 585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1688451" h="5854259">
                <a:moveTo>
                  <a:pt x="3920070" y="0"/>
                </a:moveTo>
                <a:cubicBezTo>
                  <a:pt x="3921623" y="0"/>
                  <a:pt x="3921623" y="0"/>
                  <a:pt x="3921623" y="0"/>
                </a:cubicBezTo>
                <a:lnTo>
                  <a:pt x="3942361" y="2150"/>
                </a:lnTo>
                <a:lnTo>
                  <a:pt x="5611946" y="2151"/>
                </a:lnTo>
                <a:lnTo>
                  <a:pt x="5641656" y="2151"/>
                </a:lnTo>
                <a:lnTo>
                  <a:pt x="5641656" y="2154"/>
                </a:lnTo>
                <a:lnTo>
                  <a:pt x="6351359" y="2154"/>
                </a:lnTo>
                <a:lnTo>
                  <a:pt x="6351360" y="1330"/>
                </a:lnTo>
                <a:cubicBezTo>
                  <a:pt x="6351361" y="173"/>
                  <a:pt x="6351361" y="173"/>
                  <a:pt x="6351361" y="173"/>
                </a:cubicBezTo>
                <a:cubicBezTo>
                  <a:pt x="7146741" y="0"/>
                  <a:pt x="7146741" y="0"/>
                  <a:pt x="7146741" y="0"/>
                </a:cubicBezTo>
                <a:lnTo>
                  <a:pt x="7146804" y="7"/>
                </a:lnTo>
                <a:lnTo>
                  <a:pt x="7166212" y="2"/>
                </a:lnTo>
                <a:cubicBezTo>
                  <a:pt x="7170991" y="1"/>
                  <a:pt x="7173540" y="0"/>
                  <a:pt x="7174899" y="0"/>
                </a:cubicBezTo>
                <a:cubicBezTo>
                  <a:pt x="7176452" y="0"/>
                  <a:pt x="7176452" y="0"/>
                  <a:pt x="7176452" y="0"/>
                </a:cubicBezTo>
                <a:lnTo>
                  <a:pt x="7197190" y="2150"/>
                </a:lnTo>
                <a:lnTo>
                  <a:pt x="8866775" y="2151"/>
                </a:lnTo>
                <a:lnTo>
                  <a:pt x="8866775" y="2154"/>
                </a:lnTo>
                <a:lnTo>
                  <a:pt x="9606188" y="2154"/>
                </a:lnTo>
                <a:lnTo>
                  <a:pt x="9606189" y="1330"/>
                </a:lnTo>
                <a:cubicBezTo>
                  <a:pt x="9606190" y="173"/>
                  <a:pt x="9606190" y="173"/>
                  <a:pt x="9606190" y="173"/>
                </a:cubicBezTo>
                <a:cubicBezTo>
                  <a:pt x="10401570" y="0"/>
                  <a:pt x="10401570" y="0"/>
                  <a:pt x="10401570" y="0"/>
                </a:cubicBezTo>
                <a:lnTo>
                  <a:pt x="10422338" y="2154"/>
                </a:lnTo>
                <a:lnTo>
                  <a:pt x="10452711" y="2154"/>
                </a:lnTo>
                <a:lnTo>
                  <a:pt x="10452710" y="5304"/>
                </a:lnTo>
                <a:lnTo>
                  <a:pt x="10510507" y="11299"/>
                </a:lnTo>
                <a:cubicBezTo>
                  <a:pt x="10617278" y="33070"/>
                  <a:pt x="10716200" y="85742"/>
                  <a:pt x="10795112" y="164653"/>
                </a:cubicBezTo>
                <a:cubicBezTo>
                  <a:pt x="11519436" y="888978"/>
                  <a:pt x="11519436" y="888978"/>
                  <a:pt x="11519436" y="888978"/>
                </a:cubicBezTo>
                <a:cubicBezTo>
                  <a:pt x="11623544" y="993086"/>
                  <a:pt x="11683218" y="1134982"/>
                  <a:pt x="11684089" y="1282519"/>
                </a:cubicBezTo>
                <a:lnTo>
                  <a:pt x="11684061" y="1416839"/>
                </a:lnTo>
                <a:lnTo>
                  <a:pt x="11688451" y="1416840"/>
                </a:lnTo>
                <a:lnTo>
                  <a:pt x="11688451" y="5852108"/>
                </a:lnTo>
                <a:lnTo>
                  <a:pt x="10452711" y="5852108"/>
                </a:lnTo>
                <a:lnTo>
                  <a:pt x="10452710" y="5852111"/>
                </a:lnTo>
                <a:lnTo>
                  <a:pt x="8558258" y="5852110"/>
                </a:lnTo>
                <a:lnTo>
                  <a:pt x="8558257" y="5852929"/>
                </a:lnTo>
                <a:cubicBezTo>
                  <a:pt x="8558256" y="5854086"/>
                  <a:pt x="8558256" y="5854086"/>
                  <a:pt x="8558256" y="5854086"/>
                </a:cubicBezTo>
                <a:cubicBezTo>
                  <a:pt x="7762876" y="5854259"/>
                  <a:pt x="7762876" y="5854259"/>
                  <a:pt x="7762876" y="5854259"/>
                </a:cubicBezTo>
                <a:lnTo>
                  <a:pt x="7742135" y="5852108"/>
                </a:lnTo>
                <a:lnTo>
                  <a:pt x="7227592" y="5852108"/>
                </a:lnTo>
                <a:lnTo>
                  <a:pt x="7227592" y="5852110"/>
                </a:lnTo>
                <a:lnTo>
                  <a:pt x="7197882" y="5852110"/>
                </a:lnTo>
                <a:lnTo>
                  <a:pt x="7197881" y="5852111"/>
                </a:lnTo>
                <a:lnTo>
                  <a:pt x="6265511" y="5852111"/>
                </a:lnTo>
                <a:lnTo>
                  <a:pt x="5333141" y="5852111"/>
                </a:lnTo>
                <a:lnTo>
                  <a:pt x="5333139" y="5852929"/>
                </a:lnTo>
                <a:cubicBezTo>
                  <a:pt x="5333137" y="5854086"/>
                  <a:pt x="5333137" y="5854086"/>
                  <a:pt x="5333137" y="5854086"/>
                </a:cubicBezTo>
                <a:cubicBezTo>
                  <a:pt x="4537757" y="5854259"/>
                  <a:pt x="4537757" y="5854259"/>
                  <a:pt x="4537757" y="5854259"/>
                </a:cubicBezTo>
                <a:lnTo>
                  <a:pt x="4537695" y="5854253"/>
                </a:lnTo>
                <a:lnTo>
                  <a:pt x="4520475" y="5854257"/>
                </a:lnTo>
                <a:cubicBezTo>
                  <a:pt x="4508047" y="5854259"/>
                  <a:pt x="4508047" y="5854259"/>
                  <a:pt x="4508047" y="5854259"/>
                </a:cubicBezTo>
                <a:lnTo>
                  <a:pt x="4487307" y="5852108"/>
                </a:lnTo>
                <a:lnTo>
                  <a:pt x="3972763" y="5852108"/>
                </a:lnTo>
                <a:lnTo>
                  <a:pt x="3972763" y="5852110"/>
                </a:lnTo>
                <a:lnTo>
                  <a:pt x="2078312" y="5852111"/>
                </a:lnTo>
                <a:lnTo>
                  <a:pt x="2078310" y="5852929"/>
                </a:lnTo>
                <a:cubicBezTo>
                  <a:pt x="2078308" y="5854086"/>
                  <a:pt x="2078308" y="5854086"/>
                  <a:pt x="2078308" y="5854086"/>
                </a:cubicBezTo>
                <a:cubicBezTo>
                  <a:pt x="1282928" y="5854259"/>
                  <a:pt x="1282928" y="5854259"/>
                  <a:pt x="1282928" y="5854259"/>
                </a:cubicBezTo>
                <a:cubicBezTo>
                  <a:pt x="1135391" y="5853387"/>
                  <a:pt x="994602" y="5794821"/>
                  <a:pt x="889387" y="5689605"/>
                </a:cubicBezTo>
                <a:cubicBezTo>
                  <a:pt x="165062" y="4965281"/>
                  <a:pt x="165062" y="4965281"/>
                  <a:pt x="165062" y="4965281"/>
                </a:cubicBezTo>
                <a:cubicBezTo>
                  <a:pt x="60954" y="4861173"/>
                  <a:pt x="1280" y="4719276"/>
                  <a:pt x="408" y="4571739"/>
                </a:cubicBezTo>
                <a:lnTo>
                  <a:pt x="438" y="4437419"/>
                </a:lnTo>
                <a:lnTo>
                  <a:pt x="0" y="4437419"/>
                </a:lnTo>
                <a:lnTo>
                  <a:pt x="0" y="2151"/>
                </a:lnTo>
                <a:lnTo>
                  <a:pt x="2386827" y="2151"/>
                </a:lnTo>
                <a:lnTo>
                  <a:pt x="2386827" y="2154"/>
                </a:lnTo>
                <a:lnTo>
                  <a:pt x="3126241" y="2154"/>
                </a:lnTo>
                <a:lnTo>
                  <a:pt x="3126241" y="1330"/>
                </a:lnTo>
                <a:cubicBezTo>
                  <a:pt x="3126243" y="173"/>
                  <a:pt x="3126243" y="173"/>
                  <a:pt x="3126243" y="173"/>
                </a:cubicBezTo>
                <a:cubicBezTo>
                  <a:pt x="3822200" y="22"/>
                  <a:pt x="3909195" y="3"/>
                  <a:pt x="3920070" y="0"/>
                </a:cubicBez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5" name="Title 1">
            <a:extLst>
              <a:ext uri="{FF2B5EF4-FFF2-40B4-BE49-F238E27FC236}">
                <a16:creationId xmlns:a16="http://schemas.microsoft.com/office/drawing/2014/main" id="{156672E4-A86A-B455-40ED-0F18C925D8FE}"/>
              </a:ext>
            </a:extLst>
          </p:cNvPr>
          <p:cNvSpPr>
            <a:spLocks noGrp="1"/>
          </p:cNvSpPr>
          <p:nvPr>
            <p:ph type="title"/>
          </p:nvPr>
        </p:nvSpPr>
        <p:spPr>
          <a:xfrm>
            <a:off x="1446213" y="1486886"/>
            <a:ext cx="8940800" cy="2492830"/>
          </a:xfrm>
        </p:spPr>
        <p:txBody>
          <a:bodyPr>
            <a:noAutofit/>
          </a:bodyPr>
          <a:lstStyle>
            <a:lvl1pPr>
              <a:lnSpc>
                <a:spcPct val="84000"/>
              </a:lnSpc>
              <a:defRPr sz="7200">
                <a:solidFill>
                  <a:schemeClr val="bg1"/>
                </a:solidFill>
              </a:defRPr>
            </a:lvl1pPr>
          </a:lstStyle>
          <a:p>
            <a:r>
              <a:rPr lang="en-US"/>
              <a:t>Click to edit Master title style</a:t>
            </a:r>
          </a:p>
        </p:txBody>
      </p:sp>
      <p:sp>
        <p:nvSpPr>
          <p:cNvPr id="33" name="Text Placeholder 25">
            <a:extLst>
              <a:ext uri="{FF2B5EF4-FFF2-40B4-BE49-F238E27FC236}">
                <a16:creationId xmlns:a16="http://schemas.microsoft.com/office/drawing/2014/main" id="{4DB632D8-1557-9CDA-6FA0-2693E3F44794}"/>
              </a:ext>
            </a:extLst>
          </p:cNvPr>
          <p:cNvSpPr>
            <a:spLocks noGrp="1"/>
          </p:cNvSpPr>
          <p:nvPr>
            <p:ph type="body" sz="quarter" idx="15" hasCustomPrompt="1"/>
          </p:nvPr>
        </p:nvSpPr>
        <p:spPr>
          <a:xfrm>
            <a:off x="1446214" y="618372"/>
            <a:ext cx="2620962" cy="397328"/>
          </a:xfrm>
          <a:prstGeom prst="rect">
            <a:avLst/>
          </a:prstGeom>
        </p:spPr>
        <p:txBody>
          <a:bodyPr/>
          <a:lstStyle>
            <a:lvl1pPr marL="0" indent="0">
              <a:buNone/>
              <a:defRPr sz="2100">
                <a:solidFill>
                  <a:srgbClr val="00D15F"/>
                </a:solidFill>
                <a:latin typeface="+mj-lt"/>
              </a:defRPr>
            </a:lvl1pPr>
          </a:lstStyle>
          <a:p>
            <a:pPr lvl="0"/>
            <a:r>
              <a:rPr lang="en-US"/>
              <a:t>Section 00</a:t>
            </a:r>
          </a:p>
        </p:txBody>
      </p:sp>
      <p:sp>
        <p:nvSpPr>
          <p:cNvPr id="2" name="Subtitle 2">
            <a:extLst>
              <a:ext uri="{FF2B5EF4-FFF2-40B4-BE49-F238E27FC236}">
                <a16:creationId xmlns:a16="http://schemas.microsoft.com/office/drawing/2014/main" id="{6BE7EFBE-D514-1C4D-E345-F2A2262F6AAE}"/>
              </a:ext>
            </a:extLst>
          </p:cNvPr>
          <p:cNvSpPr>
            <a:spLocks noGrp="1"/>
          </p:cNvSpPr>
          <p:nvPr>
            <p:ph type="subTitle" idx="1"/>
          </p:nvPr>
        </p:nvSpPr>
        <p:spPr>
          <a:xfrm>
            <a:off x="1446213" y="4176319"/>
            <a:ext cx="8940800" cy="941596"/>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32888955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Full Image - Title Left">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14B4641-564B-4F50-B919-B87A300325EF}"/>
              </a:ext>
            </a:extLst>
          </p:cNvPr>
          <p:cNvSpPr>
            <a:spLocks noGrp="1"/>
          </p:cNvSpPr>
          <p:nvPr>
            <p:ph type="pic" sz="quarter" idx="11" hasCustomPrompt="1"/>
          </p:nvPr>
        </p:nvSpPr>
        <p:spPr>
          <a:xfrm>
            <a:off x="0" y="0"/>
            <a:ext cx="12192000" cy="6858000"/>
          </a:xfrm>
          <a:prstGeom prst="rect">
            <a:avLst/>
          </a:prstGeom>
          <a:solidFill>
            <a:schemeClr val="bg2"/>
          </a:solidFill>
        </p:spPr>
        <p:txBody>
          <a:bodyPr anchor="t"/>
          <a:lstStyle>
            <a:lvl1pPr marL="0" indent="0" algn="ctr">
              <a:buNone/>
              <a:defRPr>
                <a:solidFill>
                  <a:schemeClr val="tx1"/>
                </a:solidFill>
              </a:defRPr>
            </a:lvl1pPr>
          </a:lstStyle>
          <a:p>
            <a:r>
              <a:rPr lang="en-US"/>
              <a:t>Please use Veeam approved images</a:t>
            </a:r>
          </a:p>
        </p:txBody>
      </p:sp>
      <p:sp>
        <p:nvSpPr>
          <p:cNvPr id="10" name="Title 1">
            <a:extLst>
              <a:ext uri="{FF2B5EF4-FFF2-40B4-BE49-F238E27FC236}">
                <a16:creationId xmlns:a16="http://schemas.microsoft.com/office/drawing/2014/main" id="{D81CCBE3-AB03-CD0A-5AFC-B2D12E0E7938}"/>
              </a:ext>
            </a:extLst>
          </p:cNvPr>
          <p:cNvSpPr>
            <a:spLocks noGrp="1"/>
          </p:cNvSpPr>
          <p:nvPr>
            <p:ph type="title"/>
          </p:nvPr>
        </p:nvSpPr>
        <p:spPr>
          <a:xfrm>
            <a:off x="1124712" y="1719072"/>
            <a:ext cx="2478024" cy="2633472"/>
          </a:xfrm>
        </p:spPr>
        <p:txBody>
          <a:bodyPr>
            <a:noAutofit/>
          </a:bodyPr>
          <a:lstStyle>
            <a:lvl1pPr>
              <a:defRPr sz="2100">
                <a:solidFill>
                  <a:schemeClr val="tx1"/>
                </a:solidFill>
              </a:defRPr>
            </a:lvl1pPr>
          </a:lstStyle>
          <a:p>
            <a:r>
              <a:rPr lang="en-US"/>
              <a:t>Click to edit Master title style</a:t>
            </a:r>
          </a:p>
        </p:txBody>
      </p:sp>
      <p:sp>
        <p:nvSpPr>
          <p:cNvPr id="7" name="Subtitle 2">
            <a:extLst>
              <a:ext uri="{FF2B5EF4-FFF2-40B4-BE49-F238E27FC236}">
                <a16:creationId xmlns:a16="http://schemas.microsoft.com/office/drawing/2014/main" id="{4CABB1D5-9F70-0790-2CA6-EED81F873C03}"/>
              </a:ext>
            </a:extLst>
          </p:cNvPr>
          <p:cNvSpPr>
            <a:spLocks noGrp="1"/>
          </p:cNvSpPr>
          <p:nvPr>
            <p:ph type="subTitle" idx="1"/>
          </p:nvPr>
        </p:nvSpPr>
        <p:spPr>
          <a:xfrm>
            <a:off x="1124711" y="4462123"/>
            <a:ext cx="2478024" cy="941596"/>
          </a:xfrm>
        </p:spPr>
        <p:txBody>
          <a:bodyPr/>
          <a:lstStyle>
            <a:lvl1pPr marL="0" indent="0" algn="l">
              <a:buNone/>
              <a:defRPr sz="1600">
                <a:solidFill>
                  <a:srgbClr val="8E71F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extBox 1">
            <a:extLst>
              <a:ext uri="{FF2B5EF4-FFF2-40B4-BE49-F238E27FC236}">
                <a16:creationId xmlns:a16="http://schemas.microsoft.com/office/drawing/2014/main" id="{330CD76F-39F4-0597-9293-243C3018F268}"/>
              </a:ext>
            </a:extLst>
          </p:cNvPr>
          <p:cNvSpPr txBox="1"/>
          <p:nvPr userDrawn="1"/>
        </p:nvSpPr>
        <p:spPr>
          <a:xfrm>
            <a:off x="493288" y="6562481"/>
            <a:ext cx="5293842" cy="107722"/>
          </a:xfrm>
          <a:prstGeom prst="rect">
            <a:avLst/>
          </a:prstGeom>
          <a:noFill/>
        </p:spPr>
        <p:txBody>
          <a:bodyPr wrap="square" lIns="0" tIns="0" rIns="0" bIns="0">
            <a:spAutoFit/>
          </a:bodyPr>
          <a:lstStyle/>
          <a:p>
            <a:r>
              <a:rPr lang="en-US" sz="700">
                <a:solidFill>
                  <a:schemeClr val="tx2"/>
                </a:solidFill>
              </a:rPr>
              <a:t>© 2024 Veeam Software. Confidential information. All rights reserved. All trademarks are the property of their respective owners. </a:t>
            </a:r>
          </a:p>
        </p:txBody>
      </p:sp>
      <p:pic>
        <p:nvPicPr>
          <p:cNvPr id="5" name="Graphic 4">
            <a:extLst>
              <a:ext uri="{FF2B5EF4-FFF2-40B4-BE49-F238E27FC236}">
                <a16:creationId xmlns:a16="http://schemas.microsoft.com/office/drawing/2014/main" id="{2D8D5B56-E424-6128-34B3-388FDEBB2DEC}"/>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180146" y="6513177"/>
            <a:ext cx="516553" cy="157025"/>
          </a:xfrm>
          <a:prstGeom prst="rect">
            <a:avLst/>
          </a:prstGeom>
        </p:spPr>
      </p:pic>
      <p:sp>
        <p:nvSpPr>
          <p:cNvPr id="4" name="Footer Placeholder 66">
            <a:extLst>
              <a:ext uri="{FF2B5EF4-FFF2-40B4-BE49-F238E27FC236}">
                <a16:creationId xmlns:a16="http://schemas.microsoft.com/office/drawing/2014/main" id="{2F59360D-5ED1-6B3A-8664-732FAE5E978A}"/>
              </a:ext>
            </a:extLst>
          </p:cNvPr>
          <p:cNvSpPr>
            <a:spLocks noGrp="1"/>
          </p:cNvSpPr>
          <p:nvPr>
            <p:ph type="ftr" sz="quarter" idx="3"/>
          </p:nvPr>
        </p:nvSpPr>
        <p:spPr>
          <a:xfrm>
            <a:off x="493288" y="6405456"/>
            <a:ext cx="9893725" cy="107722"/>
          </a:xfrm>
          <a:prstGeom prst="rect">
            <a:avLst/>
          </a:prstGeom>
        </p:spPr>
        <p:txBody>
          <a:bodyPr vert="horz" lIns="0" tIns="0" rIns="0" bIns="0" rtlCol="0" anchor="b"/>
          <a:lstStyle>
            <a:lvl1pPr algn="l">
              <a:defRPr sz="700">
                <a:solidFill>
                  <a:schemeClr val="bg1"/>
                </a:solidFill>
              </a:defRPr>
            </a:lvl1pPr>
          </a:lstStyle>
          <a:p>
            <a:endParaRPr lang="en-US"/>
          </a:p>
        </p:txBody>
      </p:sp>
    </p:spTree>
    <p:extLst>
      <p:ext uri="{BB962C8B-B14F-4D97-AF65-F5344CB8AC3E}">
        <p14:creationId xmlns:p14="http://schemas.microsoft.com/office/powerpoint/2010/main" val="39594878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Agenda Dark Alternate">
    <p:bg>
      <p:bgPr>
        <a:solidFill>
          <a:schemeClr val="accent1"/>
        </a:solidFill>
        <a:effectLst/>
      </p:bgPr>
    </p:bg>
    <p:spTree>
      <p:nvGrpSpPr>
        <p:cNvPr id="1" name=""/>
        <p:cNvGrpSpPr/>
        <p:nvPr/>
      </p:nvGrpSpPr>
      <p:grpSpPr>
        <a:xfrm>
          <a:off x="0" y="0"/>
          <a:ext cx="0" cy="0"/>
          <a:chOff x="0" y="0"/>
          <a:chExt cx="0" cy="0"/>
        </a:xfrm>
      </p:grpSpPr>
      <p:sp>
        <p:nvSpPr>
          <p:cNvPr id="4" name="object 2">
            <a:extLst>
              <a:ext uri="{FF2B5EF4-FFF2-40B4-BE49-F238E27FC236}">
                <a16:creationId xmlns:a16="http://schemas.microsoft.com/office/drawing/2014/main" id="{25BE13E2-748B-9B64-4DA0-81DE83E1C334}"/>
              </a:ext>
            </a:extLst>
          </p:cNvPr>
          <p:cNvSpPr/>
          <p:nvPr userDrawn="1"/>
        </p:nvSpPr>
        <p:spPr>
          <a:xfrm>
            <a:off x="542689" y="2076112"/>
            <a:ext cx="543873" cy="543873"/>
          </a:xfrm>
          <a:custGeom>
            <a:avLst/>
            <a:gdLst/>
            <a:ahLst/>
            <a:cxnLst/>
            <a:rect l="l" t="t" r="r" b="b"/>
            <a:pathLst>
              <a:path w="828675" h="828675">
                <a:moveTo>
                  <a:pt x="828121" y="0"/>
                </a:moveTo>
                <a:lnTo>
                  <a:pt x="511712" y="565"/>
                </a:lnTo>
                <a:lnTo>
                  <a:pt x="468206" y="4936"/>
                </a:lnTo>
                <a:lnTo>
                  <a:pt x="426776" y="17574"/>
                </a:lnTo>
                <a:lnTo>
                  <a:pt x="388579" y="37999"/>
                </a:lnTo>
                <a:lnTo>
                  <a:pt x="354774" y="65736"/>
                </a:lnTo>
                <a:lnTo>
                  <a:pt x="65736" y="354774"/>
                </a:lnTo>
                <a:lnTo>
                  <a:pt x="38004" y="388579"/>
                </a:lnTo>
                <a:lnTo>
                  <a:pt x="17577" y="426774"/>
                </a:lnTo>
                <a:lnTo>
                  <a:pt x="4938" y="468201"/>
                </a:lnTo>
                <a:lnTo>
                  <a:pt x="565" y="511701"/>
                </a:lnTo>
                <a:lnTo>
                  <a:pt x="0" y="828110"/>
                </a:lnTo>
                <a:lnTo>
                  <a:pt x="235553" y="828110"/>
                </a:lnTo>
                <a:lnTo>
                  <a:pt x="236087" y="280776"/>
                </a:lnTo>
                <a:lnTo>
                  <a:pt x="239616" y="263356"/>
                </a:lnTo>
                <a:lnTo>
                  <a:pt x="249213" y="249132"/>
                </a:lnTo>
                <a:lnTo>
                  <a:pt x="263438" y="239540"/>
                </a:lnTo>
                <a:lnTo>
                  <a:pt x="280850" y="236013"/>
                </a:lnTo>
                <a:lnTo>
                  <a:pt x="828121" y="235553"/>
                </a:lnTo>
                <a:lnTo>
                  <a:pt x="828121" y="0"/>
                </a:lnTo>
                <a:close/>
              </a:path>
            </a:pathLst>
          </a:custGeom>
          <a:gradFill flip="none" rotWithShape="1">
            <a:gsLst>
              <a:gs pos="0">
                <a:srgbClr val="00824A"/>
              </a:gs>
              <a:gs pos="95413">
                <a:srgbClr val="96FFA1"/>
              </a:gs>
              <a:gs pos="32000">
                <a:srgbClr val="00D05D"/>
              </a:gs>
            </a:gsLst>
            <a:lin ang="8400000" scaled="0"/>
            <a:tileRect/>
          </a:gra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4F5860"/>
              </a:solidFill>
              <a:effectLst/>
              <a:uLnTx/>
              <a:uFillTx/>
            </a:endParaRPr>
          </a:p>
        </p:txBody>
      </p:sp>
      <p:sp>
        <p:nvSpPr>
          <p:cNvPr id="3" name="Title 1">
            <a:extLst>
              <a:ext uri="{FF2B5EF4-FFF2-40B4-BE49-F238E27FC236}">
                <a16:creationId xmlns:a16="http://schemas.microsoft.com/office/drawing/2014/main" id="{743303A9-0E1D-04BA-1142-15F62A5FD1E3}"/>
              </a:ext>
            </a:extLst>
          </p:cNvPr>
          <p:cNvSpPr>
            <a:spLocks noGrp="1"/>
          </p:cNvSpPr>
          <p:nvPr>
            <p:ph type="title" hasCustomPrompt="1"/>
          </p:nvPr>
        </p:nvSpPr>
        <p:spPr>
          <a:xfrm>
            <a:off x="849312" y="2467915"/>
            <a:ext cx="4430065" cy="1232645"/>
          </a:xfrm>
        </p:spPr>
        <p:txBody>
          <a:bodyPr wrap="square" anchor="t">
            <a:noAutofit/>
          </a:bodyPr>
          <a:lstStyle>
            <a:lvl1pPr algn="l">
              <a:defRPr sz="8900" spc="-300">
                <a:solidFill>
                  <a:schemeClr val="bg1"/>
                </a:solidFill>
                <a:latin typeface="+mj-lt"/>
              </a:defRPr>
            </a:lvl1pPr>
          </a:lstStyle>
          <a:p>
            <a:r>
              <a:rPr lang="en-US"/>
              <a:t>Agenda</a:t>
            </a:r>
          </a:p>
        </p:txBody>
      </p:sp>
      <p:sp>
        <p:nvSpPr>
          <p:cNvPr id="5" name="Text Placeholder 6">
            <a:extLst>
              <a:ext uri="{FF2B5EF4-FFF2-40B4-BE49-F238E27FC236}">
                <a16:creationId xmlns:a16="http://schemas.microsoft.com/office/drawing/2014/main" id="{D11EB223-BC68-B891-0859-10B1FA954C7E}"/>
              </a:ext>
            </a:extLst>
          </p:cNvPr>
          <p:cNvSpPr>
            <a:spLocks noGrp="1"/>
          </p:cNvSpPr>
          <p:nvPr>
            <p:ph type="body" sz="quarter" idx="28"/>
          </p:nvPr>
        </p:nvSpPr>
        <p:spPr>
          <a:xfrm>
            <a:off x="6572251" y="688975"/>
            <a:ext cx="5124450" cy="5480050"/>
          </a:xfrm>
        </p:spPr>
        <p:txBody>
          <a:bodyPr anchor="ctr"/>
          <a:lstStyle>
            <a:lvl1pPr marL="346075" indent="-346075">
              <a:lnSpc>
                <a:spcPct val="89000"/>
              </a:lnSpc>
              <a:buClr>
                <a:srgbClr val="8E71F4"/>
              </a:buClr>
              <a:buFont typeface="+mj-lt"/>
              <a:buAutoNum type="arabicPeriod"/>
              <a:defRPr sz="2400">
                <a:solidFill>
                  <a:schemeClr val="bg1"/>
                </a:solidFill>
              </a:defRPr>
            </a:lvl1pPr>
            <a:lvl2pPr marL="228600" indent="0">
              <a:buNone/>
              <a:defRPr>
                <a:solidFill>
                  <a:schemeClr val="bg1"/>
                </a:solidFill>
              </a:defRPr>
            </a:lvl2pPr>
          </a:lstStyle>
          <a:p>
            <a:pPr lvl="0"/>
            <a:r>
              <a:rPr lang="en-US"/>
              <a:t>Click to edit Master text styles</a:t>
            </a:r>
          </a:p>
        </p:txBody>
      </p:sp>
      <p:pic>
        <p:nvPicPr>
          <p:cNvPr id="16" name="Graphic 15">
            <a:extLst>
              <a:ext uri="{FF2B5EF4-FFF2-40B4-BE49-F238E27FC236}">
                <a16:creationId xmlns:a16="http://schemas.microsoft.com/office/drawing/2014/main" id="{903EC9D7-5055-9321-A1CD-B3E7BBB02A84}"/>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180146" y="6513177"/>
            <a:ext cx="516553" cy="157025"/>
          </a:xfrm>
          <a:prstGeom prst="rect">
            <a:avLst/>
          </a:prstGeom>
        </p:spPr>
      </p:pic>
      <p:sp>
        <p:nvSpPr>
          <p:cNvPr id="2" name="TextBox 1">
            <a:extLst>
              <a:ext uri="{FF2B5EF4-FFF2-40B4-BE49-F238E27FC236}">
                <a16:creationId xmlns:a16="http://schemas.microsoft.com/office/drawing/2014/main" id="{9A8C724D-E4C1-B817-C9E7-EFFF71895424}"/>
              </a:ext>
            </a:extLst>
          </p:cNvPr>
          <p:cNvSpPr txBox="1"/>
          <p:nvPr userDrawn="1"/>
        </p:nvSpPr>
        <p:spPr>
          <a:xfrm>
            <a:off x="493288" y="6562481"/>
            <a:ext cx="5293842" cy="107722"/>
          </a:xfrm>
          <a:prstGeom prst="rect">
            <a:avLst/>
          </a:prstGeom>
          <a:noFill/>
        </p:spPr>
        <p:txBody>
          <a:bodyPr wrap="square" lIns="0" tIns="0" rIns="0" bIns="0">
            <a:spAutoFit/>
          </a:bodyPr>
          <a:lstStyle/>
          <a:p>
            <a:r>
              <a:rPr lang="en-US" sz="700">
                <a:solidFill>
                  <a:schemeClr val="bg1"/>
                </a:solidFill>
              </a:rPr>
              <a:t>© 2024 Veeam Software. Confidential information. All rights reserved. All trademarks are the property of their respective owners. </a:t>
            </a:r>
          </a:p>
        </p:txBody>
      </p:sp>
    </p:spTree>
    <p:extLst>
      <p:ext uri="{BB962C8B-B14F-4D97-AF65-F5344CB8AC3E}">
        <p14:creationId xmlns:p14="http://schemas.microsoft.com/office/powerpoint/2010/main" val="2315622540"/>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Summary Viridi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0" name="Freeform: Shape 29">
            <a:extLst>
              <a:ext uri="{FF2B5EF4-FFF2-40B4-BE49-F238E27FC236}">
                <a16:creationId xmlns:a16="http://schemas.microsoft.com/office/drawing/2014/main" id="{FCD9A012-462B-D2A7-903C-6A1DCF439444}"/>
              </a:ext>
            </a:extLst>
          </p:cNvPr>
          <p:cNvSpPr/>
          <p:nvPr userDrawn="1"/>
        </p:nvSpPr>
        <p:spPr>
          <a:xfrm>
            <a:off x="0" y="0"/>
            <a:ext cx="12192000" cy="6858000"/>
          </a:xfrm>
          <a:custGeom>
            <a:avLst/>
            <a:gdLst>
              <a:gd name="connsiteX0" fmla="*/ 0 w 12192000"/>
              <a:gd name="connsiteY0" fmla="*/ 0 h 6858000"/>
              <a:gd name="connsiteX1" fmla="*/ 676842 w 12192000"/>
              <a:gd name="connsiteY1" fmla="*/ 0 h 6858000"/>
              <a:gd name="connsiteX2" fmla="*/ 7250945 w 12192000"/>
              <a:gd name="connsiteY2" fmla="*/ 6573770 h 6858000"/>
              <a:gd name="connsiteX3" fmla="*/ 7600067 w 12192000"/>
              <a:gd name="connsiteY3" fmla="*/ 6718654 h 6858000"/>
              <a:gd name="connsiteX4" fmla="*/ 7601224 w 12192000"/>
              <a:gd name="connsiteY4" fmla="*/ 6719027 h 6858000"/>
              <a:gd name="connsiteX5" fmla="*/ 7601224 w 12192000"/>
              <a:gd name="connsiteY5" fmla="*/ 6718654 h 6858000"/>
              <a:gd name="connsiteX6" fmla="*/ 7950308 w 12192000"/>
              <a:gd name="connsiteY6" fmla="*/ 6574181 h 6858000"/>
              <a:gd name="connsiteX7" fmla="*/ 12192000 w 12192000"/>
              <a:gd name="connsiteY7" fmla="*/ 2332489 h 6858000"/>
              <a:gd name="connsiteX8" fmla="*/ 12192000 w 12192000"/>
              <a:gd name="connsiteY8" fmla="*/ 6858000 h 6858000"/>
              <a:gd name="connsiteX9" fmla="*/ 2825088 w 12192000"/>
              <a:gd name="connsiteY9" fmla="*/ 6858000 h 6858000"/>
              <a:gd name="connsiteX10" fmla="*/ 2665503 w 12192000"/>
              <a:gd name="connsiteY10" fmla="*/ 6713540 h 6858000"/>
              <a:gd name="connsiteX11" fmla="*/ 0 w 12192000"/>
              <a:gd name="connsiteY11" fmla="*/ 404786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0"/>
                </a:moveTo>
                <a:lnTo>
                  <a:pt x="676842" y="0"/>
                </a:lnTo>
                <a:lnTo>
                  <a:pt x="7250945" y="6573770"/>
                </a:lnTo>
                <a:cubicBezTo>
                  <a:pt x="7347409" y="6670236"/>
                  <a:pt x="7473925" y="6718654"/>
                  <a:pt x="7600067" y="6718654"/>
                </a:cubicBezTo>
                <a:lnTo>
                  <a:pt x="7601224" y="6719027"/>
                </a:lnTo>
                <a:lnTo>
                  <a:pt x="7601224" y="6718654"/>
                </a:lnTo>
                <a:cubicBezTo>
                  <a:pt x="7727738" y="6718654"/>
                  <a:pt x="7853881" y="6670236"/>
                  <a:pt x="7950308" y="6574181"/>
                </a:cubicBezTo>
                <a:lnTo>
                  <a:pt x="12192000" y="2332489"/>
                </a:lnTo>
                <a:lnTo>
                  <a:pt x="12192000" y="6858000"/>
                </a:lnTo>
                <a:lnTo>
                  <a:pt x="2825088" y="6858000"/>
                </a:lnTo>
                <a:lnTo>
                  <a:pt x="2665503" y="6713540"/>
                </a:lnTo>
                <a:lnTo>
                  <a:pt x="0" y="4047865"/>
                </a:lnTo>
                <a:close/>
              </a:path>
            </a:pathLst>
          </a:custGeom>
          <a:gradFill flip="none" rotWithShape="1">
            <a:gsLst>
              <a:gs pos="56000">
                <a:srgbClr val="00D05D">
                  <a:lumMod val="60000"/>
                  <a:lumOff val="40000"/>
                  <a:alpha val="12000"/>
                </a:srgbClr>
              </a:gs>
              <a:gs pos="100000">
                <a:srgbClr val="00D05D">
                  <a:lumMod val="60000"/>
                  <a:lumOff val="40000"/>
                </a:srgbClr>
              </a:gs>
            </a:gsLst>
            <a:lin ang="2700000" scaled="1"/>
            <a:tileRect/>
          </a:gradFill>
          <a:ln>
            <a:noFill/>
          </a:ln>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pPr>
            <a:endParaRPr kumimoji="0" lang="en-US" b="0" i="0" u="none" strike="noStrike" kern="0" cap="none" spc="0" normalizeH="0" baseline="0">
              <a:ln>
                <a:noFill/>
              </a:ln>
              <a:solidFill>
                <a:srgbClr val="4F5860"/>
              </a:solidFill>
              <a:effectLst/>
              <a:uLnTx/>
              <a:uFillTx/>
            </a:endParaRPr>
          </a:p>
        </p:txBody>
      </p:sp>
      <p:sp>
        <p:nvSpPr>
          <p:cNvPr id="7" name="TextBox 6">
            <a:extLst>
              <a:ext uri="{FF2B5EF4-FFF2-40B4-BE49-F238E27FC236}">
                <a16:creationId xmlns:a16="http://schemas.microsoft.com/office/drawing/2014/main" id="{8493F21F-4213-B69E-35C2-E06FEA62BD24}"/>
              </a:ext>
            </a:extLst>
          </p:cNvPr>
          <p:cNvSpPr txBox="1"/>
          <p:nvPr userDrawn="1"/>
        </p:nvSpPr>
        <p:spPr>
          <a:xfrm>
            <a:off x="493288" y="6562481"/>
            <a:ext cx="5293842" cy="107722"/>
          </a:xfrm>
          <a:prstGeom prst="rect">
            <a:avLst/>
          </a:prstGeom>
          <a:noFill/>
        </p:spPr>
        <p:txBody>
          <a:bodyPr wrap="square" lIns="0" tIns="0" rIns="0" bIns="0">
            <a:spAutoFit/>
          </a:bodyPr>
          <a:lstStyle/>
          <a:p>
            <a:r>
              <a:rPr lang="en-US" sz="700">
                <a:solidFill>
                  <a:schemeClr val="bg1"/>
                </a:solidFill>
              </a:rPr>
              <a:t>© 2024 Veeam Software. Confidential information. All rights reserved. All trademarks are the property of their respective owners. </a:t>
            </a:r>
          </a:p>
        </p:txBody>
      </p:sp>
      <p:sp>
        <p:nvSpPr>
          <p:cNvPr id="31" name="object 2">
            <a:extLst>
              <a:ext uri="{FF2B5EF4-FFF2-40B4-BE49-F238E27FC236}">
                <a16:creationId xmlns:a16="http://schemas.microsoft.com/office/drawing/2014/main" id="{05A25A4A-FAE7-2D2B-4226-570A975BC54A}"/>
              </a:ext>
            </a:extLst>
          </p:cNvPr>
          <p:cNvSpPr/>
          <p:nvPr userDrawn="1"/>
        </p:nvSpPr>
        <p:spPr>
          <a:xfrm>
            <a:off x="1471879" y="1032627"/>
            <a:ext cx="686638" cy="686636"/>
          </a:xfrm>
          <a:custGeom>
            <a:avLst/>
            <a:gdLst/>
            <a:ahLst/>
            <a:cxnLst/>
            <a:rect l="l" t="t" r="r" b="b"/>
            <a:pathLst>
              <a:path w="828675" h="828675">
                <a:moveTo>
                  <a:pt x="828121" y="0"/>
                </a:moveTo>
                <a:lnTo>
                  <a:pt x="511712" y="565"/>
                </a:lnTo>
                <a:lnTo>
                  <a:pt x="468206" y="4936"/>
                </a:lnTo>
                <a:lnTo>
                  <a:pt x="426776" y="17574"/>
                </a:lnTo>
                <a:lnTo>
                  <a:pt x="388579" y="37999"/>
                </a:lnTo>
                <a:lnTo>
                  <a:pt x="354774" y="65736"/>
                </a:lnTo>
                <a:lnTo>
                  <a:pt x="65736" y="354774"/>
                </a:lnTo>
                <a:lnTo>
                  <a:pt x="38004" y="388579"/>
                </a:lnTo>
                <a:lnTo>
                  <a:pt x="17577" y="426774"/>
                </a:lnTo>
                <a:lnTo>
                  <a:pt x="4938" y="468201"/>
                </a:lnTo>
                <a:lnTo>
                  <a:pt x="565" y="511701"/>
                </a:lnTo>
                <a:lnTo>
                  <a:pt x="0" y="828110"/>
                </a:lnTo>
                <a:lnTo>
                  <a:pt x="235553" y="828110"/>
                </a:lnTo>
                <a:lnTo>
                  <a:pt x="236087" y="280776"/>
                </a:lnTo>
                <a:lnTo>
                  <a:pt x="239616" y="263356"/>
                </a:lnTo>
                <a:lnTo>
                  <a:pt x="249213" y="249132"/>
                </a:lnTo>
                <a:lnTo>
                  <a:pt x="263438" y="239540"/>
                </a:lnTo>
                <a:lnTo>
                  <a:pt x="280850" y="236013"/>
                </a:lnTo>
                <a:lnTo>
                  <a:pt x="828121" y="235553"/>
                </a:lnTo>
                <a:lnTo>
                  <a:pt x="828121" y="0"/>
                </a:lnTo>
                <a:close/>
              </a:path>
            </a:pathLst>
          </a:custGeom>
          <a:solidFill>
            <a:schemeClr val="bg1"/>
          </a:solidFill>
        </p:spPr>
        <p:txBody>
          <a:bodyPr wrap="square" lIns="0" tIns="0" rIns="0" bIns="0" rtlCol="0"/>
          <a:lstStyle/>
          <a:p>
            <a:pPr marR="0" lvl="0" indent="0" fontAlgn="auto">
              <a:lnSpc>
                <a:spcPct val="100000"/>
              </a:lnSpc>
              <a:spcBef>
                <a:spcPts val="0"/>
              </a:spcBef>
              <a:spcAft>
                <a:spcPts val="0"/>
              </a:spcAft>
              <a:buClrTx/>
              <a:buSzTx/>
              <a:buFontTx/>
              <a:buNone/>
              <a:tabLst/>
            </a:pPr>
            <a:endParaRPr kumimoji="0" b="0" i="0" u="none" strike="noStrike" kern="0" cap="none" spc="0" normalizeH="0" baseline="0" noProof="0">
              <a:ln>
                <a:noFill/>
              </a:ln>
              <a:solidFill>
                <a:srgbClr val="4F5860"/>
              </a:solidFill>
              <a:effectLst/>
              <a:uLnTx/>
              <a:uFillTx/>
            </a:endParaRPr>
          </a:p>
        </p:txBody>
      </p:sp>
      <p:sp>
        <p:nvSpPr>
          <p:cNvPr id="2" name="Title 1">
            <a:extLst>
              <a:ext uri="{FF2B5EF4-FFF2-40B4-BE49-F238E27FC236}">
                <a16:creationId xmlns:a16="http://schemas.microsoft.com/office/drawing/2014/main" id="{82FF2371-56CE-DEB1-222E-662031DEDA49}"/>
              </a:ext>
            </a:extLst>
          </p:cNvPr>
          <p:cNvSpPr>
            <a:spLocks noGrp="1"/>
          </p:cNvSpPr>
          <p:nvPr>
            <p:ph type="title"/>
          </p:nvPr>
        </p:nvSpPr>
        <p:spPr>
          <a:xfrm>
            <a:off x="2160588" y="1566659"/>
            <a:ext cx="8583612" cy="3916566"/>
          </a:xfrm>
        </p:spPr>
        <p:txBody>
          <a:bodyPr anchor="t">
            <a:noAutofit/>
          </a:bodyPr>
          <a:lstStyle>
            <a:lvl1pPr>
              <a:lnSpc>
                <a:spcPct val="87000"/>
              </a:lnSpc>
              <a:defRPr lang="en-US" sz="8900" b="0" i="0" kern="1200" dirty="0">
                <a:solidFill>
                  <a:schemeClr val="accent1"/>
                </a:solidFill>
                <a:effectLst/>
                <a:latin typeface="+mj-lt"/>
                <a:ea typeface="ES Build" pitchFamily="2" charset="77"/>
                <a:cs typeface="+mn-cs"/>
              </a:defRPr>
            </a:lvl1pPr>
          </a:lstStyle>
          <a:p>
            <a:r>
              <a:rPr lang="en-US"/>
              <a:t>Click to edit Master title style</a:t>
            </a:r>
          </a:p>
        </p:txBody>
      </p:sp>
      <p:pic>
        <p:nvPicPr>
          <p:cNvPr id="5" name="Graphic 4">
            <a:extLst>
              <a:ext uri="{FF2B5EF4-FFF2-40B4-BE49-F238E27FC236}">
                <a16:creationId xmlns:a16="http://schemas.microsoft.com/office/drawing/2014/main" id="{F459A949-7013-B7FD-5ECA-05984FCBEE8E}"/>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1180146" y="6513177"/>
            <a:ext cx="516553" cy="157025"/>
          </a:xfrm>
          <a:prstGeom prst="rect">
            <a:avLst/>
          </a:prstGeom>
        </p:spPr>
      </p:pic>
    </p:spTree>
    <p:extLst>
      <p:ext uri="{BB962C8B-B14F-4D97-AF65-F5344CB8AC3E}">
        <p14:creationId xmlns:p14="http://schemas.microsoft.com/office/powerpoint/2010/main" val="420629194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Summary Light">
    <p:bg>
      <p:bgPr>
        <a:solidFill>
          <a:schemeClr val="bg1"/>
        </a:solidFill>
        <a:effectLst/>
      </p:bgPr>
    </p:bg>
    <p:spTree>
      <p:nvGrpSpPr>
        <p:cNvPr id="1" name=""/>
        <p:cNvGrpSpPr/>
        <p:nvPr/>
      </p:nvGrpSpPr>
      <p:grpSpPr>
        <a:xfrm>
          <a:off x="0" y="0"/>
          <a:ext cx="0" cy="0"/>
          <a:chOff x="0" y="0"/>
          <a:chExt cx="0" cy="0"/>
        </a:xfrm>
      </p:grpSpPr>
      <p:sp>
        <p:nvSpPr>
          <p:cNvPr id="30" name="Freeform: Shape 29">
            <a:extLst>
              <a:ext uri="{FF2B5EF4-FFF2-40B4-BE49-F238E27FC236}">
                <a16:creationId xmlns:a16="http://schemas.microsoft.com/office/drawing/2014/main" id="{FCD9A012-462B-D2A7-903C-6A1DCF439444}"/>
              </a:ext>
            </a:extLst>
          </p:cNvPr>
          <p:cNvSpPr/>
          <p:nvPr userDrawn="1"/>
        </p:nvSpPr>
        <p:spPr>
          <a:xfrm>
            <a:off x="0" y="0"/>
            <a:ext cx="12192000" cy="6858000"/>
          </a:xfrm>
          <a:custGeom>
            <a:avLst/>
            <a:gdLst>
              <a:gd name="connsiteX0" fmla="*/ 0 w 12192000"/>
              <a:gd name="connsiteY0" fmla="*/ 0 h 6858000"/>
              <a:gd name="connsiteX1" fmla="*/ 676842 w 12192000"/>
              <a:gd name="connsiteY1" fmla="*/ 0 h 6858000"/>
              <a:gd name="connsiteX2" fmla="*/ 7250945 w 12192000"/>
              <a:gd name="connsiteY2" fmla="*/ 6573770 h 6858000"/>
              <a:gd name="connsiteX3" fmla="*/ 7600067 w 12192000"/>
              <a:gd name="connsiteY3" fmla="*/ 6718654 h 6858000"/>
              <a:gd name="connsiteX4" fmla="*/ 7601224 w 12192000"/>
              <a:gd name="connsiteY4" fmla="*/ 6719027 h 6858000"/>
              <a:gd name="connsiteX5" fmla="*/ 7601224 w 12192000"/>
              <a:gd name="connsiteY5" fmla="*/ 6718654 h 6858000"/>
              <a:gd name="connsiteX6" fmla="*/ 7950308 w 12192000"/>
              <a:gd name="connsiteY6" fmla="*/ 6574181 h 6858000"/>
              <a:gd name="connsiteX7" fmla="*/ 12192000 w 12192000"/>
              <a:gd name="connsiteY7" fmla="*/ 2332489 h 6858000"/>
              <a:gd name="connsiteX8" fmla="*/ 12192000 w 12192000"/>
              <a:gd name="connsiteY8" fmla="*/ 6858000 h 6858000"/>
              <a:gd name="connsiteX9" fmla="*/ 2825088 w 12192000"/>
              <a:gd name="connsiteY9" fmla="*/ 6858000 h 6858000"/>
              <a:gd name="connsiteX10" fmla="*/ 2665503 w 12192000"/>
              <a:gd name="connsiteY10" fmla="*/ 6713540 h 6858000"/>
              <a:gd name="connsiteX11" fmla="*/ 0 w 12192000"/>
              <a:gd name="connsiteY11" fmla="*/ 404786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0"/>
                </a:moveTo>
                <a:lnTo>
                  <a:pt x="676842" y="0"/>
                </a:lnTo>
                <a:lnTo>
                  <a:pt x="7250945" y="6573770"/>
                </a:lnTo>
                <a:cubicBezTo>
                  <a:pt x="7347409" y="6670236"/>
                  <a:pt x="7473925" y="6718654"/>
                  <a:pt x="7600067" y="6718654"/>
                </a:cubicBezTo>
                <a:lnTo>
                  <a:pt x="7601224" y="6719027"/>
                </a:lnTo>
                <a:lnTo>
                  <a:pt x="7601224" y="6718654"/>
                </a:lnTo>
                <a:cubicBezTo>
                  <a:pt x="7727738" y="6718654"/>
                  <a:pt x="7853881" y="6670236"/>
                  <a:pt x="7950308" y="6574181"/>
                </a:cubicBezTo>
                <a:lnTo>
                  <a:pt x="12192000" y="2332489"/>
                </a:lnTo>
                <a:lnTo>
                  <a:pt x="12192000" y="6858000"/>
                </a:lnTo>
                <a:lnTo>
                  <a:pt x="2825088" y="6858000"/>
                </a:lnTo>
                <a:lnTo>
                  <a:pt x="2665503" y="6713540"/>
                </a:lnTo>
                <a:lnTo>
                  <a:pt x="0" y="4047865"/>
                </a:lnTo>
                <a:close/>
              </a:path>
            </a:pathLst>
          </a:custGeom>
          <a:gradFill flip="none" rotWithShape="1">
            <a:gsLst>
              <a:gs pos="56000">
                <a:schemeClr val="bg1">
                  <a:lumMod val="95000"/>
                  <a:alpha val="52000"/>
                </a:schemeClr>
              </a:gs>
              <a:gs pos="100000">
                <a:schemeClr val="tx2">
                  <a:lumMod val="40000"/>
                  <a:lumOff val="60000"/>
                  <a:alpha val="54000"/>
                </a:schemeClr>
              </a:gs>
            </a:gsLst>
            <a:lin ang="2700000" scaled="1"/>
            <a:tileRect/>
          </a:gradFill>
          <a:ln>
            <a:noFill/>
          </a:ln>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pPr>
            <a:endParaRPr kumimoji="0" lang="en-US" b="0" i="0" u="none" strike="noStrike" kern="0" cap="none" spc="0" normalizeH="0" baseline="0">
              <a:ln>
                <a:noFill/>
              </a:ln>
              <a:solidFill>
                <a:srgbClr val="4F5860"/>
              </a:solidFill>
              <a:effectLst/>
              <a:uLnTx/>
              <a:uFillTx/>
            </a:endParaRPr>
          </a:p>
        </p:txBody>
      </p:sp>
      <p:sp>
        <p:nvSpPr>
          <p:cNvPr id="3" name="Title 1">
            <a:extLst>
              <a:ext uri="{FF2B5EF4-FFF2-40B4-BE49-F238E27FC236}">
                <a16:creationId xmlns:a16="http://schemas.microsoft.com/office/drawing/2014/main" id="{DE1EFF03-2B6D-DE21-5340-445DA0736492}"/>
              </a:ext>
            </a:extLst>
          </p:cNvPr>
          <p:cNvSpPr>
            <a:spLocks noGrp="1"/>
          </p:cNvSpPr>
          <p:nvPr>
            <p:ph type="title"/>
          </p:nvPr>
        </p:nvSpPr>
        <p:spPr>
          <a:xfrm>
            <a:off x="1447800" y="1719263"/>
            <a:ext cx="9283700" cy="3771899"/>
          </a:xfrm>
        </p:spPr>
        <p:txBody>
          <a:bodyPr anchor="t">
            <a:noAutofit/>
          </a:bodyPr>
          <a:lstStyle>
            <a:lvl1pPr>
              <a:lnSpc>
                <a:spcPct val="87000"/>
              </a:lnSpc>
              <a:defRPr lang="en-US" sz="8900" b="0" i="0" kern="1200" dirty="0">
                <a:solidFill>
                  <a:schemeClr val="accent1"/>
                </a:solidFill>
                <a:effectLst/>
                <a:latin typeface="+mj-lt"/>
                <a:ea typeface="ES Build" pitchFamily="2" charset="77"/>
                <a:cs typeface="+mn-cs"/>
              </a:defRPr>
            </a:lvl1pPr>
          </a:lstStyle>
          <a:p>
            <a:r>
              <a:rPr lang="en-US"/>
              <a:t>Click to edit Master title style</a:t>
            </a:r>
          </a:p>
        </p:txBody>
      </p:sp>
      <p:sp>
        <p:nvSpPr>
          <p:cNvPr id="26" name="object 2">
            <a:extLst>
              <a:ext uri="{FF2B5EF4-FFF2-40B4-BE49-F238E27FC236}">
                <a16:creationId xmlns:a16="http://schemas.microsoft.com/office/drawing/2014/main" id="{37F595A5-0DF7-C3DE-1313-FCCFBFD328CF}"/>
              </a:ext>
            </a:extLst>
          </p:cNvPr>
          <p:cNvSpPr/>
          <p:nvPr userDrawn="1"/>
        </p:nvSpPr>
        <p:spPr>
          <a:xfrm>
            <a:off x="957529" y="1032627"/>
            <a:ext cx="686638" cy="686636"/>
          </a:xfrm>
          <a:custGeom>
            <a:avLst/>
            <a:gdLst/>
            <a:ahLst/>
            <a:cxnLst/>
            <a:rect l="l" t="t" r="r" b="b"/>
            <a:pathLst>
              <a:path w="828675" h="828675">
                <a:moveTo>
                  <a:pt x="828121" y="0"/>
                </a:moveTo>
                <a:lnTo>
                  <a:pt x="511712" y="565"/>
                </a:lnTo>
                <a:lnTo>
                  <a:pt x="468206" y="4936"/>
                </a:lnTo>
                <a:lnTo>
                  <a:pt x="426776" y="17574"/>
                </a:lnTo>
                <a:lnTo>
                  <a:pt x="388579" y="37999"/>
                </a:lnTo>
                <a:lnTo>
                  <a:pt x="354774" y="65736"/>
                </a:lnTo>
                <a:lnTo>
                  <a:pt x="65736" y="354774"/>
                </a:lnTo>
                <a:lnTo>
                  <a:pt x="38004" y="388579"/>
                </a:lnTo>
                <a:lnTo>
                  <a:pt x="17577" y="426774"/>
                </a:lnTo>
                <a:lnTo>
                  <a:pt x="4938" y="468201"/>
                </a:lnTo>
                <a:lnTo>
                  <a:pt x="565" y="511701"/>
                </a:lnTo>
                <a:lnTo>
                  <a:pt x="0" y="828110"/>
                </a:lnTo>
                <a:lnTo>
                  <a:pt x="235553" y="828110"/>
                </a:lnTo>
                <a:lnTo>
                  <a:pt x="236087" y="280776"/>
                </a:lnTo>
                <a:lnTo>
                  <a:pt x="239616" y="263356"/>
                </a:lnTo>
                <a:lnTo>
                  <a:pt x="249213" y="249132"/>
                </a:lnTo>
                <a:lnTo>
                  <a:pt x="263438" y="239540"/>
                </a:lnTo>
                <a:lnTo>
                  <a:pt x="280850" y="236013"/>
                </a:lnTo>
                <a:lnTo>
                  <a:pt x="828121" y="235553"/>
                </a:lnTo>
                <a:lnTo>
                  <a:pt x="828121" y="0"/>
                </a:lnTo>
                <a:close/>
              </a:path>
            </a:pathLst>
          </a:custGeom>
          <a:gradFill flip="none" rotWithShape="1">
            <a:gsLst>
              <a:gs pos="0">
                <a:srgbClr val="00824A"/>
              </a:gs>
              <a:gs pos="95413">
                <a:srgbClr val="96FFA1"/>
              </a:gs>
              <a:gs pos="32000">
                <a:srgbClr val="00D05D"/>
              </a:gs>
            </a:gsLst>
            <a:lin ang="8400000" scaled="0"/>
            <a:tileRect/>
          </a:gradFill>
        </p:spPr>
        <p:txBody>
          <a:bodyPr wrap="square" lIns="0" tIns="0" rIns="0" bIns="0" rtlCol="0"/>
          <a:lstStyle/>
          <a:p>
            <a:pPr marR="0" lvl="0" indent="0" fontAlgn="auto">
              <a:lnSpc>
                <a:spcPct val="100000"/>
              </a:lnSpc>
              <a:spcBef>
                <a:spcPts val="0"/>
              </a:spcBef>
              <a:spcAft>
                <a:spcPts val="0"/>
              </a:spcAft>
              <a:buClrTx/>
              <a:buSzTx/>
              <a:buFontTx/>
              <a:buNone/>
              <a:tabLst/>
            </a:pPr>
            <a:endParaRPr kumimoji="0" b="0" i="0" u="none" strike="noStrike" kern="0" cap="none" spc="0" normalizeH="0" baseline="0" noProof="0">
              <a:ln>
                <a:noFill/>
              </a:ln>
              <a:solidFill>
                <a:srgbClr val="4F5860"/>
              </a:solidFill>
              <a:effectLst/>
              <a:uLnTx/>
              <a:uFillTx/>
            </a:endParaRPr>
          </a:p>
        </p:txBody>
      </p:sp>
      <p:sp>
        <p:nvSpPr>
          <p:cNvPr id="7" name="TextBox 6">
            <a:extLst>
              <a:ext uri="{FF2B5EF4-FFF2-40B4-BE49-F238E27FC236}">
                <a16:creationId xmlns:a16="http://schemas.microsoft.com/office/drawing/2014/main" id="{8493F21F-4213-B69E-35C2-E06FEA62BD24}"/>
              </a:ext>
            </a:extLst>
          </p:cNvPr>
          <p:cNvSpPr txBox="1"/>
          <p:nvPr userDrawn="1"/>
        </p:nvSpPr>
        <p:spPr>
          <a:xfrm>
            <a:off x="493288" y="6562481"/>
            <a:ext cx="5293842" cy="107722"/>
          </a:xfrm>
          <a:prstGeom prst="rect">
            <a:avLst/>
          </a:prstGeom>
          <a:noFill/>
        </p:spPr>
        <p:txBody>
          <a:bodyPr wrap="square" lIns="0" tIns="0" rIns="0" bIns="0">
            <a:spAutoFit/>
          </a:bodyPr>
          <a:lstStyle/>
          <a:p>
            <a:r>
              <a:rPr lang="en-US" sz="700">
                <a:solidFill>
                  <a:schemeClr val="tx2"/>
                </a:solidFill>
              </a:rPr>
              <a:t>© 2024 Veeam Software. Confidential information. All rights reserved. All trademarks are the property of their respective owners. </a:t>
            </a:r>
          </a:p>
        </p:txBody>
      </p:sp>
      <p:pic>
        <p:nvPicPr>
          <p:cNvPr id="5" name="Graphic 4">
            <a:extLst>
              <a:ext uri="{FF2B5EF4-FFF2-40B4-BE49-F238E27FC236}">
                <a16:creationId xmlns:a16="http://schemas.microsoft.com/office/drawing/2014/main" id="{6D5C35FF-E3DB-6882-28B9-2E52ED586C02}"/>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180146" y="6513177"/>
            <a:ext cx="516553" cy="157025"/>
          </a:xfrm>
          <a:prstGeom prst="rect">
            <a:avLst/>
          </a:prstGeom>
        </p:spPr>
      </p:pic>
    </p:spTree>
    <p:extLst>
      <p:ext uri="{BB962C8B-B14F-4D97-AF65-F5344CB8AC3E}">
        <p14:creationId xmlns:p14="http://schemas.microsoft.com/office/powerpoint/2010/main" val="310776176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Summary Light">
    <p:bg>
      <p:bgPr>
        <a:solidFill>
          <a:schemeClr val="bg1"/>
        </a:solidFill>
        <a:effectLst/>
      </p:bgPr>
    </p:bg>
    <p:spTree>
      <p:nvGrpSpPr>
        <p:cNvPr id="1" name=""/>
        <p:cNvGrpSpPr/>
        <p:nvPr/>
      </p:nvGrpSpPr>
      <p:grpSpPr>
        <a:xfrm>
          <a:off x="0" y="0"/>
          <a:ext cx="0" cy="0"/>
          <a:chOff x="0" y="0"/>
          <a:chExt cx="0" cy="0"/>
        </a:xfrm>
      </p:grpSpPr>
      <p:sp>
        <p:nvSpPr>
          <p:cNvPr id="30" name="Freeform: Shape 29">
            <a:extLst>
              <a:ext uri="{FF2B5EF4-FFF2-40B4-BE49-F238E27FC236}">
                <a16:creationId xmlns:a16="http://schemas.microsoft.com/office/drawing/2014/main" id="{FCD9A012-462B-D2A7-903C-6A1DCF439444}"/>
              </a:ext>
            </a:extLst>
          </p:cNvPr>
          <p:cNvSpPr/>
          <p:nvPr userDrawn="1"/>
        </p:nvSpPr>
        <p:spPr>
          <a:xfrm>
            <a:off x="0" y="0"/>
            <a:ext cx="12192000" cy="6858000"/>
          </a:xfrm>
          <a:custGeom>
            <a:avLst/>
            <a:gdLst>
              <a:gd name="connsiteX0" fmla="*/ 0 w 12192000"/>
              <a:gd name="connsiteY0" fmla="*/ 0 h 6858000"/>
              <a:gd name="connsiteX1" fmla="*/ 676842 w 12192000"/>
              <a:gd name="connsiteY1" fmla="*/ 0 h 6858000"/>
              <a:gd name="connsiteX2" fmla="*/ 7250945 w 12192000"/>
              <a:gd name="connsiteY2" fmla="*/ 6573770 h 6858000"/>
              <a:gd name="connsiteX3" fmla="*/ 7600067 w 12192000"/>
              <a:gd name="connsiteY3" fmla="*/ 6718654 h 6858000"/>
              <a:gd name="connsiteX4" fmla="*/ 7601224 w 12192000"/>
              <a:gd name="connsiteY4" fmla="*/ 6719027 h 6858000"/>
              <a:gd name="connsiteX5" fmla="*/ 7601224 w 12192000"/>
              <a:gd name="connsiteY5" fmla="*/ 6718654 h 6858000"/>
              <a:gd name="connsiteX6" fmla="*/ 7950308 w 12192000"/>
              <a:gd name="connsiteY6" fmla="*/ 6574181 h 6858000"/>
              <a:gd name="connsiteX7" fmla="*/ 12192000 w 12192000"/>
              <a:gd name="connsiteY7" fmla="*/ 2332489 h 6858000"/>
              <a:gd name="connsiteX8" fmla="*/ 12192000 w 12192000"/>
              <a:gd name="connsiteY8" fmla="*/ 6858000 h 6858000"/>
              <a:gd name="connsiteX9" fmla="*/ 2825088 w 12192000"/>
              <a:gd name="connsiteY9" fmla="*/ 6858000 h 6858000"/>
              <a:gd name="connsiteX10" fmla="*/ 2665503 w 12192000"/>
              <a:gd name="connsiteY10" fmla="*/ 6713540 h 6858000"/>
              <a:gd name="connsiteX11" fmla="*/ 0 w 12192000"/>
              <a:gd name="connsiteY11" fmla="*/ 404786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0"/>
                </a:moveTo>
                <a:lnTo>
                  <a:pt x="676842" y="0"/>
                </a:lnTo>
                <a:lnTo>
                  <a:pt x="7250945" y="6573770"/>
                </a:lnTo>
                <a:cubicBezTo>
                  <a:pt x="7347409" y="6670236"/>
                  <a:pt x="7473925" y="6718654"/>
                  <a:pt x="7600067" y="6718654"/>
                </a:cubicBezTo>
                <a:lnTo>
                  <a:pt x="7601224" y="6719027"/>
                </a:lnTo>
                <a:lnTo>
                  <a:pt x="7601224" y="6718654"/>
                </a:lnTo>
                <a:cubicBezTo>
                  <a:pt x="7727738" y="6718654"/>
                  <a:pt x="7853881" y="6670236"/>
                  <a:pt x="7950308" y="6574181"/>
                </a:cubicBezTo>
                <a:lnTo>
                  <a:pt x="12192000" y="2332489"/>
                </a:lnTo>
                <a:lnTo>
                  <a:pt x="12192000" y="6858000"/>
                </a:lnTo>
                <a:lnTo>
                  <a:pt x="2825088" y="6858000"/>
                </a:lnTo>
                <a:lnTo>
                  <a:pt x="2665503" y="6713540"/>
                </a:lnTo>
                <a:lnTo>
                  <a:pt x="0" y="4047865"/>
                </a:lnTo>
                <a:close/>
              </a:path>
            </a:pathLst>
          </a:custGeom>
          <a:gradFill flip="none" rotWithShape="1">
            <a:gsLst>
              <a:gs pos="56000">
                <a:schemeClr val="bg1">
                  <a:lumMod val="95000"/>
                  <a:alpha val="52000"/>
                </a:schemeClr>
              </a:gs>
              <a:gs pos="100000">
                <a:schemeClr val="tx2">
                  <a:lumMod val="40000"/>
                  <a:lumOff val="60000"/>
                  <a:alpha val="54000"/>
                </a:schemeClr>
              </a:gs>
            </a:gsLst>
            <a:lin ang="2700000" scaled="1"/>
            <a:tileRect/>
          </a:gradFill>
          <a:ln>
            <a:noFill/>
          </a:ln>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pPr>
            <a:endParaRPr kumimoji="0" lang="en-US" b="0" i="0" u="none" strike="noStrike" kern="0" cap="none" spc="0" normalizeH="0" baseline="0">
              <a:ln>
                <a:noFill/>
              </a:ln>
              <a:solidFill>
                <a:srgbClr val="4F5860"/>
              </a:solidFill>
              <a:effectLst/>
              <a:uLnTx/>
              <a:uFillTx/>
            </a:endParaRPr>
          </a:p>
        </p:txBody>
      </p:sp>
      <p:sp>
        <p:nvSpPr>
          <p:cNvPr id="3" name="Title 1">
            <a:extLst>
              <a:ext uri="{FF2B5EF4-FFF2-40B4-BE49-F238E27FC236}">
                <a16:creationId xmlns:a16="http://schemas.microsoft.com/office/drawing/2014/main" id="{DE1EFF03-2B6D-DE21-5340-445DA0736492}"/>
              </a:ext>
            </a:extLst>
          </p:cNvPr>
          <p:cNvSpPr>
            <a:spLocks noGrp="1"/>
          </p:cNvSpPr>
          <p:nvPr>
            <p:ph type="title"/>
          </p:nvPr>
        </p:nvSpPr>
        <p:spPr>
          <a:xfrm>
            <a:off x="2133600" y="1719263"/>
            <a:ext cx="8597900" cy="3771899"/>
          </a:xfrm>
        </p:spPr>
        <p:txBody>
          <a:bodyPr anchor="t">
            <a:noAutofit/>
          </a:bodyPr>
          <a:lstStyle>
            <a:lvl1pPr>
              <a:lnSpc>
                <a:spcPct val="87000"/>
              </a:lnSpc>
              <a:defRPr lang="en-US" sz="8900" b="0" i="0" kern="1200" dirty="0">
                <a:solidFill>
                  <a:schemeClr val="accent1"/>
                </a:solidFill>
                <a:effectLst/>
                <a:latin typeface="+mj-lt"/>
                <a:ea typeface="ES Build" pitchFamily="2" charset="77"/>
                <a:cs typeface="+mn-cs"/>
              </a:defRPr>
            </a:lvl1pPr>
          </a:lstStyle>
          <a:p>
            <a:r>
              <a:rPr lang="en-US"/>
              <a:t>Click to edit Master title style</a:t>
            </a:r>
          </a:p>
        </p:txBody>
      </p:sp>
      <p:sp>
        <p:nvSpPr>
          <p:cNvPr id="7" name="TextBox 6">
            <a:extLst>
              <a:ext uri="{FF2B5EF4-FFF2-40B4-BE49-F238E27FC236}">
                <a16:creationId xmlns:a16="http://schemas.microsoft.com/office/drawing/2014/main" id="{8493F21F-4213-B69E-35C2-E06FEA62BD24}"/>
              </a:ext>
            </a:extLst>
          </p:cNvPr>
          <p:cNvSpPr txBox="1"/>
          <p:nvPr userDrawn="1"/>
        </p:nvSpPr>
        <p:spPr>
          <a:xfrm>
            <a:off x="493288" y="6562481"/>
            <a:ext cx="5293842" cy="107722"/>
          </a:xfrm>
          <a:prstGeom prst="rect">
            <a:avLst/>
          </a:prstGeom>
          <a:noFill/>
        </p:spPr>
        <p:txBody>
          <a:bodyPr wrap="square" lIns="0" tIns="0" rIns="0" bIns="0">
            <a:spAutoFit/>
          </a:bodyPr>
          <a:lstStyle/>
          <a:p>
            <a:r>
              <a:rPr lang="en-US" sz="700">
                <a:solidFill>
                  <a:schemeClr val="tx2"/>
                </a:solidFill>
              </a:rPr>
              <a:t>© 2024 Veeam Software. Confidential information. All rights reserved. All trademarks are the property of their respective owners. </a:t>
            </a:r>
          </a:p>
        </p:txBody>
      </p:sp>
      <p:pic>
        <p:nvPicPr>
          <p:cNvPr id="5" name="Graphic 4">
            <a:extLst>
              <a:ext uri="{FF2B5EF4-FFF2-40B4-BE49-F238E27FC236}">
                <a16:creationId xmlns:a16="http://schemas.microsoft.com/office/drawing/2014/main" id="{6D5C35FF-E3DB-6882-28B9-2E52ED586C02}"/>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180146" y="6513177"/>
            <a:ext cx="516553" cy="157025"/>
          </a:xfrm>
          <a:prstGeom prst="rect">
            <a:avLst/>
          </a:prstGeom>
        </p:spPr>
      </p:pic>
    </p:spTree>
    <p:extLst>
      <p:ext uri="{BB962C8B-B14F-4D97-AF65-F5344CB8AC3E}">
        <p14:creationId xmlns:p14="http://schemas.microsoft.com/office/powerpoint/2010/main" val="122610713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hank You w/Content">
    <p:bg>
      <p:bgPr>
        <a:solidFill>
          <a:schemeClr val="bg1"/>
        </a:solidFill>
        <a:effectLst/>
      </p:bgPr>
    </p:bg>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EB58D252-253C-859A-753B-BE0222265903}"/>
              </a:ext>
            </a:extLst>
          </p:cNvPr>
          <p:cNvSpPr>
            <a:spLocks noChangeAspect="1"/>
          </p:cNvSpPr>
          <p:nvPr userDrawn="1"/>
        </p:nvSpPr>
        <p:spPr>
          <a:xfrm rot="5400000">
            <a:off x="610984" y="416914"/>
            <a:ext cx="5829301" cy="7051271"/>
          </a:xfrm>
          <a:custGeom>
            <a:avLst/>
            <a:gdLst>
              <a:gd name="connsiteX0" fmla="*/ 0 w 6858000"/>
              <a:gd name="connsiteY0" fmla="*/ 6475591 h 8295611"/>
              <a:gd name="connsiteX1" fmla="*/ 0 w 6858000"/>
              <a:gd name="connsiteY1" fmla="*/ 0 h 8295611"/>
              <a:gd name="connsiteX2" fmla="*/ 5037655 w 6858000"/>
              <a:gd name="connsiteY2" fmla="*/ 0 h 8295611"/>
              <a:gd name="connsiteX3" fmla="*/ 5597611 w 6858000"/>
              <a:gd name="connsiteY3" fmla="*/ 231852 h 8295611"/>
              <a:gd name="connsiteX4" fmla="*/ 6626148 w 6858000"/>
              <a:gd name="connsiteY4" fmla="*/ 1260390 h 8295611"/>
              <a:gd name="connsiteX5" fmla="*/ 6858000 w 6858000"/>
              <a:gd name="connsiteY5" fmla="*/ 1820346 h 8295611"/>
              <a:gd name="connsiteX6" fmla="*/ 6858000 w 6858000"/>
              <a:gd name="connsiteY6" fmla="*/ 8295611 h 8295611"/>
              <a:gd name="connsiteX7" fmla="*/ 1820020 w 6858000"/>
              <a:gd name="connsiteY7" fmla="*/ 8295611 h 8295611"/>
              <a:gd name="connsiteX8" fmla="*/ 1260389 w 6858000"/>
              <a:gd name="connsiteY8" fmla="*/ 8063759 h 8295611"/>
              <a:gd name="connsiteX9" fmla="*/ 231852 w 6858000"/>
              <a:gd name="connsiteY9" fmla="*/ 7035547 h 8295611"/>
              <a:gd name="connsiteX10" fmla="*/ 0 w 6858000"/>
              <a:gd name="connsiteY10" fmla="*/ 6475591 h 8295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58000" h="8295611">
                <a:moveTo>
                  <a:pt x="0" y="6475591"/>
                </a:moveTo>
                <a:lnTo>
                  <a:pt x="0" y="0"/>
                </a:lnTo>
                <a:lnTo>
                  <a:pt x="5037655" y="0"/>
                </a:lnTo>
                <a:cubicBezTo>
                  <a:pt x="5247720" y="0"/>
                  <a:pt x="5449005" y="83246"/>
                  <a:pt x="5597611" y="231852"/>
                </a:cubicBezTo>
                <a:cubicBezTo>
                  <a:pt x="5972216" y="606457"/>
                  <a:pt x="6251544" y="885785"/>
                  <a:pt x="6626148" y="1260390"/>
                </a:cubicBezTo>
                <a:cubicBezTo>
                  <a:pt x="6774430" y="1408996"/>
                  <a:pt x="6858000" y="1610281"/>
                  <a:pt x="6858000" y="1820346"/>
                </a:cubicBezTo>
                <a:lnTo>
                  <a:pt x="6858000" y="8295611"/>
                </a:lnTo>
                <a:lnTo>
                  <a:pt x="1820020" y="8295611"/>
                </a:lnTo>
                <a:cubicBezTo>
                  <a:pt x="1610281" y="8295611"/>
                  <a:pt x="1408670" y="8212040"/>
                  <a:pt x="1260389" y="8063759"/>
                </a:cubicBezTo>
                <a:cubicBezTo>
                  <a:pt x="885784" y="7689154"/>
                  <a:pt x="606457" y="7409827"/>
                  <a:pt x="231852" y="7035547"/>
                </a:cubicBezTo>
                <a:cubicBezTo>
                  <a:pt x="83571" y="6886941"/>
                  <a:pt x="0" y="6685656"/>
                  <a:pt x="0" y="6475591"/>
                </a:cubicBezTo>
                <a:close/>
              </a:path>
            </a:pathLst>
          </a:custGeom>
          <a:blipFill>
            <a:blip r:embed="rId2"/>
            <a:stretch>
              <a:fillRect/>
            </a:stretch>
          </a:blipFill>
          <a:ln w="10186" cap="flat">
            <a:noFill/>
            <a:prstDash val="solid"/>
            <a:miter/>
          </a:ln>
        </p:spPr>
        <p:txBody>
          <a:bodyPr wrap="square" rtlCol="0" anchor="ctr">
            <a:noAutofit/>
          </a:bodyPr>
          <a:lstStyle/>
          <a:p>
            <a:endParaRPr lang="en-US"/>
          </a:p>
        </p:txBody>
      </p:sp>
      <p:sp>
        <p:nvSpPr>
          <p:cNvPr id="4" name="Subtitle 2">
            <a:extLst>
              <a:ext uri="{FF2B5EF4-FFF2-40B4-BE49-F238E27FC236}">
                <a16:creationId xmlns:a16="http://schemas.microsoft.com/office/drawing/2014/main" id="{D23A6BD4-B62E-6382-6798-23111C2BB9C5}"/>
              </a:ext>
            </a:extLst>
          </p:cNvPr>
          <p:cNvSpPr>
            <a:spLocks noGrp="1"/>
          </p:cNvSpPr>
          <p:nvPr>
            <p:ph type="subTitle" idx="1"/>
          </p:nvPr>
        </p:nvSpPr>
        <p:spPr>
          <a:xfrm>
            <a:off x="8025930" y="2823583"/>
            <a:ext cx="3670770" cy="1288042"/>
          </a:xfrm>
        </p:spPr>
        <p:txBody>
          <a:bodyPr/>
          <a:lstStyle>
            <a:lvl1pPr marL="0" indent="0" algn="l" defTabSz="914400" rtl="0" eaLnBrk="1" latinLnBrk="0" hangingPunct="1">
              <a:lnSpc>
                <a:spcPct val="85000"/>
              </a:lnSpc>
              <a:buNone/>
              <a:defRPr lang="en-US" sz="3400" kern="1200" dirty="0">
                <a:solidFill>
                  <a:schemeClr val="tx1"/>
                </a:solidFill>
                <a:latin typeface="+mj-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Picture Placeholder 5">
            <a:extLst>
              <a:ext uri="{FF2B5EF4-FFF2-40B4-BE49-F238E27FC236}">
                <a16:creationId xmlns:a16="http://schemas.microsoft.com/office/drawing/2014/main" id="{AE04F211-AE71-BEF3-3FB3-6D28A2D78064}"/>
              </a:ext>
            </a:extLst>
          </p:cNvPr>
          <p:cNvSpPr>
            <a:spLocks noGrp="1"/>
          </p:cNvSpPr>
          <p:nvPr>
            <p:ph type="pic" sz="quarter" idx="10" hasCustomPrompt="1"/>
          </p:nvPr>
        </p:nvSpPr>
        <p:spPr>
          <a:xfrm>
            <a:off x="8126631" y="4533160"/>
            <a:ext cx="969264" cy="969264"/>
          </a:xfrm>
          <a:prstGeom prst="roundRect">
            <a:avLst>
              <a:gd name="adj" fmla="val 10879"/>
            </a:avLst>
          </a:prstGeom>
          <a:ln>
            <a:solidFill>
              <a:schemeClr val="bg2">
                <a:lumMod val="90000"/>
              </a:schemeClr>
            </a:solidFill>
          </a:ln>
        </p:spPr>
        <p:txBody>
          <a:bodyPr/>
          <a:lstStyle>
            <a:lvl1pPr algn="ctr">
              <a:defRPr sz="1400">
                <a:solidFill>
                  <a:schemeClr val="accent1"/>
                </a:solidFill>
              </a:defRPr>
            </a:lvl1pPr>
          </a:lstStyle>
          <a:p>
            <a:r>
              <a:rPr lang="en-US"/>
              <a:t>Insert QR Code</a:t>
            </a:r>
          </a:p>
        </p:txBody>
      </p:sp>
      <p:pic>
        <p:nvPicPr>
          <p:cNvPr id="26" name="Graphic 25">
            <a:extLst>
              <a:ext uri="{FF2B5EF4-FFF2-40B4-BE49-F238E27FC236}">
                <a16:creationId xmlns:a16="http://schemas.microsoft.com/office/drawing/2014/main" id="{6831001F-6EB7-EF34-88CE-32366BB7840A}"/>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8118012" y="2012807"/>
            <a:ext cx="1660169" cy="504671"/>
          </a:xfrm>
          <a:prstGeom prst="rect">
            <a:avLst/>
          </a:prstGeom>
        </p:spPr>
      </p:pic>
      <p:sp>
        <p:nvSpPr>
          <p:cNvPr id="43" name="Title 1">
            <a:extLst>
              <a:ext uri="{FF2B5EF4-FFF2-40B4-BE49-F238E27FC236}">
                <a16:creationId xmlns:a16="http://schemas.microsoft.com/office/drawing/2014/main" id="{A9A0AE45-DA56-6D1B-4948-25C84CB6E76D}"/>
              </a:ext>
            </a:extLst>
          </p:cNvPr>
          <p:cNvSpPr>
            <a:spLocks noGrp="1"/>
          </p:cNvSpPr>
          <p:nvPr>
            <p:ph type="title" hasCustomPrompt="1"/>
          </p:nvPr>
        </p:nvSpPr>
        <p:spPr>
          <a:xfrm>
            <a:off x="1206507" y="1711325"/>
            <a:ext cx="5365743" cy="3456860"/>
          </a:xfrm>
        </p:spPr>
        <p:txBody>
          <a:bodyPr anchor="ctr">
            <a:noAutofit/>
          </a:bodyPr>
          <a:lstStyle>
            <a:lvl1pPr>
              <a:lnSpc>
                <a:spcPct val="73000"/>
              </a:lnSpc>
              <a:defRPr sz="8900">
                <a:solidFill>
                  <a:schemeClr val="accent1"/>
                </a:solidFill>
              </a:defRPr>
            </a:lvl1pPr>
          </a:lstStyle>
          <a:p>
            <a:r>
              <a:rPr lang="en-US"/>
              <a:t>Click to edit title</a:t>
            </a:r>
          </a:p>
        </p:txBody>
      </p:sp>
      <p:pic>
        <p:nvPicPr>
          <p:cNvPr id="14" name="Picture 13">
            <a:hlinkClick r:id="rId5"/>
            <a:extLst>
              <a:ext uri="{FF2B5EF4-FFF2-40B4-BE49-F238E27FC236}">
                <a16:creationId xmlns:a16="http://schemas.microsoft.com/office/drawing/2014/main" id="{5F3C8143-545D-7556-761A-AFD7845BC65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369458" y="5893254"/>
            <a:ext cx="355199" cy="274320"/>
          </a:xfrm>
          <a:prstGeom prst="rect">
            <a:avLst/>
          </a:prstGeom>
        </p:spPr>
      </p:pic>
      <p:sp>
        <p:nvSpPr>
          <p:cNvPr id="15" name="TextBox 14">
            <a:extLst>
              <a:ext uri="{FF2B5EF4-FFF2-40B4-BE49-F238E27FC236}">
                <a16:creationId xmlns:a16="http://schemas.microsoft.com/office/drawing/2014/main" id="{C6C1278E-146D-F8E3-A956-9DDEBB42775E}"/>
              </a:ext>
            </a:extLst>
          </p:cNvPr>
          <p:cNvSpPr txBox="1"/>
          <p:nvPr userDrawn="1"/>
        </p:nvSpPr>
        <p:spPr>
          <a:xfrm>
            <a:off x="510677" y="5464171"/>
            <a:ext cx="1241070" cy="246221"/>
          </a:xfrm>
          <a:prstGeom prst="rect">
            <a:avLst/>
          </a:prstGeom>
          <a:noFill/>
        </p:spPr>
        <p:txBody>
          <a:bodyPr wrap="square" lIns="0" tIns="0" rIns="0" bIns="0">
            <a:spAutoFit/>
          </a:bodyPr>
          <a:lstStyle/>
          <a:p>
            <a:r>
              <a:rPr lang="en-US" sz="1600" b="0" i="0">
                <a:solidFill>
                  <a:schemeClr val="bg1"/>
                </a:solidFill>
                <a:effectLst/>
                <a:latin typeface="+mn-lt"/>
                <a:ea typeface="ES Build" pitchFamily="2" charset="77"/>
              </a:rPr>
              <a:t>Follow us!</a:t>
            </a:r>
            <a:endParaRPr lang="en-US" sz="1600">
              <a:solidFill>
                <a:schemeClr val="bg1"/>
              </a:solidFill>
              <a:latin typeface="+mn-lt"/>
              <a:ea typeface="ES Build" pitchFamily="2" charset="77"/>
            </a:endParaRPr>
          </a:p>
        </p:txBody>
      </p:sp>
      <p:cxnSp>
        <p:nvCxnSpPr>
          <p:cNvPr id="25" name="Straight Connector 24">
            <a:extLst>
              <a:ext uri="{FF2B5EF4-FFF2-40B4-BE49-F238E27FC236}">
                <a16:creationId xmlns:a16="http://schemas.microsoft.com/office/drawing/2014/main" id="{BF3C9D8D-3255-B440-1B5C-A97425D015C5}"/>
              </a:ext>
            </a:extLst>
          </p:cNvPr>
          <p:cNvCxnSpPr/>
          <p:nvPr userDrawn="1"/>
        </p:nvCxnSpPr>
        <p:spPr>
          <a:xfrm>
            <a:off x="3089964" y="5526724"/>
            <a:ext cx="0" cy="678583"/>
          </a:xfrm>
          <a:prstGeom prst="line">
            <a:avLst/>
          </a:prstGeom>
          <a:ln w="12700" cap="rnd">
            <a:solidFill>
              <a:schemeClr val="bg1"/>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6C50FA6-9946-FA77-E13C-D72F7A552200}"/>
              </a:ext>
            </a:extLst>
          </p:cNvPr>
          <p:cNvSpPr txBox="1"/>
          <p:nvPr userDrawn="1"/>
        </p:nvSpPr>
        <p:spPr>
          <a:xfrm>
            <a:off x="3370214" y="5464171"/>
            <a:ext cx="2434962" cy="246221"/>
          </a:xfrm>
          <a:prstGeom prst="rect">
            <a:avLst/>
          </a:prstGeom>
          <a:noFill/>
        </p:spPr>
        <p:txBody>
          <a:bodyPr wrap="square" lIns="0" tIns="0" rIns="0" bIns="0">
            <a:spAutoFit/>
          </a:bodyPr>
          <a:lstStyle>
            <a:defPPr>
              <a:defRPr lang="en-US"/>
            </a:defPPr>
            <a:lvl1pPr>
              <a:defRPr sz="1600" b="0" i="0">
                <a:solidFill>
                  <a:schemeClr val="bg1"/>
                </a:solidFill>
                <a:effectLst/>
                <a:ea typeface="ES Build" pitchFamily="2" charset="77"/>
              </a:defRPr>
            </a:lvl1pPr>
          </a:lstStyle>
          <a:p>
            <a:r>
              <a:rPr lang="en-US"/>
              <a:t>Join the community hub:</a:t>
            </a:r>
          </a:p>
        </p:txBody>
      </p:sp>
      <p:sp>
        <p:nvSpPr>
          <p:cNvPr id="42" name="TextBox 41">
            <a:extLst>
              <a:ext uri="{FF2B5EF4-FFF2-40B4-BE49-F238E27FC236}">
                <a16:creationId xmlns:a16="http://schemas.microsoft.com/office/drawing/2014/main" id="{4DB5F8FA-A005-0310-0645-EF5DF183C696}"/>
              </a:ext>
            </a:extLst>
          </p:cNvPr>
          <p:cNvSpPr txBox="1"/>
          <p:nvPr userDrawn="1"/>
        </p:nvSpPr>
        <p:spPr>
          <a:xfrm>
            <a:off x="493288" y="6562481"/>
            <a:ext cx="5293842" cy="107722"/>
          </a:xfrm>
          <a:prstGeom prst="rect">
            <a:avLst/>
          </a:prstGeom>
          <a:noFill/>
        </p:spPr>
        <p:txBody>
          <a:bodyPr wrap="square" lIns="0" tIns="0" rIns="0" bIns="0">
            <a:spAutoFit/>
          </a:bodyPr>
          <a:lstStyle/>
          <a:p>
            <a:r>
              <a:rPr lang="en-US" sz="700">
                <a:solidFill>
                  <a:schemeClr val="bg1"/>
                </a:solidFill>
              </a:rPr>
              <a:t>© 2024 Veeam Software. Confidential information. All rights reserved. All trademarks are the property of their respective owners. </a:t>
            </a:r>
          </a:p>
        </p:txBody>
      </p:sp>
      <p:sp>
        <p:nvSpPr>
          <p:cNvPr id="2" name="Freeform 5">
            <a:hlinkClick r:id="rId7"/>
            <a:extLst>
              <a:ext uri="{FF2B5EF4-FFF2-40B4-BE49-F238E27FC236}">
                <a16:creationId xmlns:a16="http://schemas.microsoft.com/office/drawing/2014/main" id="{B2CA37FA-31FD-0DDA-8DA8-A9D959FBB564}"/>
              </a:ext>
            </a:extLst>
          </p:cNvPr>
          <p:cNvSpPr>
            <a:spLocks/>
          </p:cNvSpPr>
          <p:nvPr userDrawn="1"/>
        </p:nvSpPr>
        <p:spPr bwMode="gray">
          <a:xfrm>
            <a:off x="1087489" y="5895294"/>
            <a:ext cx="127593" cy="275200"/>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ES Build" pitchFamily="50" charset="0"/>
              <a:ea typeface="+mn-ea"/>
              <a:cs typeface="+mn-cs"/>
            </a:endParaRPr>
          </a:p>
        </p:txBody>
      </p:sp>
      <p:grpSp>
        <p:nvGrpSpPr>
          <p:cNvPr id="3" name="Group 4">
            <a:extLst>
              <a:ext uri="{FF2B5EF4-FFF2-40B4-BE49-F238E27FC236}">
                <a16:creationId xmlns:a16="http://schemas.microsoft.com/office/drawing/2014/main" id="{3E87B232-E1D1-22FC-6FD2-BD6F62EA4F20}"/>
              </a:ext>
            </a:extLst>
          </p:cNvPr>
          <p:cNvGrpSpPr>
            <a:grpSpLocks noChangeAspect="1"/>
          </p:cNvGrpSpPr>
          <p:nvPr userDrawn="1"/>
        </p:nvGrpSpPr>
        <p:grpSpPr bwMode="auto">
          <a:xfrm>
            <a:off x="1935296" y="5891573"/>
            <a:ext cx="278329" cy="278565"/>
            <a:chOff x="2653" y="972"/>
            <a:chExt cx="2372" cy="2374"/>
          </a:xfrm>
          <a:solidFill>
            <a:schemeClr val="bg1"/>
          </a:solidFill>
        </p:grpSpPr>
        <p:sp>
          <p:nvSpPr>
            <p:cNvPr id="5" name="Freeform 5">
              <a:extLst>
                <a:ext uri="{FF2B5EF4-FFF2-40B4-BE49-F238E27FC236}">
                  <a16:creationId xmlns:a16="http://schemas.microsoft.com/office/drawing/2014/main" id="{AE37D9FC-19CE-149B-B296-AD52CDC6D778}"/>
                </a:ext>
              </a:extLst>
            </p:cNvPr>
            <p:cNvSpPr>
              <a:spLocks noEditPoints="1"/>
            </p:cNvSpPr>
            <p:nvPr/>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7" name="Freeform 6">
              <a:hlinkClick r:id="rId8"/>
              <a:extLst>
                <a:ext uri="{FF2B5EF4-FFF2-40B4-BE49-F238E27FC236}">
                  <a16:creationId xmlns:a16="http://schemas.microsoft.com/office/drawing/2014/main" id="{B6D80A34-8F92-36AF-0DF3-0F1E57CB1829}"/>
                </a:ext>
              </a:extLst>
            </p:cNvPr>
            <p:cNvSpPr>
              <a:spLocks noEditPoints="1"/>
            </p:cNvSpPr>
            <p:nvPr/>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8" name="Oval 7">
              <a:extLst>
                <a:ext uri="{FF2B5EF4-FFF2-40B4-BE49-F238E27FC236}">
                  <a16:creationId xmlns:a16="http://schemas.microsoft.com/office/drawing/2014/main" id="{45944121-AD8B-4E17-C722-AD67B8DF4538}"/>
                </a:ext>
              </a:extLst>
            </p:cNvPr>
            <p:cNvSpPr>
              <a:spLocks noChangeArrowheads="1"/>
            </p:cNvSpPr>
            <p:nvPr/>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grpSp>
      <p:pic>
        <p:nvPicPr>
          <p:cNvPr id="9" name="Graphic 8">
            <a:hlinkClick r:id="rId9"/>
            <a:extLst>
              <a:ext uri="{FF2B5EF4-FFF2-40B4-BE49-F238E27FC236}">
                <a16:creationId xmlns:a16="http://schemas.microsoft.com/office/drawing/2014/main" id="{F18642EC-384D-4ADF-0F36-01B0708FF6ED}"/>
              </a:ext>
            </a:extLst>
          </p:cNvPr>
          <p:cNvPicPr>
            <a:picLocks noChangeAspect="1"/>
          </p:cNvPicPr>
          <p:nvPr userDrawn="1"/>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438744" y="5909556"/>
            <a:ext cx="278327" cy="260582"/>
          </a:xfrm>
          <a:prstGeom prst="rect">
            <a:avLst/>
          </a:prstGeom>
        </p:spPr>
      </p:pic>
      <p:pic>
        <p:nvPicPr>
          <p:cNvPr id="10" name="Picture 9">
            <a:hlinkClick r:id="rId12"/>
            <a:extLst>
              <a:ext uri="{FF2B5EF4-FFF2-40B4-BE49-F238E27FC236}">
                <a16:creationId xmlns:a16="http://schemas.microsoft.com/office/drawing/2014/main" id="{C24EFE93-9073-F9A8-9E94-906E07AEFB82}"/>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2454421" y="5889009"/>
            <a:ext cx="397241" cy="278565"/>
          </a:xfrm>
          <a:prstGeom prst="rect">
            <a:avLst/>
          </a:prstGeom>
        </p:spPr>
      </p:pic>
      <p:pic>
        <p:nvPicPr>
          <p:cNvPr id="11" name="Picture 10" descr="A blue and black logo&#10;&#10;Description automatically generated">
            <a:hlinkClick r:id="rId14"/>
            <a:extLst>
              <a:ext uri="{FF2B5EF4-FFF2-40B4-BE49-F238E27FC236}">
                <a16:creationId xmlns:a16="http://schemas.microsoft.com/office/drawing/2014/main" id="{21C7C6C8-984E-3E78-C3FA-0B18CBA0F05D}"/>
              </a:ext>
            </a:extLst>
          </p:cNvPr>
          <p:cNvPicPr>
            <a:picLocks noChangeAspect="1"/>
          </p:cNvPicPr>
          <p:nvPr userDrawn="1"/>
        </p:nvPicPr>
        <p:blipFill rotWithShape="1">
          <a:blip r:embed="rId15">
            <a:biLevel thresh="25000"/>
          </a:blip>
          <a:srcRect r="14227"/>
          <a:stretch/>
        </p:blipFill>
        <p:spPr>
          <a:xfrm>
            <a:off x="510677" y="5832610"/>
            <a:ext cx="353151" cy="349427"/>
          </a:xfrm>
          <a:prstGeom prst="rect">
            <a:avLst/>
          </a:prstGeom>
        </p:spPr>
      </p:pic>
    </p:spTree>
    <p:extLst>
      <p:ext uri="{BB962C8B-B14F-4D97-AF65-F5344CB8AC3E}">
        <p14:creationId xmlns:p14="http://schemas.microsoft.com/office/powerpoint/2010/main" val="86152672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hank You w/Content Casia">
    <p:bg>
      <p:bgPr>
        <a:solidFill>
          <a:schemeClr val="bg1"/>
        </a:solidFill>
        <a:effectLst/>
      </p:bgPr>
    </p:bg>
    <p:spTree>
      <p:nvGrpSpPr>
        <p:cNvPr id="1" name=""/>
        <p:cNvGrpSpPr/>
        <p:nvPr/>
      </p:nvGrpSpPr>
      <p:grpSpPr>
        <a:xfrm>
          <a:off x="0" y="0"/>
          <a:ext cx="0" cy="0"/>
          <a:chOff x="0" y="0"/>
          <a:chExt cx="0" cy="0"/>
        </a:xfrm>
      </p:grpSpPr>
      <p:sp>
        <p:nvSpPr>
          <p:cNvPr id="25" name="Freeform: Shape 24">
            <a:extLst>
              <a:ext uri="{FF2B5EF4-FFF2-40B4-BE49-F238E27FC236}">
                <a16:creationId xmlns:a16="http://schemas.microsoft.com/office/drawing/2014/main" id="{883018BE-0E5C-5567-71DB-248007C8D08B}"/>
              </a:ext>
            </a:extLst>
          </p:cNvPr>
          <p:cNvSpPr/>
          <p:nvPr userDrawn="1"/>
        </p:nvSpPr>
        <p:spPr>
          <a:xfrm rot="5400000">
            <a:off x="610984" y="417716"/>
            <a:ext cx="5829301" cy="7051270"/>
          </a:xfrm>
          <a:custGeom>
            <a:avLst/>
            <a:gdLst>
              <a:gd name="connsiteX0" fmla="*/ 0 w 5829301"/>
              <a:gd name="connsiteY0" fmla="*/ 5504253 h 7051270"/>
              <a:gd name="connsiteX1" fmla="*/ 0 w 5829301"/>
              <a:gd name="connsiteY1" fmla="*/ 0 h 7051270"/>
              <a:gd name="connsiteX2" fmla="*/ 4282007 w 5829301"/>
              <a:gd name="connsiteY2" fmla="*/ 0 h 7051270"/>
              <a:gd name="connsiteX3" fmla="*/ 4757970 w 5829301"/>
              <a:gd name="connsiteY3" fmla="*/ 197074 h 7051270"/>
              <a:gd name="connsiteX4" fmla="*/ 5632227 w 5829301"/>
              <a:gd name="connsiteY4" fmla="*/ 1071332 h 7051270"/>
              <a:gd name="connsiteX5" fmla="*/ 5829301 w 5829301"/>
              <a:gd name="connsiteY5" fmla="*/ 1547294 h 7051270"/>
              <a:gd name="connsiteX6" fmla="*/ 5829301 w 5829301"/>
              <a:gd name="connsiteY6" fmla="*/ 7051270 h 7051270"/>
              <a:gd name="connsiteX7" fmla="*/ 1547017 w 5829301"/>
              <a:gd name="connsiteY7" fmla="*/ 7051270 h 7051270"/>
              <a:gd name="connsiteX8" fmla="*/ 1071330 w 5829301"/>
              <a:gd name="connsiteY8" fmla="*/ 6854196 h 7051270"/>
              <a:gd name="connsiteX9" fmla="*/ 197074 w 5829301"/>
              <a:gd name="connsiteY9" fmla="*/ 5980216 h 7051270"/>
              <a:gd name="connsiteX10" fmla="*/ 0 w 5829301"/>
              <a:gd name="connsiteY10" fmla="*/ 5504253 h 7051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29301" h="7051270">
                <a:moveTo>
                  <a:pt x="0" y="5504253"/>
                </a:moveTo>
                <a:lnTo>
                  <a:pt x="0" y="0"/>
                </a:lnTo>
                <a:lnTo>
                  <a:pt x="4282007" y="0"/>
                </a:lnTo>
                <a:cubicBezTo>
                  <a:pt x="4460563" y="0"/>
                  <a:pt x="4631655" y="70759"/>
                  <a:pt x="4757970" y="197074"/>
                </a:cubicBezTo>
                <a:cubicBezTo>
                  <a:pt x="5076384" y="515488"/>
                  <a:pt x="5313813" y="752917"/>
                  <a:pt x="5632227" y="1071332"/>
                </a:cubicBezTo>
                <a:cubicBezTo>
                  <a:pt x="5758266" y="1197647"/>
                  <a:pt x="5829301" y="1368739"/>
                  <a:pt x="5829301" y="1547294"/>
                </a:cubicBezTo>
                <a:lnTo>
                  <a:pt x="5829301" y="7051270"/>
                </a:lnTo>
                <a:lnTo>
                  <a:pt x="1547017" y="7051270"/>
                </a:lnTo>
                <a:cubicBezTo>
                  <a:pt x="1368739" y="7051270"/>
                  <a:pt x="1197369" y="6980235"/>
                  <a:pt x="1071330" y="6854196"/>
                </a:cubicBezTo>
                <a:cubicBezTo>
                  <a:pt x="752916" y="6535782"/>
                  <a:pt x="515488" y="6298354"/>
                  <a:pt x="197074" y="5980216"/>
                </a:cubicBezTo>
                <a:cubicBezTo>
                  <a:pt x="71035" y="5853900"/>
                  <a:pt x="0" y="5682808"/>
                  <a:pt x="0" y="5504253"/>
                </a:cubicBezTo>
                <a:close/>
              </a:path>
            </a:pathLst>
          </a:custGeom>
          <a:blipFill>
            <a:blip r:embed="rId2"/>
            <a:stretch>
              <a:fillRect/>
            </a:stretch>
          </a:blipFill>
          <a:ln w="10186" cap="flat">
            <a:noFill/>
            <a:prstDash val="solid"/>
            <a:miter/>
          </a:ln>
        </p:spPr>
        <p:txBody>
          <a:bodyPr wrap="square" rtlCol="0" anchor="ctr">
            <a:noAutofit/>
          </a:bodyPr>
          <a:lstStyle/>
          <a:p>
            <a:endParaRPr lang="en-US"/>
          </a:p>
        </p:txBody>
      </p:sp>
      <p:sp>
        <p:nvSpPr>
          <p:cNvPr id="2" name="Subtitle 2">
            <a:extLst>
              <a:ext uri="{FF2B5EF4-FFF2-40B4-BE49-F238E27FC236}">
                <a16:creationId xmlns:a16="http://schemas.microsoft.com/office/drawing/2014/main" id="{7B89D29C-7E11-55C1-6D47-78CD92D7A5EE}"/>
              </a:ext>
            </a:extLst>
          </p:cNvPr>
          <p:cNvSpPr>
            <a:spLocks noGrp="1"/>
          </p:cNvSpPr>
          <p:nvPr>
            <p:ph type="subTitle" idx="1"/>
          </p:nvPr>
        </p:nvSpPr>
        <p:spPr>
          <a:xfrm>
            <a:off x="8025930" y="2823583"/>
            <a:ext cx="3670770" cy="1288042"/>
          </a:xfrm>
        </p:spPr>
        <p:txBody>
          <a:bodyPr/>
          <a:lstStyle>
            <a:lvl1pPr marL="0" indent="0" algn="l" defTabSz="914400" rtl="0" eaLnBrk="1" latinLnBrk="0" hangingPunct="1">
              <a:lnSpc>
                <a:spcPct val="85000"/>
              </a:lnSpc>
              <a:buNone/>
              <a:defRPr lang="en-US" sz="3400" kern="1200" dirty="0">
                <a:solidFill>
                  <a:schemeClr val="tx1"/>
                </a:solidFill>
                <a:latin typeface="ES Build "/>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TextBox 4">
            <a:extLst>
              <a:ext uri="{FF2B5EF4-FFF2-40B4-BE49-F238E27FC236}">
                <a16:creationId xmlns:a16="http://schemas.microsoft.com/office/drawing/2014/main" id="{98395F42-A2DA-275F-DBE9-4026407238CC}"/>
              </a:ext>
            </a:extLst>
          </p:cNvPr>
          <p:cNvSpPr txBox="1"/>
          <p:nvPr userDrawn="1"/>
        </p:nvSpPr>
        <p:spPr>
          <a:xfrm>
            <a:off x="493288" y="6562481"/>
            <a:ext cx="5293842" cy="107722"/>
          </a:xfrm>
          <a:prstGeom prst="rect">
            <a:avLst/>
          </a:prstGeom>
          <a:noFill/>
        </p:spPr>
        <p:txBody>
          <a:bodyPr wrap="square" lIns="0" tIns="0" rIns="0" bIns="0">
            <a:spAutoFit/>
          </a:bodyPr>
          <a:lstStyle/>
          <a:p>
            <a:r>
              <a:rPr lang="en-US" sz="700">
                <a:solidFill>
                  <a:schemeClr val="bg1"/>
                </a:solidFill>
              </a:rPr>
              <a:t>© 2024 Veeam Software. Confidential information. All rights reserved. All trademarks are the property of their respective owners. </a:t>
            </a:r>
          </a:p>
        </p:txBody>
      </p:sp>
      <p:sp>
        <p:nvSpPr>
          <p:cNvPr id="6" name="Picture Placeholder 5">
            <a:extLst>
              <a:ext uri="{FF2B5EF4-FFF2-40B4-BE49-F238E27FC236}">
                <a16:creationId xmlns:a16="http://schemas.microsoft.com/office/drawing/2014/main" id="{0203D5C4-63D0-301C-00C1-754668FCB324}"/>
              </a:ext>
            </a:extLst>
          </p:cNvPr>
          <p:cNvSpPr>
            <a:spLocks noGrp="1"/>
          </p:cNvSpPr>
          <p:nvPr>
            <p:ph type="pic" sz="quarter" idx="10" hasCustomPrompt="1"/>
          </p:nvPr>
        </p:nvSpPr>
        <p:spPr>
          <a:xfrm>
            <a:off x="8126631" y="4533160"/>
            <a:ext cx="969264" cy="969264"/>
          </a:xfrm>
          <a:prstGeom prst="roundRect">
            <a:avLst>
              <a:gd name="adj" fmla="val 10879"/>
            </a:avLst>
          </a:prstGeom>
          <a:ln>
            <a:solidFill>
              <a:schemeClr val="bg2">
                <a:lumMod val="90000"/>
              </a:schemeClr>
            </a:solidFill>
          </a:ln>
        </p:spPr>
        <p:txBody>
          <a:bodyPr/>
          <a:lstStyle>
            <a:lvl1pPr algn="ctr">
              <a:defRPr sz="1400">
                <a:solidFill>
                  <a:schemeClr val="accent1"/>
                </a:solidFill>
              </a:defRPr>
            </a:lvl1pPr>
          </a:lstStyle>
          <a:p>
            <a:r>
              <a:rPr lang="en-US"/>
              <a:t>Insert QR Code</a:t>
            </a:r>
          </a:p>
        </p:txBody>
      </p:sp>
      <p:pic>
        <p:nvPicPr>
          <p:cNvPr id="8" name="Graphic 7">
            <a:extLst>
              <a:ext uri="{FF2B5EF4-FFF2-40B4-BE49-F238E27FC236}">
                <a16:creationId xmlns:a16="http://schemas.microsoft.com/office/drawing/2014/main" id="{9EB05BE9-D4E7-BCD2-39AA-AAC50A2A467D}"/>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8118012" y="2012807"/>
            <a:ext cx="1660169" cy="504671"/>
          </a:xfrm>
          <a:prstGeom prst="rect">
            <a:avLst/>
          </a:prstGeom>
        </p:spPr>
      </p:pic>
      <p:sp>
        <p:nvSpPr>
          <p:cNvPr id="24" name="Title 1">
            <a:extLst>
              <a:ext uri="{FF2B5EF4-FFF2-40B4-BE49-F238E27FC236}">
                <a16:creationId xmlns:a16="http://schemas.microsoft.com/office/drawing/2014/main" id="{40868D98-0580-0966-6222-3D3195744114}"/>
              </a:ext>
            </a:extLst>
          </p:cNvPr>
          <p:cNvSpPr>
            <a:spLocks noGrp="1"/>
          </p:cNvSpPr>
          <p:nvPr>
            <p:ph type="title" hasCustomPrompt="1"/>
          </p:nvPr>
        </p:nvSpPr>
        <p:spPr>
          <a:xfrm>
            <a:off x="1206501" y="1711325"/>
            <a:ext cx="5365747" cy="3456860"/>
          </a:xfrm>
        </p:spPr>
        <p:txBody>
          <a:bodyPr anchor="ctr">
            <a:noAutofit/>
          </a:bodyPr>
          <a:lstStyle>
            <a:lvl1pPr>
              <a:lnSpc>
                <a:spcPct val="73000"/>
              </a:lnSpc>
              <a:defRPr sz="8900">
                <a:solidFill>
                  <a:schemeClr val="bg1"/>
                </a:solidFill>
              </a:defRPr>
            </a:lvl1pPr>
          </a:lstStyle>
          <a:p>
            <a:r>
              <a:rPr lang="en-US"/>
              <a:t>Click to edit title</a:t>
            </a:r>
          </a:p>
        </p:txBody>
      </p:sp>
      <p:sp>
        <p:nvSpPr>
          <p:cNvPr id="54" name="TextBox 53">
            <a:extLst>
              <a:ext uri="{FF2B5EF4-FFF2-40B4-BE49-F238E27FC236}">
                <a16:creationId xmlns:a16="http://schemas.microsoft.com/office/drawing/2014/main" id="{760C7250-ED3F-7083-BE33-003FABD467DA}"/>
              </a:ext>
            </a:extLst>
          </p:cNvPr>
          <p:cNvSpPr txBox="1"/>
          <p:nvPr userDrawn="1"/>
        </p:nvSpPr>
        <p:spPr>
          <a:xfrm>
            <a:off x="510677" y="5464171"/>
            <a:ext cx="1241070" cy="246221"/>
          </a:xfrm>
          <a:prstGeom prst="rect">
            <a:avLst/>
          </a:prstGeom>
          <a:noFill/>
        </p:spPr>
        <p:txBody>
          <a:bodyPr wrap="square" lIns="0" tIns="0" rIns="0" bIns="0">
            <a:spAutoFit/>
          </a:bodyPr>
          <a:lstStyle/>
          <a:p>
            <a:r>
              <a:rPr lang="en-US" sz="1600" b="0" i="0">
                <a:solidFill>
                  <a:schemeClr val="bg1"/>
                </a:solidFill>
                <a:effectLst/>
                <a:latin typeface="+mn-lt"/>
                <a:ea typeface="ES Build" pitchFamily="2" charset="77"/>
              </a:rPr>
              <a:t>Follow us!</a:t>
            </a:r>
            <a:endParaRPr lang="en-US" sz="1600">
              <a:solidFill>
                <a:schemeClr val="bg1"/>
              </a:solidFill>
              <a:latin typeface="+mn-lt"/>
              <a:ea typeface="ES Build" pitchFamily="2" charset="77"/>
            </a:endParaRPr>
          </a:p>
        </p:txBody>
      </p:sp>
      <p:sp>
        <p:nvSpPr>
          <p:cNvPr id="64" name="TextBox 63">
            <a:extLst>
              <a:ext uri="{FF2B5EF4-FFF2-40B4-BE49-F238E27FC236}">
                <a16:creationId xmlns:a16="http://schemas.microsoft.com/office/drawing/2014/main" id="{4301DD53-2EAB-810E-F6B1-FBF2B4448AF5}"/>
              </a:ext>
            </a:extLst>
          </p:cNvPr>
          <p:cNvSpPr txBox="1"/>
          <p:nvPr userDrawn="1"/>
        </p:nvSpPr>
        <p:spPr>
          <a:xfrm>
            <a:off x="3370214" y="5464171"/>
            <a:ext cx="2434962" cy="246221"/>
          </a:xfrm>
          <a:prstGeom prst="rect">
            <a:avLst/>
          </a:prstGeom>
          <a:noFill/>
        </p:spPr>
        <p:txBody>
          <a:bodyPr wrap="square" lIns="0" tIns="0" rIns="0" bIns="0">
            <a:spAutoFit/>
          </a:bodyPr>
          <a:lstStyle>
            <a:defPPr>
              <a:defRPr lang="en-US"/>
            </a:defPPr>
            <a:lvl1pPr>
              <a:defRPr sz="1600" b="0" i="0">
                <a:solidFill>
                  <a:schemeClr val="bg1"/>
                </a:solidFill>
                <a:effectLst/>
                <a:ea typeface="ES Build" pitchFamily="2" charset="77"/>
              </a:defRPr>
            </a:lvl1pPr>
          </a:lstStyle>
          <a:p>
            <a:r>
              <a:rPr lang="en-US"/>
              <a:t>Join the community hub:</a:t>
            </a:r>
          </a:p>
        </p:txBody>
      </p:sp>
      <p:cxnSp>
        <p:nvCxnSpPr>
          <p:cNvPr id="65" name="Straight Connector 64">
            <a:extLst>
              <a:ext uri="{FF2B5EF4-FFF2-40B4-BE49-F238E27FC236}">
                <a16:creationId xmlns:a16="http://schemas.microsoft.com/office/drawing/2014/main" id="{CA45B318-2895-D710-0DCF-BA9DABF93EBF}"/>
              </a:ext>
            </a:extLst>
          </p:cNvPr>
          <p:cNvCxnSpPr/>
          <p:nvPr userDrawn="1"/>
        </p:nvCxnSpPr>
        <p:spPr>
          <a:xfrm>
            <a:off x="3089964" y="5526724"/>
            <a:ext cx="0" cy="678583"/>
          </a:xfrm>
          <a:prstGeom prst="line">
            <a:avLst/>
          </a:prstGeom>
          <a:ln w="12700" cap="rnd">
            <a:solidFill>
              <a:schemeClr val="bg1"/>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pic>
        <p:nvPicPr>
          <p:cNvPr id="67" name="Picture 66">
            <a:hlinkClick r:id="rId5"/>
            <a:extLst>
              <a:ext uri="{FF2B5EF4-FFF2-40B4-BE49-F238E27FC236}">
                <a16:creationId xmlns:a16="http://schemas.microsoft.com/office/drawing/2014/main" id="{0CC02E49-D2C0-A28C-9B0F-31502D59DEA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386444" y="5895777"/>
            <a:ext cx="356616" cy="275415"/>
          </a:xfrm>
          <a:prstGeom prst="rect">
            <a:avLst/>
          </a:prstGeom>
        </p:spPr>
      </p:pic>
      <p:sp>
        <p:nvSpPr>
          <p:cNvPr id="3" name="Freeform 5">
            <a:hlinkClick r:id="rId7"/>
            <a:extLst>
              <a:ext uri="{FF2B5EF4-FFF2-40B4-BE49-F238E27FC236}">
                <a16:creationId xmlns:a16="http://schemas.microsoft.com/office/drawing/2014/main" id="{B4F3E920-A34D-0A41-A266-6ABB279078DD}"/>
              </a:ext>
            </a:extLst>
          </p:cNvPr>
          <p:cNvSpPr>
            <a:spLocks/>
          </p:cNvSpPr>
          <p:nvPr userDrawn="1"/>
        </p:nvSpPr>
        <p:spPr bwMode="gray">
          <a:xfrm>
            <a:off x="1087489" y="5895294"/>
            <a:ext cx="127593" cy="275200"/>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ES Build" pitchFamily="50" charset="0"/>
              <a:ea typeface="+mn-ea"/>
              <a:cs typeface="+mn-cs"/>
            </a:endParaRPr>
          </a:p>
        </p:txBody>
      </p:sp>
      <p:grpSp>
        <p:nvGrpSpPr>
          <p:cNvPr id="4" name="Group 4">
            <a:extLst>
              <a:ext uri="{FF2B5EF4-FFF2-40B4-BE49-F238E27FC236}">
                <a16:creationId xmlns:a16="http://schemas.microsoft.com/office/drawing/2014/main" id="{046E4813-EB85-356E-AE17-AB1D3D4C8736}"/>
              </a:ext>
            </a:extLst>
          </p:cNvPr>
          <p:cNvGrpSpPr>
            <a:grpSpLocks noChangeAspect="1"/>
          </p:cNvGrpSpPr>
          <p:nvPr userDrawn="1"/>
        </p:nvGrpSpPr>
        <p:grpSpPr bwMode="auto">
          <a:xfrm>
            <a:off x="1935296" y="5891573"/>
            <a:ext cx="278329" cy="278565"/>
            <a:chOff x="2653" y="972"/>
            <a:chExt cx="2372" cy="2374"/>
          </a:xfrm>
          <a:solidFill>
            <a:schemeClr val="bg1"/>
          </a:solidFill>
        </p:grpSpPr>
        <p:sp>
          <p:nvSpPr>
            <p:cNvPr id="7" name="Freeform 5">
              <a:extLst>
                <a:ext uri="{FF2B5EF4-FFF2-40B4-BE49-F238E27FC236}">
                  <a16:creationId xmlns:a16="http://schemas.microsoft.com/office/drawing/2014/main" id="{D2287FB6-BC3D-649C-2EB8-3052741DB3DA}"/>
                </a:ext>
              </a:extLst>
            </p:cNvPr>
            <p:cNvSpPr>
              <a:spLocks noEditPoints="1"/>
            </p:cNvSpPr>
            <p:nvPr/>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9" name="Freeform 6">
              <a:hlinkClick r:id="rId8"/>
              <a:extLst>
                <a:ext uri="{FF2B5EF4-FFF2-40B4-BE49-F238E27FC236}">
                  <a16:creationId xmlns:a16="http://schemas.microsoft.com/office/drawing/2014/main" id="{E6C9D0C3-0E7B-4C13-01E8-6DFFD9A554A6}"/>
                </a:ext>
              </a:extLst>
            </p:cNvPr>
            <p:cNvSpPr>
              <a:spLocks noEditPoints="1"/>
            </p:cNvSpPr>
            <p:nvPr/>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10" name="Oval 7">
              <a:extLst>
                <a:ext uri="{FF2B5EF4-FFF2-40B4-BE49-F238E27FC236}">
                  <a16:creationId xmlns:a16="http://schemas.microsoft.com/office/drawing/2014/main" id="{28721EF1-A2DF-D988-15C4-AF56F4424953}"/>
                </a:ext>
              </a:extLst>
            </p:cNvPr>
            <p:cNvSpPr>
              <a:spLocks noChangeArrowheads="1"/>
            </p:cNvSpPr>
            <p:nvPr/>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grpSp>
      <p:pic>
        <p:nvPicPr>
          <p:cNvPr id="11" name="Graphic 10">
            <a:hlinkClick r:id="rId9"/>
            <a:extLst>
              <a:ext uri="{FF2B5EF4-FFF2-40B4-BE49-F238E27FC236}">
                <a16:creationId xmlns:a16="http://schemas.microsoft.com/office/drawing/2014/main" id="{DB8A13AA-648B-BDB8-5EAB-5F8BDA0E341B}"/>
              </a:ext>
            </a:extLst>
          </p:cNvPr>
          <p:cNvPicPr>
            <a:picLocks noChangeAspect="1"/>
          </p:cNvPicPr>
          <p:nvPr userDrawn="1"/>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438744" y="5909556"/>
            <a:ext cx="278327" cy="260582"/>
          </a:xfrm>
          <a:prstGeom prst="rect">
            <a:avLst/>
          </a:prstGeom>
        </p:spPr>
      </p:pic>
      <p:pic>
        <p:nvPicPr>
          <p:cNvPr id="12" name="Picture 11">
            <a:hlinkClick r:id="rId12"/>
            <a:extLst>
              <a:ext uri="{FF2B5EF4-FFF2-40B4-BE49-F238E27FC236}">
                <a16:creationId xmlns:a16="http://schemas.microsoft.com/office/drawing/2014/main" id="{93ABDEB7-EEE7-258F-628C-079AD14762A8}"/>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2454421" y="5889009"/>
            <a:ext cx="397241" cy="278565"/>
          </a:xfrm>
          <a:prstGeom prst="rect">
            <a:avLst/>
          </a:prstGeom>
        </p:spPr>
      </p:pic>
      <p:pic>
        <p:nvPicPr>
          <p:cNvPr id="13" name="Picture 12" descr="A blue and black logo&#10;&#10;Description automatically generated">
            <a:hlinkClick r:id="rId14"/>
            <a:extLst>
              <a:ext uri="{FF2B5EF4-FFF2-40B4-BE49-F238E27FC236}">
                <a16:creationId xmlns:a16="http://schemas.microsoft.com/office/drawing/2014/main" id="{5ED7D377-16E0-2AF8-31AE-3A7E0F7CFD95}"/>
              </a:ext>
            </a:extLst>
          </p:cNvPr>
          <p:cNvPicPr>
            <a:picLocks noChangeAspect="1"/>
          </p:cNvPicPr>
          <p:nvPr userDrawn="1"/>
        </p:nvPicPr>
        <p:blipFill rotWithShape="1">
          <a:blip r:embed="rId15">
            <a:biLevel thresh="25000"/>
          </a:blip>
          <a:srcRect r="14227"/>
          <a:stretch/>
        </p:blipFill>
        <p:spPr>
          <a:xfrm>
            <a:off x="510677" y="5832610"/>
            <a:ext cx="353151" cy="349427"/>
          </a:xfrm>
          <a:prstGeom prst="rect">
            <a:avLst/>
          </a:prstGeom>
        </p:spPr>
      </p:pic>
    </p:spTree>
    <p:extLst>
      <p:ext uri="{BB962C8B-B14F-4D97-AF65-F5344CB8AC3E}">
        <p14:creationId xmlns:p14="http://schemas.microsoft.com/office/powerpoint/2010/main" val="54827617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1_Viridis Closing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600BB262-2824-0F81-F4CC-0A3A31F1D46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101975" y="2167247"/>
            <a:ext cx="5722938" cy="1819737"/>
          </a:xfrm>
          <a:prstGeom prst="rect">
            <a:avLst/>
          </a:prstGeom>
        </p:spPr>
      </p:pic>
      <p:pic>
        <p:nvPicPr>
          <p:cNvPr id="15" name="Picture 14">
            <a:hlinkClick r:id="rId5"/>
            <a:extLst>
              <a:ext uri="{FF2B5EF4-FFF2-40B4-BE49-F238E27FC236}">
                <a16:creationId xmlns:a16="http://schemas.microsoft.com/office/drawing/2014/main" id="{F2AF11D3-0508-A6D4-A25F-3F92D583AA6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369458" y="5893254"/>
            <a:ext cx="355199" cy="274320"/>
          </a:xfrm>
          <a:prstGeom prst="rect">
            <a:avLst/>
          </a:prstGeom>
        </p:spPr>
      </p:pic>
      <p:sp>
        <p:nvSpPr>
          <p:cNvPr id="17" name="TextBox 16">
            <a:extLst>
              <a:ext uri="{FF2B5EF4-FFF2-40B4-BE49-F238E27FC236}">
                <a16:creationId xmlns:a16="http://schemas.microsoft.com/office/drawing/2014/main" id="{A112FFAF-6C17-B3FE-0AD3-91FD1B2448BD}"/>
              </a:ext>
            </a:extLst>
          </p:cNvPr>
          <p:cNvSpPr txBox="1"/>
          <p:nvPr userDrawn="1"/>
        </p:nvSpPr>
        <p:spPr>
          <a:xfrm>
            <a:off x="510677" y="5464171"/>
            <a:ext cx="1241070" cy="246221"/>
          </a:xfrm>
          <a:prstGeom prst="rect">
            <a:avLst/>
          </a:prstGeom>
          <a:noFill/>
        </p:spPr>
        <p:txBody>
          <a:bodyPr wrap="square" lIns="0" tIns="0" rIns="0" bIns="0">
            <a:spAutoFit/>
          </a:bodyPr>
          <a:lstStyle/>
          <a:p>
            <a:r>
              <a:rPr lang="en-US" sz="1600" b="0" i="0">
                <a:solidFill>
                  <a:schemeClr val="bg1"/>
                </a:solidFill>
                <a:effectLst/>
                <a:latin typeface="+mn-lt"/>
                <a:ea typeface="ES Build" pitchFamily="2" charset="77"/>
              </a:rPr>
              <a:t>Follow us!</a:t>
            </a:r>
            <a:endParaRPr lang="en-US" sz="1600">
              <a:solidFill>
                <a:schemeClr val="bg1"/>
              </a:solidFill>
              <a:latin typeface="+mn-lt"/>
              <a:ea typeface="ES Build" pitchFamily="2" charset="77"/>
            </a:endParaRPr>
          </a:p>
        </p:txBody>
      </p:sp>
      <p:cxnSp>
        <p:nvCxnSpPr>
          <p:cNvPr id="28" name="Straight Connector 27">
            <a:extLst>
              <a:ext uri="{FF2B5EF4-FFF2-40B4-BE49-F238E27FC236}">
                <a16:creationId xmlns:a16="http://schemas.microsoft.com/office/drawing/2014/main" id="{0FB02EBE-1537-8F94-7932-1FDC3D71E465}"/>
              </a:ext>
            </a:extLst>
          </p:cNvPr>
          <p:cNvCxnSpPr/>
          <p:nvPr userDrawn="1"/>
        </p:nvCxnSpPr>
        <p:spPr>
          <a:xfrm>
            <a:off x="3089964" y="5526724"/>
            <a:ext cx="0" cy="678583"/>
          </a:xfrm>
          <a:prstGeom prst="line">
            <a:avLst/>
          </a:prstGeom>
          <a:ln w="12700" cap="rnd">
            <a:solidFill>
              <a:schemeClr val="bg1"/>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44EFAD16-3BDD-AFE1-E452-666A4F31A7AF}"/>
              </a:ext>
            </a:extLst>
          </p:cNvPr>
          <p:cNvSpPr txBox="1"/>
          <p:nvPr userDrawn="1"/>
        </p:nvSpPr>
        <p:spPr>
          <a:xfrm>
            <a:off x="3370214" y="5464171"/>
            <a:ext cx="2434962" cy="246221"/>
          </a:xfrm>
          <a:prstGeom prst="rect">
            <a:avLst/>
          </a:prstGeom>
          <a:noFill/>
        </p:spPr>
        <p:txBody>
          <a:bodyPr wrap="square" lIns="0" tIns="0" rIns="0" bIns="0">
            <a:spAutoFit/>
          </a:bodyPr>
          <a:lstStyle>
            <a:defPPr>
              <a:defRPr lang="en-US"/>
            </a:defPPr>
            <a:lvl1pPr>
              <a:defRPr sz="1600" b="0" i="0">
                <a:solidFill>
                  <a:schemeClr val="bg1"/>
                </a:solidFill>
                <a:effectLst/>
                <a:ea typeface="ES Build" pitchFamily="2" charset="77"/>
              </a:defRPr>
            </a:lvl1pPr>
          </a:lstStyle>
          <a:p>
            <a:r>
              <a:rPr lang="en-US"/>
              <a:t>Join the community hub:</a:t>
            </a:r>
          </a:p>
        </p:txBody>
      </p:sp>
      <p:sp>
        <p:nvSpPr>
          <p:cNvPr id="34" name="TextBox 33">
            <a:extLst>
              <a:ext uri="{FF2B5EF4-FFF2-40B4-BE49-F238E27FC236}">
                <a16:creationId xmlns:a16="http://schemas.microsoft.com/office/drawing/2014/main" id="{10298740-AD63-6DE6-1A55-DCB3CC9ADD33}"/>
              </a:ext>
            </a:extLst>
          </p:cNvPr>
          <p:cNvSpPr txBox="1"/>
          <p:nvPr userDrawn="1"/>
        </p:nvSpPr>
        <p:spPr>
          <a:xfrm>
            <a:off x="493288" y="6562481"/>
            <a:ext cx="5293842" cy="107722"/>
          </a:xfrm>
          <a:prstGeom prst="rect">
            <a:avLst/>
          </a:prstGeom>
          <a:noFill/>
        </p:spPr>
        <p:txBody>
          <a:bodyPr wrap="square" lIns="0" tIns="0" rIns="0" bIns="0">
            <a:spAutoFit/>
          </a:bodyPr>
          <a:lstStyle/>
          <a:p>
            <a:r>
              <a:rPr lang="en-US" sz="700">
                <a:solidFill>
                  <a:schemeClr val="bg1"/>
                </a:solidFill>
              </a:rPr>
              <a:t>© 2024 Veeam Software. Confidential information. All rights reserved. All trademarks are the property of their respective owners. </a:t>
            </a:r>
          </a:p>
        </p:txBody>
      </p:sp>
      <p:sp>
        <p:nvSpPr>
          <p:cNvPr id="4" name="Freeform 5">
            <a:hlinkClick r:id="rId7"/>
            <a:extLst>
              <a:ext uri="{FF2B5EF4-FFF2-40B4-BE49-F238E27FC236}">
                <a16:creationId xmlns:a16="http://schemas.microsoft.com/office/drawing/2014/main" id="{4D9C3F8C-D18D-D79B-F8A9-6F3A865F3D77}"/>
              </a:ext>
            </a:extLst>
          </p:cNvPr>
          <p:cNvSpPr>
            <a:spLocks/>
          </p:cNvSpPr>
          <p:nvPr userDrawn="1"/>
        </p:nvSpPr>
        <p:spPr bwMode="gray">
          <a:xfrm>
            <a:off x="1087489" y="5895294"/>
            <a:ext cx="127593" cy="275200"/>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ES Build" pitchFamily="50" charset="0"/>
              <a:ea typeface="+mn-ea"/>
              <a:cs typeface="+mn-cs"/>
            </a:endParaRPr>
          </a:p>
        </p:txBody>
      </p:sp>
      <p:grpSp>
        <p:nvGrpSpPr>
          <p:cNvPr id="5" name="Group 4">
            <a:extLst>
              <a:ext uri="{FF2B5EF4-FFF2-40B4-BE49-F238E27FC236}">
                <a16:creationId xmlns:a16="http://schemas.microsoft.com/office/drawing/2014/main" id="{FA5F59D4-560F-A6BE-AC45-8F4E5F39F04A}"/>
              </a:ext>
            </a:extLst>
          </p:cNvPr>
          <p:cNvGrpSpPr>
            <a:grpSpLocks noChangeAspect="1"/>
          </p:cNvGrpSpPr>
          <p:nvPr userDrawn="1"/>
        </p:nvGrpSpPr>
        <p:grpSpPr bwMode="auto">
          <a:xfrm>
            <a:off x="1935296" y="5891573"/>
            <a:ext cx="278329" cy="278565"/>
            <a:chOff x="2653" y="972"/>
            <a:chExt cx="2372" cy="2374"/>
          </a:xfrm>
          <a:solidFill>
            <a:schemeClr val="bg1"/>
          </a:solidFill>
        </p:grpSpPr>
        <p:sp>
          <p:nvSpPr>
            <p:cNvPr id="6" name="Freeform 5">
              <a:extLst>
                <a:ext uri="{FF2B5EF4-FFF2-40B4-BE49-F238E27FC236}">
                  <a16:creationId xmlns:a16="http://schemas.microsoft.com/office/drawing/2014/main" id="{777D6E78-993A-7DAA-FABB-CAFA09D92715}"/>
                </a:ext>
              </a:extLst>
            </p:cNvPr>
            <p:cNvSpPr>
              <a:spLocks noEditPoints="1"/>
            </p:cNvSpPr>
            <p:nvPr/>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7" name="Freeform 6">
              <a:hlinkClick r:id="rId8"/>
              <a:extLst>
                <a:ext uri="{FF2B5EF4-FFF2-40B4-BE49-F238E27FC236}">
                  <a16:creationId xmlns:a16="http://schemas.microsoft.com/office/drawing/2014/main" id="{182B4EAA-57A1-63F5-DA2A-719F744127A2}"/>
                </a:ext>
              </a:extLst>
            </p:cNvPr>
            <p:cNvSpPr>
              <a:spLocks noEditPoints="1"/>
            </p:cNvSpPr>
            <p:nvPr/>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8" name="Oval 7">
              <a:extLst>
                <a:ext uri="{FF2B5EF4-FFF2-40B4-BE49-F238E27FC236}">
                  <a16:creationId xmlns:a16="http://schemas.microsoft.com/office/drawing/2014/main" id="{21783AE1-BB6E-E4D8-85E8-F1ED6588511B}"/>
                </a:ext>
              </a:extLst>
            </p:cNvPr>
            <p:cNvSpPr>
              <a:spLocks noChangeArrowheads="1"/>
            </p:cNvSpPr>
            <p:nvPr/>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grpSp>
      <p:pic>
        <p:nvPicPr>
          <p:cNvPr id="9" name="Graphic 8">
            <a:hlinkClick r:id="rId9"/>
            <a:extLst>
              <a:ext uri="{FF2B5EF4-FFF2-40B4-BE49-F238E27FC236}">
                <a16:creationId xmlns:a16="http://schemas.microsoft.com/office/drawing/2014/main" id="{418D54DC-A782-0287-FF5C-8A17B080B698}"/>
              </a:ext>
            </a:extLst>
          </p:cNvPr>
          <p:cNvPicPr>
            <a:picLocks noChangeAspect="1"/>
          </p:cNvPicPr>
          <p:nvPr userDrawn="1"/>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438744" y="5909556"/>
            <a:ext cx="278327" cy="260582"/>
          </a:xfrm>
          <a:prstGeom prst="rect">
            <a:avLst/>
          </a:prstGeom>
        </p:spPr>
      </p:pic>
      <p:pic>
        <p:nvPicPr>
          <p:cNvPr id="10" name="Picture 9">
            <a:hlinkClick r:id="rId12"/>
            <a:extLst>
              <a:ext uri="{FF2B5EF4-FFF2-40B4-BE49-F238E27FC236}">
                <a16:creationId xmlns:a16="http://schemas.microsoft.com/office/drawing/2014/main" id="{FE924EFA-C0A0-73C5-9581-72F0384CA991}"/>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2454421" y="5889009"/>
            <a:ext cx="397241" cy="278565"/>
          </a:xfrm>
          <a:prstGeom prst="rect">
            <a:avLst/>
          </a:prstGeom>
        </p:spPr>
      </p:pic>
      <p:pic>
        <p:nvPicPr>
          <p:cNvPr id="11" name="Picture 10" descr="A blue and black logo&#10;&#10;Description automatically generated">
            <a:hlinkClick r:id="rId14"/>
            <a:extLst>
              <a:ext uri="{FF2B5EF4-FFF2-40B4-BE49-F238E27FC236}">
                <a16:creationId xmlns:a16="http://schemas.microsoft.com/office/drawing/2014/main" id="{569E695B-B444-EA83-11E7-7E711B7CA671}"/>
              </a:ext>
            </a:extLst>
          </p:cNvPr>
          <p:cNvPicPr>
            <a:picLocks noChangeAspect="1"/>
          </p:cNvPicPr>
          <p:nvPr userDrawn="1"/>
        </p:nvPicPr>
        <p:blipFill rotWithShape="1">
          <a:blip r:embed="rId15">
            <a:biLevel thresh="25000"/>
          </a:blip>
          <a:srcRect r="14227"/>
          <a:stretch/>
        </p:blipFill>
        <p:spPr>
          <a:xfrm>
            <a:off x="510677" y="5832610"/>
            <a:ext cx="353151" cy="349427"/>
          </a:xfrm>
          <a:prstGeom prst="rect">
            <a:avLst/>
          </a:prstGeom>
        </p:spPr>
      </p:pic>
    </p:spTree>
    <p:extLst>
      <p:ext uri="{BB962C8B-B14F-4D97-AF65-F5344CB8AC3E}">
        <p14:creationId xmlns:p14="http://schemas.microsoft.com/office/powerpoint/2010/main" val="8943840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Casia Closing Slid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pic>
        <p:nvPicPr>
          <p:cNvPr id="36" name="Graphic 35">
            <a:extLst>
              <a:ext uri="{FF2B5EF4-FFF2-40B4-BE49-F238E27FC236}">
                <a16:creationId xmlns:a16="http://schemas.microsoft.com/office/drawing/2014/main" id="{26A658D9-FDD7-AE35-DCB0-F1A9C68DC9D2}"/>
              </a:ext>
            </a:extLst>
          </p:cNvPr>
          <p:cNvPicPr>
            <a:picLocks noChangeAspect="1"/>
          </p:cNvPicPr>
          <p:nvPr userDrawn="1"/>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l="305" r="305"/>
          <a:stretch/>
        </p:blipFill>
        <p:spPr>
          <a:xfrm>
            <a:off x="3100769" y="2166865"/>
            <a:ext cx="5724144" cy="1820119"/>
          </a:xfrm>
          <a:prstGeom prst="rect">
            <a:avLst/>
          </a:prstGeom>
        </p:spPr>
      </p:pic>
      <p:sp>
        <p:nvSpPr>
          <p:cNvPr id="38" name="TextBox 37">
            <a:extLst>
              <a:ext uri="{FF2B5EF4-FFF2-40B4-BE49-F238E27FC236}">
                <a16:creationId xmlns:a16="http://schemas.microsoft.com/office/drawing/2014/main" id="{41E86AFE-0F86-43A6-C6AF-F8F6B304A182}"/>
              </a:ext>
            </a:extLst>
          </p:cNvPr>
          <p:cNvSpPr txBox="1"/>
          <p:nvPr userDrawn="1"/>
        </p:nvSpPr>
        <p:spPr>
          <a:xfrm>
            <a:off x="493288" y="6562481"/>
            <a:ext cx="5293842" cy="107722"/>
          </a:xfrm>
          <a:prstGeom prst="rect">
            <a:avLst/>
          </a:prstGeom>
          <a:noFill/>
        </p:spPr>
        <p:txBody>
          <a:bodyPr wrap="square" lIns="0" tIns="0" rIns="0" bIns="0">
            <a:spAutoFit/>
          </a:bodyPr>
          <a:lstStyle/>
          <a:p>
            <a:r>
              <a:rPr lang="en-US" sz="700">
                <a:solidFill>
                  <a:schemeClr val="bg1"/>
                </a:solidFill>
              </a:rPr>
              <a:t>© 2024 Veeam Software. Confidential information. All rights reserved. All trademarks are the property of their respective owners. </a:t>
            </a:r>
          </a:p>
        </p:txBody>
      </p:sp>
      <p:pic>
        <p:nvPicPr>
          <p:cNvPr id="2" name="Picture 1">
            <a:hlinkClick r:id="rId6"/>
            <a:extLst>
              <a:ext uri="{FF2B5EF4-FFF2-40B4-BE49-F238E27FC236}">
                <a16:creationId xmlns:a16="http://schemas.microsoft.com/office/drawing/2014/main" id="{822E78B8-42C3-D6C5-66CB-208A1554B7E3}"/>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369458" y="5893254"/>
            <a:ext cx="355199" cy="274320"/>
          </a:xfrm>
          <a:prstGeom prst="rect">
            <a:avLst/>
          </a:prstGeom>
        </p:spPr>
      </p:pic>
      <p:sp>
        <p:nvSpPr>
          <p:cNvPr id="3" name="TextBox 2">
            <a:extLst>
              <a:ext uri="{FF2B5EF4-FFF2-40B4-BE49-F238E27FC236}">
                <a16:creationId xmlns:a16="http://schemas.microsoft.com/office/drawing/2014/main" id="{0E38F27C-6736-2FCB-E658-DB1B01FBC9BC}"/>
              </a:ext>
            </a:extLst>
          </p:cNvPr>
          <p:cNvSpPr txBox="1"/>
          <p:nvPr userDrawn="1"/>
        </p:nvSpPr>
        <p:spPr>
          <a:xfrm>
            <a:off x="510677" y="5464171"/>
            <a:ext cx="1241070" cy="246221"/>
          </a:xfrm>
          <a:prstGeom prst="rect">
            <a:avLst/>
          </a:prstGeom>
          <a:noFill/>
        </p:spPr>
        <p:txBody>
          <a:bodyPr wrap="square" lIns="0" tIns="0" rIns="0" bIns="0">
            <a:spAutoFit/>
          </a:bodyPr>
          <a:lstStyle/>
          <a:p>
            <a:r>
              <a:rPr lang="en-US" sz="1600" b="0" i="0">
                <a:solidFill>
                  <a:schemeClr val="bg1"/>
                </a:solidFill>
                <a:effectLst/>
                <a:latin typeface="+mn-lt"/>
                <a:ea typeface="ES Build" pitchFamily="2" charset="77"/>
              </a:rPr>
              <a:t>Follow us!</a:t>
            </a:r>
            <a:endParaRPr lang="en-US" sz="1600">
              <a:solidFill>
                <a:schemeClr val="bg1"/>
              </a:solidFill>
              <a:latin typeface="+mn-lt"/>
              <a:ea typeface="ES Build" pitchFamily="2" charset="77"/>
            </a:endParaRPr>
          </a:p>
        </p:txBody>
      </p:sp>
      <p:sp>
        <p:nvSpPr>
          <p:cNvPr id="4" name="Freeform 5">
            <a:hlinkClick r:id="rId8"/>
            <a:extLst>
              <a:ext uri="{FF2B5EF4-FFF2-40B4-BE49-F238E27FC236}">
                <a16:creationId xmlns:a16="http://schemas.microsoft.com/office/drawing/2014/main" id="{407F653C-0E3A-519E-2EBB-B623DB653D74}"/>
              </a:ext>
            </a:extLst>
          </p:cNvPr>
          <p:cNvSpPr>
            <a:spLocks/>
          </p:cNvSpPr>
          <p:nvPr userDrawn="1"/>
        </p:nvSpPr>
        <p:spPr bwMode="gray">
          <a:xfrm>
            <a:off x="1087489" y="5895294"/>
            <a:ext cx="127593" cy="275200"/>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prstClr val="black"/>
              </a:solidFill>
              <a:effectLst/>
              <a:uLnTx/>
              <a:uFillTx/>
              <a:latin typeface="ES Build" pitchFamily="50" charset="0"/>
              <a:ea typeface="+mn-ea"/>
              <a:cs typeface="+mn-cs"/>
            </a:endParaRPr>
          </a:p>
        </p:txBody>
      </p:sp>
      <p:grpSp>
        <p:nvGrpSpPr>
          <p:cNvPr id="7" name="Group 4">
            <a:extLst>
              <a:ext uri="{FF2B5EF4-FFF2-40B4-BE49-F238E27FC236}">
                <a16:creationId xmlns:a16="http://schemas.microsoft.com/office/drawing/2014/main" id="{4D7CB47B-7429-8CDB-6B5C-456BAF1C5768}"/>
              </a:ext>
            </a:extLst>
          </p:cNvPr>
          <p:cNvGrpSpPr>
            <a:grpSpLocks noChangeAspect="1"/>
          </p:cNvGrpSpPr>
          <p:nvPr userDrawn="1"/>
        </p:nvGrpSpPr>
        <p:grpSpPr bwMode="auto">
          <a:xfrm>
            <a:off x="1935296" y="5891573"/>
            <a:ext cx="278329" cy="278565"/>
            <a:chOff x="2653" y="972"/>
            <a:chExt cx="2372" cy="2374"/>
          </a:xfrm>
          <a:solidFill>
            <a:schemeClr val="bg1"/>
          </a:solidFill>
        </p:grpSpPr>
        <p:sp>
          <p:nvSpPr>
            <p:cNvPr id="8" name="Freeform 5">
              <a:extLst>
                <a:ext uri="{FF2B5EF4-FFF2-40B4-BE49-F238E27FC236}">
                  <a16:creationId xmlns:a16="http://schemas.microsoft.com/office/drawing/2014/main" id="{3D60FE4E-5DE0-B985-CB62-07F69B2252BF}"/>
                </a:ext>
              </a:extLst>
            </p:cNvPr>
            <p:cNvSpPr>
              <a:spLocks noEditPoints="1"/>
            </p:cNvSpPr>
            <p:nvPr/>
          </p:nvSpPr>
          <p:spPr bwMode="auto">
            <a:xfrm>
              <a:off x="2653" y="972"/>
              <a:ext cx="2372" cy="2374"/>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9" name="Freeform 6">
              <a:hlinkClick r:id="rId9"/>
              <a:extLst>
                <a:ext uri="{FF2B5EF4-FFF2-40B4-BE49-F238E27FC236}">
                  <a16:creationId xmlns:a16="http://schemas.microsoft.com/office/drawing/2014/main" id="{441143AA-A551-B1E2-77F2-E3FD3DB7B36A}"/>
                </a:ext>
              </a:extLst>
            </p:cNvPr>
            <p:cNvSpPr>
              <a:spLocks noEditPoints="1"/>
            </p:cNvSpPr>
            <p:nvPr/>
          </p:nvSpPr>
          <p:spPr bwMode="auto">
            <a:xfrm>
              <a:off x="3231" y="1550"/>
              <a:ext cx="1216" cy="1218"/>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sp>
          <p:nvSpPr>
            <p:cNvPr id="10" name="Oval 7">
              <a:extLst>
                <a:ext uri="{FF2B5EF4-FFF2-40B4-BE49-F238E27FC236}">
                  <a16:creationId xmlns:a16="http://schemas.microsoft.com/office/drawing/2014/main" id="{1AAD85C4-5274-2A52-B261-5F4A53C94C01}"/>
                </a:ext>
              </a:extLst>
            </p:cNvPr>
            <p:cNvSpPr>
              <a:spLocks noChangeArrowheads="1"/>
            </p:cNvSpPr>
            <p:nvPr/>
          </p:nvSpPr>
          <p:spPr bwMode="auto">
            <a:xfrm>
              <a:off x="4329" y="1383"/>
              <a:ext cx="285" cy="2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p>
          </p:txBody>
        </p:sp>
      </p:grpSp>
      <p:pic>
        <p:nvPicPr>
          <p:cNvPr id="11" name="Graphic 10">
            <a:hlinkClick r:id="rId10"/>
            <a:extLst>
              <a:ext uri="{FF2B5EF4-FFF2-40B4-BE49-F238E27FC236}">
                <a16:creationId xmlns:a16="http://schemas.microsoft.com/office/drawing/2014/main" id="{FD66270E-CBB0-5B27-6466-5C09067314A1}"/>
              </a:ext>
            </a:extLst>
          </p:cNvPr>
          <p:cNvPicPr>
            <a:picLocks noChangeAspect="1"/>
          </p:cNvPicPr>
          <p:nvPr userDrawn="1"/>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438744" y="5909556"/>
            <a:ext cx="278327" cy="260582"/>
          </a:xfrm>
          <a:prstGeom prst="rect">
            <a:avLst/>
          </a:prstGeom>
        </p:spPr>
      </p:pic>
      <p:cxnSp>
        <p:nvCxnSpPr>
          <p:cNvPr id="12" name="Straight Connector 11">
            <a:extLst>
              <a:ext uri="{FF2B5EF4-FFF2-40B4-BE49-F238E27FC236}">
                <a16:creationId xmlns:a16="http://schemas.microsoft.com/office/drawing/2014/main" id="{06401681-5398-C907-8ED2-B0EE7BBB960F}"/>
              </a:ext>
            </a:extLst>
          </p:cNvPr>
          <p:cNvCxnSpPr/>
          <p:nvPr userDrawn="1"/>
        </p:nvCxnSpPr>
        <p:spPr>
          <a:xfrm>
            <a:off x="3089964" y="5526724"/>
            <a:ext cx="0" cy="678583"/>
          </a:xfrm>
          <a:prstGeom prst="line">
            <a:avLst/>
          </a:prstGeom>
          <a:ln w="12700" cap="rnd">
            <a:solidFill>
              <a:schemeClr val="bg1"/>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pic>
        <p:nvPicPr>
          <p:cNvPr id="13" name="Picture 12">
            <a:hlinkClick r:id="rId13"/>
            <a:extLst>
              <a:ext uri="{FF2B5EF4-FFF2-40B4-BE49-F238E27FC236}">
                <a16:creationId xmlns:a16="http://schemas.microsoft.com/office/drawing/2014/main" id="{F5AD6E3D-DCEB-1840-E98A-A2F4A4D22C0C}"/>
              </a:ext>
            </a:extLst>
          </p:cNvPr>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2454421" y="5889009"/>
            <a:ext cx="397241" cy="278565"/>
          </a:xfrm>
          <a:prstGeom prst="rect">
            <a:avLst/>
          </a:prstGeom>
        </p:spPr>
      </p:pic>
      <p:sp>
        <p:nvSpPr>
          <p:cNvPr id="14" name="TextBox 13">
            <a:extLst>
              <a:ext uri="{FF2B5EF4-FFF2-40B4-BE49-F238E27FC236}">
                <a16:creationId xmlns:a16="http://schemas.microsoft.com/office/drawing/2014/main" id="{1B30B114-2C27-BC7D-682B-A95FF968E18D}"/>
              </a:ext>
            </a:extLst>
          </p:cNvPr>
          <p:cNvSpPr txBox="1"/>
          <p:nvPr userDrawn="1"/>
        </p:nvSpPr>
        <p:spPr>
          <a:xfrm>
            <a:off x="3370214" y="5464171"/>
            <a:ext cx="2434962" cy="246221"/>
          </a:xfrm>
          <a:prstGeom prst="rect">
            <a:avLst/>
          </a:prstGeom>
          <a:noFill/>
        </p:spPr>
        <p:txBody>
          <a:bodyPr wrap="square" lIns="0" tIns="0" rIns="0" bIns="0">
            <a:spAutoFit/>
          </a:bodyPr>
          <a:lstStyle>
            <a:defPPr>
              <a:defRPr lang="en-US"/>
            </a:defPPr>
            <a:lvl1pPr>
              <a:defRPr sz="1600" b="0" i="0">
                <a:solidFill>
                  <a:schemeClr val="bg1"/>
                </a:solidFill>
                <a:effectLst/>
                <a:ea typeface="ES Build" pitchFamily="2" charset="77"/>
              </a:defRPr>
            </a:lvl1pPr>
          </a:lstStyle>
          <a:p>
            <a:r>
              <a:rPr lang="en-US"/>
              <a:t>Join the community hub:</a:t>
            </a:r>
          </a:p>
        </p:txBody>
      </p:sp>
      <p:pic>
        <p:nvPicPr>
          <p:cNvPr id="15" name="Picture 14" descr="A blue and black logo&#10;&#10;Description automatically generated">
            <a:hlinkClick r:id="rId15"/>
            <a:extLst>
              <a:ext uri="{FF2B5EF4-FFF2-40B4-BE49-F238E27FC236}">
                <a16:creationId xmlns:a16="http://schemas.microsoft.com/office/drawing/2014/main" id="{798720E0-2DD0-3264-1778-5D3DB0EB83B8}"/>
              </a:ext>
            </a:extLst>
          </p:cNvPr>
          <p:cNvPicPr>
            <a:picLocks noChangeAspect="1"/>
          </p:cNvPicPr>
          <p:nvPr userDrawn="1"/>
        </p:nvPicPr>
        <p:blipFill rotWithShape="1">
          <a:blip r:embed="rId16">
            <a:biLevel thresh="25000"/>
          </a:blip>
          <a:srcRect r="14227"/>
          <a:stretch/>
        </p:blipFill>
        <p:spPr>
          <a:xfrm>
            <a:off x="510677" y="5832610"/>
            <a:ext cx="353151" cy="349427"/>
          </a:xfrm>
          <a:prstGeom prst="rect">
            <a:avLst/>
          </a:prstGeom>
        </p:spPr>
      </p:pic>
    </p:spTree>
    <p:extLst>
      <p:ext uri="{BB962C8B-B14F-4D97-AF65-F5344CB8AC3E}">
        <p14:creationId xmlns:p14="http://schemas.microsoft.com/office/powerpoint/2010/main" val="2943588557"/>
      </p:ext>
    </p:extLst>
  </p:cSld>
  <p:clrMapOvr>
    <a:overrideClrMapping bg1="lt1" tx1="dk1" bg2="lt2" tx2="dk2" accent1="accent1" accent2="accent2" accent3="accent3" accent4="accent4" accent5="accent5" accent6="accent6" hlink="hlink" folHlink="folHlink"/>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2_Title &amp; Subtitle">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86E2E2E-C03C-BAE4-D818-84982363EE55}"/>
              </a:ext>
            </a:extLst>
          </p:cNvPr>
          <p:cNvSpPr>
            <a:spLocks noGrp="1"/>
          </p:cNvSpPr>
          <p:nvPr>
            <p:ph type="title"/>
          </p:nvPr>
        </p:nvSpPr>
        <p:spPr/>
        <p:txBody>
          <a:bodyPr/>
          <a:lstStyle/>
          <a:p>
            <a:r>
              <a:rPr lang="en-US"/>
              <a:t>Click to edit Master title style</a:t>
            </a:r>
          </a:p>
        </p:txBody>
      </p:sp>
      <p:sp>
        <p:nvSpPr>
          <p:cNvPr id="10" name="Footer Placeholder 66">
            <a:extLst>
              <a:ext uri="{FF2B5EF4-FFF2-40B4-BE49-F238E27FC236}">
                <a16:creationId xmlns:a16="http://schemas.microsoft.com/office/drawing/2014/main" id="{897E5D5F-07B8-45D8-5BF7-ABED590AC892}"/>
              </a:ext>
            </a:extLst>
          </p:cNvPr>
          <p:cNvSpPr>
            <a:spLocks noGrp="1"/>
          </p:cNvSpPr>
          <p:nvPr>
            <p:ph type="ftr" sz="quarter" idx="3"/>
          </p:nvPr>
        </p:nvSpPr>
        <p:spPr>
          <a:xfrm>
            <a:off x="493288" y="6405456"/>
            <a:ext cx="9893725" cy="107722"/>
          </a:xfrm>
          <a:prstGeom prst="rect">
            <a:avLst/>
          </a:prstGeom>
        </p:spPr>
        <p:txBody>
          <a:bodyPr vert="horz" lIns="0" tIns="0" rIns="0" bIns="0" rtlCol="0" anchor="b"/>
          <a:lstStyle>
            <a:lvl1pPr algn="l">
              <a:defRPr sz="700">
                <a:solidFill>
                  <a:schemeClr val="tx2"/>
                </a:solidFill>
              </a:defRPr>
            </a:lvl1pPr>
          </a:lstStyle>
          <a:p>
            <a:endParaRPr lang="en-US"/>
          </a:p>
        </p:txBody>
      </p:sp>
    </p:spTree>
    <p:extLst>
      <p:ext uri="{BB962C8B-B14F-4D97-AF65-F5344CB8AC3E}">
        <p14:creationId xmlns:p14="http://schemas.microsoft.com/office/powerpoint/2010/main" val="159209282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3_Title &amp; Subtitle">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86E2E2E-C03C-BAE4-D818-84982363EE55}"/>
              </a:ext>
            </a:extLst>
          </p:cNvPr>
          <p:cNvSpPr>
            <a:spLocks noGrp="1"/>
          </p:cNvSpPr>
          <p:nvPr>
            <p:ph type="title"/>
          </p:nvPr>
        </p:nvSpPr>
        <p:spPr>
          <a:xfrm>
            <a:off x="493712" y="342900"/>
            <a:ext cx="11202987" cy="6169025"/>
          </a:xfrm>
        </p:spPr>
        <p:txBody>
          <a:bodyPr anchor="ctr"/>
          <a:lstStyle>
            <a:lvl1pPr algn="ctr">
              <a:defRPr sz="5400"/>
            </a:lvl1pPr>
          </a:lstStyle>
          <a:p>
            <a:r>
              <a:rPr lang="en-US"/>
              <a:t>Click to edit Master title style</a:t>
            </a:r>
          </a:p>
        </p:txBody>
      </p:sp>
      <p:sp>
        <p:nvSpPr>
          <p:cNvPr id="2" name="Content Placeholder 18">
            <a:extLst>
              <a:ext uri="{FF2B5EF4-FFF2-40B4-BE49-F238E27FC236}">
                <a16:creationId xmlns:a16="http://schemas.microsoft.com/office/drawing/2014/main" id="{4B08B9A4-8E9E-3A23-1EC5-86C076ECEFAE}"/>
              </a:ext>
            </a:extLst>
          </p:cNvPr>
          <p:cNvSpPr>
            <a:spLocks noGrp="1"/>
          </p:cNvSpPr>
          <p:nvPr>
            <p:ph sz="quarter" idx="10"/>
          </p:nvPr>
        </p:nvSpPr>
        <p:spPr>
          <a:xfrm>
            <a:off x="12337772" y="0"/>
            <a:ext cx="2370137" cy="6858000"/>
          </a:xfrm>
        </p:spPr>
        <p:txBody>
          <a:bodyPr/>
          <a:lstStyle>
            <a:lvl1pPr>
              <a:defRPr>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vl5pPr>
              <a:defRPr sz="16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974184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7_Title &amp; Subtitle">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86E2E2E-C03C-BAE4-D818-84982363EE55}"/>
              </a:ext>
            </a:extLst>
          </p:cNvPr>
          <p:cNvSpPr>
            <a:spLocks noGrp="1"/>
          </p:cNvSpPr>
          <p:nvPr>
            <p:ph type="title"/>
          </p:nvPr>
        </p:nvSpPr>
        <p:spPr/>
        <p:txBody>
          <a:bodyPr/>
          <a:lstStyle/>
          <a:p>
            <a:r>
              <a:rPr lang="en-US"/>
              <a:t>Click to edit Master title style</a:t>
            </a:r>
          </a:p>
        </p:txBody>
      </p:sp>
      <p:sp>
        <p:nvSpPr>
          <p:cNvPr id="2" name="Content Placeholder 18">
            <a:extLst>
              <a:ext uri="{FF2B5EF4-FFF2-40B4-BE49-F238E27FC236}">
                <a16:creationId xmlns:a16="http://schemas.microsoft.com/office/drawing/2014/main" id="{524F06C9-7273-4D73-C971-5B258203990C}"/>
              </a:ext>
            </a:extLst>
          </p:cNvPr>
          <p:cNvSpPr>
            <a:spLocks noGrp="1"/>
          </p:cNvSpPr>
          <p:nvPr>
            <p:ph sz="quarter" idx="10"/>
          </p:nvPr>
        </p:nvSpPr>
        <p:spPr>
          <a:xfrm>
            <a:off x="12337772" y="0"/>
            <a:ext cx="2370137" cy="6858000"/>
          </a:xfrm>
        </p:spPr>
        <p:txBody>
          <a:bodyPr/>
          <a:lstStyle>
            <a:lvl1pPr>
              <a:defRPr>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vl5pPr>
              <a:defRPr sz="16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72111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ne Column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0B65F72-82C4-0D49-112D-0341D18692E9}"/>
              </a:ext>
            </a:extLst>
          </p:cNvPr>
          <p:cNvSpPr>
            <a:spLocks noGrp="1"/>
          </p:cNvSpPr>
          <p:nvPr>
            <p:ph type="title"/>
          </p:nvPr>
        </p:nvSpPr>
        <p:spPr>
          <a:xfrm>
            <a:off x="493712" y="342900"/>
            <a:ext cx="11202987" cy="682625"/>
          </a:xfrm>
        </p:spPr>
        <p:txBody>
          <a:bodyPr/>
          <a:lstStyle/>
          <a:p>
            <a:r>
              <a:rPr lang="en-US"/>
              <a:t>Click to edit Master title style</a:t>
            </a:r>
          </a:p>
        </p:txBody>
      </p:sp>
      <p:sp>
        <p:nvSpPr>
          <p:cNvPr id="5" name="Subtitle 2">
            <a:extLst>
              <a:ext uri="{FF2B5EF4-FFF2-40B4-BE49-F238E27FC236}">
                <a16:creationId xmlns:a16="http://schemas.microsoft.com/office/drawing/2014/main" id="{1ACA5E8C-63C8-8AD4-F044-CD266DE5C814}"/>
              </a:ext>
            </a:extLst>
          </p:cNvPr>
          <p:cNvSpPr>
            <a:spLocks noGrp="1"/>
          </p:cNvSpPr>
          <p:nvPr>
            <p:ph type="subTitle" idx="1"/>
          </p:nvPr>
        </p:nvSpPr>
        <p:spPr>
          <a:xfrm>
            <a:off x="502179" y="1032607"/>
            <a:ext cx="11194511" cy="338993"/>
          </a:xfrm>
        </p:spPr>
        <p:txBody>
          <a:bodyPr anchor="t"/>
          <a:lstStyle>
            <a:lvl1pPr marL="0" indent="0" algn="l">
              <a:buNone/>
              <a:defRPr sz="2100">
                <a:solidFill>
                  <a:schemeClr val="tx1"/>
                </a:solidFill>
                <a:latin typeface="ES Build "/>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Footer Placeholder 66">
            <a:extLst>
              <a:ext uri="{FF2B5EF4-FFF2-40B4-BE49-F238E27FC236}">
                <a16:creationId xmlns:a16="http://schemas.microsoft.com/office/drawing/2014/main" id="{238F2EE7-08CB-24D4-C85D-6DF51A39EF60}"/>
              </a:ext>
            </a:extLst>
          </p:cNvPr>
          <p:cNvSpPr>
            <a:spLocks noGrp="1"/>
          </p:cNvSpPr>
          <p:nvPr>
            <p:ph type="ftr" sz="quarter" idx="3"/>
          </p:nvPr>
        </p:nvSpPr>
        <p:spPr>
          <a:xfrm>
            <a:off x="493288" y="6405456"/>
            <a:ext cx="9893725" cy="107722"/>
          </a:xfrm>
          <a:prstGeom prst="rect">
            <a:avLst/>
          </a:prstGeom>
        </p:spPr>
        <p:txBody>
          <a:bodyPr vert="horz" lIns="0" tIns="0" rIns="0" bIns="0" rtlCol="0" anchor="b"/>
          <a:lstStyle>
            <a:lvl1pPr algn="l">
              <a:defRPr sz="700">
                <a:solidFill>
                  <a:schemeClr val="tx2"/>
                </a:solidFill>
              </a:defRPr>
            </a:lvl1pPr>
          </a:lstStyle>
          <a:p>
            <a:endParaRPr lang="en-US"/>
          </a:p>
        </p:txBody>
      </p:sp>
      <p:sp>
        <p:nvSpPr>
          <p:cNvPr id="8" name="Content Placeholder 18">
            <a:extLst>
              <a:ext uri="{FF2B5EF4-FFF2-40B4-BE49-F238E27FC236}">
                <a16:creationId xmlns:a16="http://schemas.microsoft.com/office/drawing/2014/main" id="{DD860FCA-A322-E028-A3B7-EEC65595DE38}"/>
              </a:ext>
            </a:extLst>
          </p:cNvPr>
          <p:cNvSpPr>
            <a:spLocks noGrp="1"/>
          </p:cNvSpPr>
          <p:nvPr>
            <p:ph sz="quarter" idx="10"/>
          </p:nvPr>
        </p:nvSpPr>
        <p:spPr>
          <a:xfrm>
            <a:off x="493287" y="1719645"/>
            <a:ext cx="11203413" cy="4449380"/>
          </a:xfrm>
        </p:spPr>
        <p:txBody>
          <a:bodyPr/>
          <a:lstStyle>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30151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Blank Dark">
    <p:spTree>
      <p:nvGrpSpPr>
        <p:cNvPr id="1" name=""/>
        <p:cNvGrpSpPr/>
        <p:nvPr/>
      </p:nvGrpSpPr>
      <p:grpSpPr>
        <a:xfrm>
          <a:off x="0" y="0"/>
          <a:ext cx="0" cy="0"/>
          <a:chOff x="0" y="0"/>
          <a:chExt cx="0" cy="0"/>
        </a:xfrm>
      </p:grpSpPr>
      <p:sp>
        <p:nvSpPr>
          <p:cNvPr id="2" name="Content Placeholder 18">
            <a:extLst>
              <a:ext uri="{FF2B5EF4-FFF2-40B4-BE49-F238E27FC236}">
                <a16:creationId xmlns:a16="http://schemas.microsoft.com/office/drawing/2014/main" id="{B451875A-36E8-A20C-BD31-FCCB914E2B51}"/>
              </a:ext>
            </a:extLst>
          </p:cNvPr>
          <p:cNvSpPr>
            <a:spLocks noGrp="1"/>
          </p:cNvSpPr>
          <p:nvPr>
            <p:ph sz="quarter" idx="10"/>
          </p:nvPr>
        </p:nvSpPr>
        <p:spPr>
          <a:xfrm>
            <a:off x="12337772" y="0"/>
            <a:ext cx="2370137" cy="6858000"/>
          </a:xfrm>
        </p:spPr>
        <p:txBody>
          <a:bodyPr/>
          <a:lstStyle>
            <a:lvl1pPr>
              <a:defRPr>
                <a:solidFill>
                  <a:schemeClr val="accent1"/>
                </a:solidFill>
              </a:defRPr>
            </a:lvl1pPr>
            <a:lvl2pPr>
              <a:defRPr sz="1600">
                <a:solidFill>
                  <a:schemeClr val="accent1"/>
                </a:solidFill>
              </a:defRPr>
            </a:lvl2pPr>
            <a:lvl3pPr>
              <a:defRPr sz="1600">
                <a:solidFill>
                  <a:schemeClr val="accent1"/>
                </a:solidFill>
              </a:defRPr>
            </a:lvl3pPr>
            <a:lvl4pPr>
              <a:defRPr sz="1600">
                <a:solidFill>
                  <a:schemeClr val="accent1"/>
                </a:solidFill>
              </a:defRPr>
            </a:lvl4pPr>
            <a:lvl5pPr>
              <a:defRPr sz="16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1491409"/>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3_One Column Content">
    <p:spTree>
      <p:nvGrpSpPr>
        <p:cNvPr id="1" name=""/>
        <p:cNvGrpSpPr/>
        <p:nvPr/>
      </p:nvGrpSpPr>
      <p:grpSpPr>
        <a:xfrm>
          <a:off x="0" y="0"/>
          <a:ext cx="0" cy="0"/>
          <a:chOff x="0" y="0"/>
          <a:chExt cx="0" cy="0"/>
        </a:xfrm>
      </p:grpSpPr>
      <p:sp>
        <p:nvSpPr>
          <p:cNvPr id="21" name="Title 2">
            <a:extLst>
              <a:ext uri="{FF2B5EF4-FFF2-40B4-BE49-F238E27FC236}">
                <a16:creationId xmlns:a16="http://schemas.microsoft.com/office/drawing/2014/main" id="{503F1812-5EBC-E572-87BE-B77DDDB0669D}"/>
              </a:ext>
            </a:extLst>
          </p:cNvPr>
          <p:cNvSpPr>
            <a:spLocks noGrp="1"/>
          </p:cNvSpPr>
          <p:nvPr>
            <p:ph type="title"/>
          </p:nvPr>
        </p:nvSpPr>
        <p:spPr>
          <a:xfrm>
            <a:off x="493287" y="342900"/>
            <a:ext cx="11202987" cy="68262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9934189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3C1EA9AC-4EB9-8C4D-288D-93333E5467EC}"/>
              </a:ext>
            </a:extLst>
          </p:cNvPr>
          <p:cNvSpPr>
            <a:spLocks noGrp="1"/>
          </p:cNvSpPr>
          <p:nvPr>
            <p:ph type="subTitle" idx="1"/>
          </p:nvPr>
        </p:nvSpPr>
        <p:spPr>
          <a:xfrm>
            <a:off x="502179" y="1032607"/>
            <a:ext cx="11194511" cy="338993"/>
          </a:xfrm>
        </p:spPr>
        <p:txBody>
          <a:bodyPr/>
          <a:lstStyle>
            <a:lvl1pPr marL="0" indent="0" algn="l">
              <a:buNone/>
              <a:defRPr sz="21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Title 4">
            <a:extLst>
              <a:ext uri="{FF2B5EF4-FFF2-40B4-BE49-F238E27FC236}">
                <a16:creationId xmlns:a16="http://schemas.microsoft.com/office/drawing/2014/main" id="{4898C618-656B-ECF4-232F-0AE48390DE64}"/>
              </a:ext>
            </a:extLst>
          </p:cNvPr>
          <p:cNvSpPr>
            <a:spLocks noGrp="1"/>
          </p:cNvSpPr>
          <p:nvPr>
            <p:ph type="title"/>
          </p:nvPr>
        </p:nvSpPr>
        <p:spPr>
          <a:xfrm>
            <a:off x="493712" y="342900"/>
            <a:ext cx="11202987" cy="682625"/>
          </a:xfrm>
        </p:spPr>
        <p:txBody>
          <a:bodyPr/>
          <a:lstStyle/>
          <a:p>
            <a:r>
              <a:rPr lang="en-US"/>
              <a:t>Click to edit Master title style</a:t>
            </a:r>
          </a:p>
        </p:txBody>
      </p:sp>
      <p:sp>
        <p:nvSpPr>
          <p:cNvPr id="7" name="Footer Placeholder 66">
            <a:extLst>
              <a:ext uri="{FF2B5EF4-FFF2-40B4-BE49-F238E27FC236}">
                <a16:creationId xmlns:a16="http://schemas.microsoft.com/office/drawing/2014/main" id="{85449C12-712C-A478-9393-2CD1BCA56848}"/>
              </a:ext>
            </a:extLst>
          </p:cNvPr>
          <p:cNvSpPr>
            <a:spLocks noGrp="1"/>
          </p:cNvSpPr>
          <p:nvPr>
            <p:ph type="ftr" sz="quarter" idx="3"/>
          </p:nvPr>
        </p:nvSpPr>
        <p:spPr>
          <a:xfrm>
            <a:off x="493288" y="6405456"/>
            <a:ext cx="9893725" cy="107722"/>
          </a:xfrm>
          <a:prstGeom prst="rect">
            <a:avLst/>
          </a:prstGeom>
        </p:spPr>
        <p:txBody>
          <a:bodyPr vert="horz" lIns="0" tIns="0" rIns="0" bIns="0" rtlCol="0" anchor="b"/>
          <a:lstStyle>
            <a:lvl1pPr algn="l">
              <a:defRPr sz="700">
                <a:solidFill>
                  <a:schemeClr val="tx2"/>
                </a:solidFill>
              </a:defRPr>
            </a:lvl1pPr>
          </a:lstStyle>
          <a:p>
            <a:endParaRPr lang="en-US"/>
          </a:p>
        </p:txBody>
      </p:sp>
      <p:sp>
        <p:nvSpPr>
          <p:cNvPr id="8" name="Content Placeholder 18">
            <a:extLst>
              <a:ext uri="{FF2B5EF4-FFF2-40B4-BE49-F238E27FC236}">
                <a16:creationId xmlns:a16="http://schemas.microsoft.com/office/drawing/2014/main" id="{B716F0E3-C015-48CC-3A2A-C9CE98111289}"/>
              </a:ext>
            </a:extLst>
          </p:cNvPr>
          <p:cNvSpPr>
            <a:spLocks noGrp="1"/>
          </p:cNvSpPr>
          <p:nvPr>
            <p:ph sz="quarter" idx="10"/>
          </p:nvPr>
        </p:nvSpPr>
        <p:spPr>
          <a:xfrm>
            <a:off x="493287" y="1719645"/>
            <a:ext cx="5482055" cy="4449380"/>
          </a:xfrm>
        </p:spPr>
        <p:txBody>
          <a:bodyPr/>
          <a:lstStyle>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18">
            <a:extLst>
              <a:ext uri="{FF2B5EF4-FFF2-40B4-BE49-F238E27FC236}">
                <a16:creationId xmlns:a16="http://schemas.microsoft.com/office/drawing/2014/main" id="{E8098347-D218-E2F2-713C-BD22A68A58FD}"/>
              </a:ext>
            </a:extLst>
          </p:cNvPr>
          <p:cNvSpPr>
            <a:spLocks noGrp="1"/>
          </p:cNvSpPr>
          <p:nvPr>
            <p:ph sz="quarter" idx="11"/>
          </p:nvPr>
        </p:nvSpPr>
        <p:spPr>
          <a:xfrm>
            <a:off x="6215064" y="1717247"/>
            <a:ext cx="5481626" cy="4449380"/>
          </a:xfrm>
        </p:spPr>
        <p:txBody>
          <a:bodyPr/>
          <a:lstStyle>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96313"/>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image" Target="../media/image1.png"/><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image" Target="../media/image2.pn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customXml" Target="../ink/ink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image" Target="../media/image3.svg"/><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61" Type="http://schemas.openxmlformats.org/officeDocument/2006/relationships/slideLayout" Target="../slideLayouts/slideLayout61.xml"/><Relationship Id="rId8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White">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D14B3B3-230B-6CB2-B836-A5132C862073}"/>
              </a:ext>
            </a:extLst>
          </p:cNvPr>
          <p:cNvSpPr>
            <a:spLocks noGrp="1"/>
          </p:cNvSpPr>
          <p:nvPr>
            <p:ph type="body" idx="1"/>
          </p:nvPr>
        </p:nvSpPr>
        <p:spPr>
          <a:xfrm>
            <a:off x="493288" y="1648925"/>
            <a:ext cx="11202987" cy="452009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a:extLst>
              <a:ext uri="{FF2B5EF4-FFF2-40B4-BE49-F238E27FC236}">
                <a16:creationId xmlns:a16="http://schemas.microsoft.com/office/drawing/2014/main" id="{545D83A8-9E79-2C61-4D66-EF1466741576}"/>
              </a:ext>
            </a:extLst>
          </p:cNvPr>
          <p:cNvSpPr>
            <a:spLocks noGrp="1"/>
          </p:cNvSpPr>
          <p:nvPr>
            <p:ph type="title"/>
          </p:nvPr>
        </p:nvSpPr>
        <p:spPr>
          <a:xfrm>
            <a:off x="493712" y="342900"/>
            <a:ext cx="11202987" cy="682625"/>
          </a:xfrm>
          <a:prstGeom prst="rect">
            <a:avLst/>
          </a:prstGeom>
        </p:spPr>
        <p:txBody>
          <a:bodyPr vert="horz" lIns="0" tIns="0" rIns="0" bIns="0" rtlCol="0" anchor="t" anchorCtr="0">
            <a:noAutofit/>
          </a:bodyPr>
          <a:lstStyle/>
          <a:p>
            <a:r>
              <a:rPr lang="en-US"/>
              <a:t>Click to edit Master title style</a:t>
            </a:r>
          </a:p>
        </p:txBody>
      </p:sp>
      <p:sp>
        <p:nvSpPr>
          <p:cNvPr id="67" name="Footer Placeholder 66">
            <a:extLst>
              <a:ext uri="{FF2B5EF4-FFF2-40B4-BE49-F238E27FC236}">
                <a16:creationId xmlns:a16="http://schemas.microsoft.com/office/drawing/2014/main" id="{27DF4F35-707D-7AE3-40B3-DE4E98A3A06D}"/>
              </a:ext>
            </a:extLst>
          </p:cNvPr>
          <p:cNvSpPr>
            <a:spLocks noGrp="1"/>
          </p:cNvSpPr>
          <p:nvPr>
            <p:ph type="ftr" sz="quarter" idx="3"/>
          </p:nvPr>
        </p:nvSpPr>
        <p:spPr>
          <a:xfrm>
            <a:off x="493288" y="6405456"/>
            <a:ext cx="9893725" cy="107722"/>
          </a:xfrm>
          <a:prstGeom prst="rect">
            <a:avLst/>
          </a:prstGeom>
        </p:spPr>
        <p:txBody>
          <a:bodyPr vert="horz" lIns="0" tIns="0" rIns="0" bIns="0" rtlCol="0" anchor="b"/>
          <a:lstStyle>
            <a:lvl1pPr algn="l">
              <a:defRPr sz="700">
                <a:solidFill>
                  <a:schemeClr val="tx2"/>
                </a:solidFill>
              </a:defRPr>
            </a:lvl1pPr>
          </a:lstStyle>
          <a:p>
            <a:endParaRPr lang="en-US"/>
          </a:p>
        </p:txBody>
      </p:sp>
      <p:sp>
        <p:nvSpPr>
          <p:cNvPr id="95" name="TextBox 94">
            <a:extLst>
              <a:ext uri="{FF2B5EF4-FFF2-40B4-BE49-F238E27FC236}">
                <a16:creationId xmlns:a16="http://schemas.microsoft.com/office/drawing/2014/main" id="{FA504D58-0E95-843B-D693-959DB54CB7A1}"/>
              </a:ext>
            </a:extLst>
          </p:cNvPr>
          <p:cNvSpPr txBox="1"/>
          <p:nvPr userDrawn="1"/>
        </p:nvSpPr>
        <p:spPr>
          <a:xfrm>
            <a:off x="493288" y="6562481"/>
            <a:ext cx="5029200" cy="107722"/>
          </a:xfrm>
          <a:prstGeom prst="rect">
            <a:avLst/>
          </a:prstGeom>
          <a:noFill/>
        </p:spPr>
        <p:txBody>
          <a:bodyPr wrap="square" lIns="0" tIns="0" rIns="0" bIns="0">
            <a:spAutoFit/>
          </a:bodyPr>
          <a:lstStyle/>
          <a:p>
            <a:r>
              <a:rPr lang="en-US" sz="700">
                <a:solidFill>
                  <a:schemeClr val="tx2"/>
                </a:solidFill>
              </a:rPr>
              <a:t>© 2024 Veeam Software. Confidential information. All rights reserved. All trademarks are the property of their respective owners. </a:t>
            </a:r>
          </a:p>
        </p:txBody>
      </p:sp>
      <mc:AlternateContent xmlns:mc="http://schemas.openxmlformats.org/markup-compatibility/2006" xmlns:p14="http://schemas.microsoft.com/office/powerpoint/2010/main">
        <mc:Choice Requires="p14">
          <p:contentPart p14:bwMode="auto" r:id="rId83">
            <p14:nvContentPartPr>
              <p14:cNvPr id="142" name="Ink 141">
                <a:extLst>
                  <a:ext uri="{FF2B5EF4-FFF2-40B4-BE49-F238E27FC236}">
                    <a16:creationId xmlns:a16="http://schemas.microsoft.com/office/drawing/2014/main" id="{199B0CB7-7F87-CA94-8B08-89B820EFB438}"/>
                  </a:ext>
                </a:extLst>
              </p14:cNvPr>
              <p14:cNvContentPartPr/>
              <p14:nvPr userDrawn="1"/>
            </p14:nvContentPartPr>
            <p14:xfrm>
              <a:off x="5523564" y="-1701176"/>
              <a:ext cx="360" cy="360"/>
            </p14:xfrm>
          </p:contentPart>
        </mc:Choice>
        <mc:Fallback xmlns="">
          <p:pic>
            <p:nvPicPr>
              <p:cNvPr id="142" name="Ink 141">
                <a:extLst>
                  <a:ext uri="{FF2B5EF4-FFF2-40B4-BE49-F238E27FC236}">
                    <a16:creationId xmlns:a16="http://schemas.microsoft.com/office/drawing/2014/main" id="{199B0CB7-7F87-CA94-8B08-89B820EFB438}"/>
                  </a:ext>
                </a:extLst>
              </p:cNvPr>
              <p:cNvPicPr/>
              <p:nvPr/>
            </p:nvPicPr>
            <p:blipFill>
              <a:blip r:embed="rId84"/>
              <a:stretch>
                <a:fillRect/>
              </a:stretch>
            </p:blipFill>
            <p:spPr>
              <a:xfrm>
                <a:off x="5514564" y="-1710176"/>
                <a:ext cx="18000" cy="18000"/>
              </a:xfrm>
              <a:prstGeom prst="rect">
                <a:avLst/>
              </a:prstGeom>
            </p:spPr>
          </p:pic>
        </mc:Fallback>
      </mc:AlternateContent>
      <p:pic>
        <p:nvPicPr>
          <p:cNvPr id="190" name="Graphic 189">
            <a:extLst>
              <a:ext uri="{FF2B5EF4-FFF2-40B4-BE49-F238E27FC236}">
                <a16:creationId xmlns:a16="http://schemas.microsoft.com/office/drawing/2014/main" id="{0716F319-54B2-5DA9-B260-5E49AC90CE13}"/>
              </a:ext>
            </a:extLst>
          </p:cNvPr>
          <p:cNvPicPr>
            <a:picLocks noChangeAspect="1"/>
          </p:cNvPicPr>
          <p:nvPr userDrawn="1"/>
        </p:nvPicPr>
        <p:blipFill rotWithShape="1">
          <a:blip r:embed="rId85" cstate="screen">
            <a:extLst>
              <a:ext uri="{28A0092B-C50C-407E-A947-70E740481C1C}">
                <a14:useLocalDpi xmlns:a14="http://schemas.microsoft.com/office/drawing/2010/main"/>
              </a:ext>
              <a:ext uri="{96DAC541-7B7A-43D3-8B79-37D633B846F1}">
                <asvg:svgBlip xmlns:asvg="http://schemas.microsoft.com/office/drawing/2016/SVG/main" r:embed="rId86"/>
              </a:ext>
            </a:extLst>
          </a:blip>
          <a:srcRect/>
          <a:stretch/>
        </p:blipFill>
        <p:spPr>
          <a:xfrm>
            <a:off x="11180146" y="6513177"/>
            <a:ext cx="516553" cy="157025"/>
          </a:xfrm>
          <a:prstGeom prst="rect">
            <a:avLst/>
          </a:prstGeom>
        </p:spPr>
      </p:pic>
    </p:spTree>
    <p:extLst>
      <p:ext uri="{BB962C8B-B14F-4D97-AF65-F5344CB8AC3E}">
        <p14:creationId xmlns:p14="http://schemas.microsoft.com/office/powerpoint/2010/main" val="533486435"/>
      </p:ext>
    </p:extLst>
  </p:cSld>
  <p:clrMap bg1="lt1" tx1="dk1" bg2="lt2" tx2="dk2" accent1="accent1" accent2="accent2" accent3="accent3" accent4="accent4" accent5="accent5" accent6="accent6" hlink="hlink" folHlink="folHlink"/>
  <p:sldLayoutIdLst>
    <p:sldLayoutId id="2147484205" r:id="rId1"/>
    <p:sldLayoutId id="2147484206" r:id="rId2"/>
    <p:sldLayoutId id="2147484250" r:id="rId3"/>
    <p:sldLayoutId id="2147484155" r:id="rId4"/>
    <p:sldLayoutId id="2147484212" r:id="rId5"/>
    <p:sldLayoutId id="2147484251" r:id="rId6"/>
    <p:sldLayoutId id="2147484252" r:id="rId7"/>
    <p:sldLayoutId id="2147484208" r:id="rId8"/>
    <p:sldLayoutId id="2147484209" r:id="rId9"/>
    <p:sldLayoutId id="2147484210" r:id="rId10"/>
    <p:sldLayoutId id="2147484225" r:id="rId11"/>
    <p:sldLayoutId id="2147484229" r:id="rId12"/>
    <p:sldLayoutId id="2147484201" r:id="rId13"/>
    <p:sldLayoutId id="2147484228" r:id="rId14"/>
    <p:sldLayoutId id="2147484230" r:id="rId15"/>
    <p:sldLayoutId id="2147484172" r:id="rId16"/>
    <p:sldLayoutId id="2147484226" r:id="rId17"/>
    <p:sldLayoutId id="2147484227" r:id="rId18"/>
    <p:sldLayoutId id="2147484253" r:id="rId19"/>
    <p:sldLayoutId id="2147484254" r:id="rId20"/>
    <p:sldLayoutId id="2147484255" r:id="rId21"/>
    <p:sldLayoutId id="2147484157" r:id="rId22"/>
    <p:sldLayoutId id="2147484159" r:id="rId23"/>
    <p:sldLayoutId id="2147484160" r:id="rId24"/>
    <p:sldLayoutId id="2147484164" r:id="rId25"/>
    <p:sldLayoutId id="2147484240" r:id="rId26"/>
    <p:sldLayoutId id="2147484242" r:id="rId27"/>
    <p:sldLayoutId id="2147484268" r:id="rId28"/>
    <p:sldLayoutId id="2147484269" r:id="rId29"/>
    <p:sldLayoutId id="2147484256" r:id="rId30"/>
    <p:sldLayoutId id="2147484257" r:id="rId31"/>
    <p:sldLayoutId id="2147484258" r:id="rId32"/>
    <p:sldLayoutId id="2147484259" r:id="rId33"/>
    <p:sldLayoutId id="2147484174" r:id="rId34"/>
    <p:sldLayoutId id="2147484232" r:id="rId35"/>
    <p:sldLayoutId id="2147484175" r:id="rId36"/>
    <p:sldLayoutId id="2147484233" r:id="rId37"/>
    <p:sldLayoutId id="2147484176" r:id="rId38"/>
    <p:sldLayoutId id="2147484234" r:id="rId39"/>
    <p:sldLayoutId id="2147484177" r:id="rId40"/>
    <p:sldLayoutId id="2147484235" r:id="rId41"/>
    <p:sldLayoutId id="2147484178" r:id="rId42"/>
    <p:sldLayoutId id="2147484236" r:id="rId43"/>
    <p:sldLayoutId id="2147484179" r:id="rId44"/>
    <p:sldLayoutId id="2147484237" r:id="rId45"/>
    <p:sldLayoutId id="2147484260" r:id="rId46"/>
    <p:sldLayoutId id="2147484261" r:id="rId47"/>
    <p:sldLayoutId id="2147484243" r:id="rId48"/>
    <p:sldLayoutId id="2147484244" r:id="rId49"/>
    <p:sldLayoutId id="2147484245" r:id="rId50"/>
    <p:sldLayoutId id="2147484246" r:id="rId51"/>
    <p:sldLayoutId id="2147484247" r:id="rId52"/>
    <p:sldLayoutId id="2147484248" r:id="rId53"/>
    <p:sldLayoutId id="2147484262" r:id="rId54"/>
    <p:sldLayoutId id="2147484182" r:id="rId55"/>
    <p:sldLayoutId id="2147484183" r:id="rId56"/>
    <p:sldLayoutId id="2147484184" r:id="rId57"/>
    <p:sldLayoutId id="2147484185" r:id="rId58"/>
    <p:sldLayoutId id="2147484186" r:id="rId59"/>
    <p:sldLayoutId id="2147484187" r:id="rId60"/>
    <p:sldLayoutId id="2147484264" r:id="rId61"/>
    <p:sldLayoutId id="2147484189" r:id="rId62"/>
    <p:sldLayoutId id="2147484190" r:id="rId63"/>
    <p:sldLayoutId id="2147484191" r:id="rId64"/>
    <p:sldLayoutId id="2147484192" r:id="rId65"/>
    <p:sldLayoutId id="2147484193" r:id="rId66"/>
    <p:sldLayoutId id="2147484194" r:id="rId67"/>
    <p:sldLayoutId id="2147484263" r:id="rId68"/>
    <p:sldLayoutId id="2147484202" r:id="rId69"/>
    <p:sldLayoutId id="2147484215" r:id="rId70"/>
    <p:sldLayoutId id="2147484219" r:id="rId71"/>
    <p:sldLayoutId id="2147484279" r:id="rId72"/>
    <p:sldLayoutId id="2147484220" r:id="rId73"/>
    <p:sldLayoutId id="2147484221" r:id="rId74"/>
    <p:sldLayoutId id="2147484270" r:id="rId75"/>
    <p:sldLayoutId id="2147484204" r:id="rId76"/>
    <p:sldLayoutId id="2147484274" r:id="rId77"/>
    <p:sldLayoutId id="2147484275" r:id="rId78"/>
    <p:sldLayoutId id="2147484278" r:id="rId79"/>
    <p:sldLayoutId id="2147484280" r:id="rId80"/>
    <p:sldLayoutId id="2147484281" r:id="rId81"/>
  </p:sldLayoutIdLst>
  <p:hf sldNum="0" hdr="0" dt="0"/>
  <p:txStyles>
    <p:titleStyle>
      <a:lvl1pPr algn="l" defTabSz="914400" rtl="0" eaLnBrk="1" latinLnBrk="0" hangingPunct="1">
        <a:lnSpc>
          <a:spcPct val="90000"/>
        </a:lnSpc>
        <a:spcBef>
          <a:spcPct val="0"/>
        </a:spcBef>
        <a:buNone/>
        <a:defRPr sz="3400" b="0" i="0" kern="1200">
          <a:solidFill>
            <a:schemeClr val="tx1"/>
          </a:solidFill>
          <a:latin typeface="ES Build" pitchFamily="2" charset="77"/>
          <a:ea typeface="ES Build" pitchFamily="2" charset="77"/>
          <a:cs typeface="+mj-cs"/>
        </a:defRPr>
      </a:lvl1pPr>
    </p:titleStyle>
    <p:bodyStyle>
      <a:lvl1pPr marL="0" indent="0" algn="l" defTabSz="914400" rtl="0" eaLnBrk="1" latinLnBrk="0" hangingPunct="1">
        <a:lnSpc>
          <a:spcPct val="96000"/>
        </a:lnSpc>
        <a:spcBef>
          <a:spcPts val="1200"/>
        </a:spcBef>
        <a:spcAft>
          <a:spcPts val="600"/>
        </a:spcAft>
        <a:buClrTx/>
        <a:buFont typeface="Calibri" panose="020F0502020204030204" pitchFamily="34" charset="0"/>
        <a:buChar char="​"/>
        <a:tabLst/>
        <a:defRPr sz="2100" b="0" i="0" kern="1200">
          <a:solidFill>
            <a:schemeClr val="tx1"/>
          </a:solidFill>
          <a:latin typeface="ES Build Neutral" pitchFamily="2" charset="77"/>
          <a:ea typeface="ES Build Neutral" pitchFamily="2" charset="77"/>
          <a:cs typeface="+mn-cs"/>
        </a:defRPr>
      </a:lvl1pPr>
      <a:lvl2pPr marL="173736" indent="-173736" algn="l" defTabSz="914400" rtl="0" eaLnBrk="1" latinLnBrk="0" hangingPunct="1">
        <a:lnSpc>
          <a:spcPct val="96000"/>
        </a:lnSpc>
        <a:spcBef>
          <a:spcPts val="300"/>
        </a:spcBef>
        <a:spcAft>
          <a:spcPts val="150"/>
        </a:spcAft>
        <a:buClrTx/>
        <a:buFont typeface="Arial" panose="020B0604020202020204" pitchFamily="34" charset="0"/>
        <a:buChar char="•"/>
        <a:tabLst/>
        <a:defRPr sz="2100" b="0" i="0" kern="1200">
          <a:solidFill>
            <a:schemeClr val="tx1"/>
          </a:solidFill>
          <a:latin typeface="ES Build Neutral" pitchFamily="2" charset="77"/>
          <a:ea typeface="ES Build Neutral" pitchFamily="2" charset="77"/>
          <a:cs typeface="+mn-cs"/>
        </a:defRPr>
      </a:lvl2pPr>
      <a:lvl3pPr marL="342900" indent="-171450" algn="l" defTabSz="914400" rtl="0" eaLnBrk="1" latinLnBrk="0" hangingPunct="1">
        <a:lnSpc>
          <a:spcPct val="96000"/>
        </a:lnSpc>
        <a:spcBef>
          <a:spcPts val="300"/>
        </a:spcBef>
        <a:spcAft>
          <a:spcPts val="150"/>
        </a:spcAft>
        <a:buClrTx/>
        <a:buFont typeface="Arial" panose="020B0604020202020204" pitchFamily="34" charset="0"/>
        <a:buChar char="•"/>
        <a:tabLst/>
        <a:defRPr sz="1600" b="0" i="0" kern="1200">
          <a:solidFill>
            <a:schemeClr val="tx1"/>
          </a:solidFill>
          <a:latin typeface="ES Build Neutral" pitchFamily="2" charset="77"/>
          <a:ea typeface="ES Build Neutral" pitchFamily="2" charset="77"/>
          <a:cs typeface="+mn-cs"/>
        </a:defRPr>
      </a:lvl3pPr>
      <a:lvl4pPr marL="576072" indent="-173736" algn="l" defTabSz="914400" rtl="0" eaLnBrk="1" latinLnBrk="0" hangingPunct="1">
        <a:lnSpc>
          <a:spcPct val="96000"/>
        </a:lnSpc>
        <a:spcBef>
          <a:spcPts val="300"/>
        </a:spcBef>
        <a:spcAft>
          <a:spcPts val="150"/>
        </a:spcAft>
        <a:buClrTx/>
        <a:buFont typeface="Arial" panose="020B0604020202020204" pitchFamily="34" charset="0"/>
        <a:buChar char="•"/>
        <a:tabLst/>
        <a:defRPr sz="1600" b="0" i="0" kern="1200">
          <a:solidFill>
            <a:schemeClr val="tx1"/>
          </a:solidFill>
          <a:latin typeface="ES Build Neutral" pitchFamily="2" charset="77"/>
          <a:ea typeface="ES Build Neutral" pitchFamily="2" charset="77"/>
          <a:cs typeface="+mn-cs"/>
        </a:defRPr>
      </a:lvl4pPr>
      <a:lvl5pPr marL="731520" indent="-173736" algn="l" defTabSz="914400" rtl="0" eaLnBrk="1" latinLnBrk="0" hangingPunct="1">
        <a:lnSpc>
          <a:spcPct val="96000"/>
        </a:lnSpc>
        <a:spcBef>
          <a:spcPts val="300"/>
        </a:spcBef>
        <a:spcAft>
          <a:spcPts val="150"/>
        </a:spcAft>
        <a:buFont typeface="Arial" panose="020B0604020202020204" pitchFamily="34" charset="0"/>
        <a:buChar char="•"/>
        <a:tabLst/>
        <a:defRPr sz="1400" b="0" i="0" kern="1200">
          <a:solidFill>
            <a:schemeClr val="tx1"/>
          </a:solidFill>
          <a:latin typeface="ES Build Neutral" pitchFamily="2" charset="77"/>
          <a:ea typeface="ES Build Neutral" pitchFamily="2" charset="77"/>
          <a:cs typeface="+mn-cs"/>
        </a:defRPr>
      </a:lvl5pPr>
      <a:lvl6pPr marL="11113" indent="0" algn="l" defTabSz="914400" rtl="0" eaLnBrk="1" latinLnBrk="0" hangingPunct="1">
        <a:lnSpc>
          <a:spcPct val="96000"/>
        </a:lnSpc>
        <a:spcBef>
          <a:spcPts val="600"/>
        </a:spcBef>
        <a:spcAft>
          <a:spcPts val="300"/>
        </a:spcAft>
        <a:buFont typeface="System Font Regular"/>
        <a:buChar char="​"/>
        <a:tabLst/>
        <a:defRPr sz="1600" b="0" i="0" kern="1200">
          <a:solidFill>
            <a:schemeClr val="tx1"/>
          </a:solidFill>
          <a:latin typeface="ES Build Neutral" pitchFamily="2" charset="77"/>
          <a:ea typeface="ES Build Neutral" pitchFamily="2" charset="77"/>
          <a:cs typeface="+mn-cs"/>
        </a:defRPr>
      </a:lvl6pPr>
      <a:lvl7pPr marL="11113" indent="0" algn="l" defTabSz="914400" rtl="0" eaLnBrk="1" latinLnBrk="0" hangingPunct="1">
        <a:lnSpc>
          <a:spcPct val="96000"/>
        </a:lnSpc>
        <a:spcBef>
          <a:spcPts val="600"/>
        </a:spcBef>
        <a:spcAft>
          <a:spcPts val="300"/>
        </a:spcAft>
        <a:buFont typeface="System Font Regular"/>
        <a:buChar char="​"/>
        <a:tabLst/>
        <a:defRPr sz="1600" b="0" i="0" kern="1200">
          <a:solidFill>
            <a:schemeClr val="tx1"/>
          </a:solidFill>
          <a:latin typeface="ES Build Neutral" pitchFamily="2" charset="77"/>
          <a:ea typeface="ES Build Neutral" pitchFamily="2" charset="77"/>
          <a:cs typeface="+mn-cs"/>
        </a:defRPr>
      </a:lvl7pPr>
      <a:lvl8pPr marL="0" indent="0" algn="l" defTabSz="914400" rtl="0" eaLnBrk="1" latinLnBrk="0" hangingPunct="1">
        <a:lnSpc>
          <a:spcPct val="84000"/>
        </a:lnSpc>
        <a:spcBef>
          <a:spcPts val="300"/>
        </a:spcBef>
        <a:buFont typeface="System Font Regular"/>
        <a:buChar char="​"/>
        <a:tabLst/>
        <a:defRPr sz="5500" b="0" i="0" kern="1200" spc="-150" baseline="0">
          <a:solidFill>
            <a:srgbClr val="8E71F4"/>
          </a:solidFill>
          <a:latin typeface="ES Build Neutral" pitchFamily="2" charset="77"/>
          <a:ea typeface="ES Build Neutral" pitchFamily="2" charset="77"/>
          <a:cs typeface="+mn-cs"/>
        </a:defRPr>
      </a:lvl8pPr>
      <a:lvl9pPr marL="11113" indent="0" algn="l" defTabSz="914400" rtl="0" eaLnBrk="1" latinLnBrk="0" hangingPunct="1">
        <a:lnSpc>
          <a:spcPct val="84000"/>
        </a:lnSpc>
        <a:spcBef>
          <a:spcPts val="0"/>
        </a:spcBef>
        <a:buFont typeface="System Font Regular"/>
        <a:buChar char="​"/>
        <a:tabLst/>
        <a:defRPr sz="11000" b="0" i="0" kern="1200" spc="-300">
          <a:solidFill>
            <a:srgbClr val="8E71F4"/>
          </a:solidFill>
          <a:latin typeface="ES Build Neutral" pitchFamily="2" charset="77"/>
          <a:ea typeface="ES Build Neutral" pitchFamily="2" charset="77"/>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62" userDrawn="1">
          <p15:clr>
            <a:srgbClr val="F26B43"/>
          </p15:clr>
        </p15:guide>
        <p15:guide id="2" userDrawn="1">
          <p15:clr>
            <a:srgbClr val="F26B43"/>
          </p15:clr>
        </p15:guide>
        <p15:guide id="3" pos="7679" userDrawn="1">
          <p15:clr>
            <a:srgbClr val="F26B43"/>
          </p15:clr>
        </p15:guide>
        <p15:guide id="4" orient="horz" pos="1078" userDrawn="1">
          <p15:clr>
            <a:srgbClr val="F26B43"/>
          </p15:clr>
        </p15:guide>
        <p15:guide id="5" orient="horz" pos="646" userDrawn="1">
          <p15:clr>
            <a:srgbClr val="F26B43"/>
          </p15:clr>
        </p15:guide>
        <p15:guide id="6" orient="horz" pos="430" userDrawn="1">
          <p15:clr>
            <a:srgbClr val="F26B43"/>
          </p15:clr>
        </p15:guide>
        <p15:guide id="7" orient="horz" pos="214" userDrawn="1">
          <p15:clr>
            <a:srgbClr val="F26B43"/>
          </p15:clr>
        </p15:guide>
        <p15:guide id="8" orient="horz" pos="1942" userDrawn="1">
          <p15:clr>
            <a:srgbClr val="F26B43"/>
          </p15:clr>
        </p15:guide>
        <p15:guide id="9" orient="horz" pos="2158" userDrawn="1">
          <p15:clr>
            <a:srgbClr val="F26B43"/>
          </p15:clr>
        </p15:guide>
        <p15:guide id="10" orient="horz" pos="1726" userDrawn="1">
          <p15:clr>
            <a:srgbClr val="F26B43"/>
          </p15:clr>
        </p15:guide>
        <p15:guide id="11" orient="horz" pos="1510" userDrawn="1">
          <p15:clr>
            <a:srgbClr val="F26B43"/>
          </p15:clr>
        </p15:guide>
        <p15:guide id="12" orient="horz" pos="3022" userDrawn="1">
          <p15:clr>
            <a:srgbClr val="F26B43"/>
          </p15:clr>
        </p15:guide>
        <p15:guide id="13" orient="horz" pos="3238" userDrawn="1">
          <p15:clr>
            <a:srgbClr val="F26B43"/>
          </p15:clr>
        </p15:guide>
        <p15:guide id="14" orient="horz" pos="2806" userDrawn="1">
          <p15:clr>
            <a:srgbClr val="F26B43"/>
          </p15:clr>
        </p15:guide>
        <p15:guide id="15" orient="horz" pos="2590" userDrawn="1">
          <p15:clr>
            <a:srgbClr val="F26B43"/>
          </p15:clr>
        </p15:guide>
        <p15:guide id="16" orient="horz" pos="2374" userDrawn="1">
          <p15:clr>
            <a:srgbClr val="F26B43"/>
          </p15:clr>
        </p15:guide>
        <p15:guide id="17" orient="horz" pos="4102" userDrawn="1">
          <p15:clr>
            <a:srgbClr val="F26B43"/>
          </p15:clr>
        </p15:guide>
        <p15:guide id="18" orient="horz" pos="4318" userDrawn="1">
          <p15:clr>
            <a:srgbClr val="F26B43"/>
          </p15:clr>
        </p15:guide>
        <p15:guide id="19" orient="horz" pos="3886" userDrawn="1">
          <p15:clr>
            <a:srgbClr val="F26B43"/>
          </p15:clr>
        </p15:guide>
        <p15:guide id="20" orient="horz" pos="3670" userDrawn="1">
          <p15:clr>
            <a:srgbClr val="F26B43"/>
          </p15:clr>
        </p15:guide>
        <p15:guide id="21" orient="horz" pos="3454" userDrawn="1">
          <p15:clr>
            <a:srgbClr val="F26B43"/>
          </p15:clr>
        </p15:guide>
        <p15:guide id="22" orient="horz" pos="286" userDrawn="1">
          <p15:clr>
            <a:srgbClr val="F26B43"/>
          </p15:clr>
        </p15:guide>
        <p15:guide id="23" orient="horz" pos="4030" userDrawn="1">
          <p15:clr>
            <a:srgbClr val="F26B43"/>
          </p15:clr>
        </p15:guide>
        <p15:guide id="24" pos="6919" userDrawn="1">
          <p15:clr>
            <a:srgbClr val="F26B43"/>
          </p15:clr>
        </p15:guide>
        <p15:guide id="25" pos="7368" userDrawn="1">
          <p15:clr>
            <a:srgbClr val="F26B43"/>
          </p15:clr>
        </p15:guide>
        <p15:guide id="26" pos="311" userDrawn="1">
          <p15:clr>
            <a:srgbClr val="F26B43"/>
          </p15:clr>
        </p15:guide>
        <p15:guide id="27" pos="760" userDrawn="1">
          <p15:clr>
            <a:srgbClr val="F26B43"/>
          </p15:clr>
        </p15:guide>
        <p15:guide id="28" pos="911" userDrawn="1">
          <p15:clr>
            <a:srgbClr val="F26B43"/>
          </p15:clr>
        </p15:guide>
        <p15:guide id="29" pos="1361" userDrawn="1">
          <p15:clr>
            <a:srgbClr val="F26B43"/>
          </p15:clr>
        </p15:guide>
        <p15:guide id="30" pos="1512" userDrawn="1">
          <p15:clr>
            <a:srgbClr val="F26B43"/>
          </p15:clr>
        </p15:guide>
        <p15:guide id="31" pos="1961" userDrawn="1">
          <p15:clr>
            <a:srgbClr val="F26B43"/>
          </p15:clr>
        </p15:guide>
        <p15:guide id="32" pos="2113" userDrawn="1">
          <p15:clr>
            <a:srgbClr val="F26B43"/>
          </p15:clr>
        </p15:guide>
        <p15:guide id="33" pos="2562" userDrawn="1">
          <p15:clr>
            <a:srgbClr val="F26B43"/>
          </p15:clr>
        </p15:guide>
        <p15:guide id="34" pos="2714" userDrawn="1">
          <p15:clr>
            <a:srgbClr val="F26B43"/>
          </p15:clr>
        </p15:guide>
        <p15:guide id="35" pos="3163" userDrawn="1">
          <p15:clr>
            <a:srgbClr val="F26B43"/>
          </p15:clr>
        </p15:guide>
        <p15:guide id="36" pos="3314" userDrawn="1">
          <p15:clr>
            <a:srgbClr val="F26B43"/>
          </p15:clr>
        </p15:guide>
        <p15:guide id="37" pos="3764" userDrawn="1">
          <p15:clr>
            <a:srgbClr val="F26B43"/>
          </p15:clr>
        </p15:guide>
        <p15:guide id="38" pos="3915" userDrawn="1">
          <p15:clr>
            <a:srgbClr val="F26B43"/>
          </p15:clr>
        </p15:guide>
        <p15:guide id="39" pos="4365" userDrawn="1">
          <p15:clr>
            <a:srgbClr val="F26B43"/>
          </p15:clr>
        </p15:guide>
        <p15:guide id="40" pos="4516" userDrawn="1">
          <p15:clr>
            <a:srgbClr val="F26B43"/>
          </p15:clr>
        </p15:guide>
        <p15:guide id="41" pos="4965" userDrawn="1">
          <p15:clr>
            <a:srgbClr val="F26B43"/>
          </p15:clr>
        </p15:guide>
        <p15:guide id="42" pos="5117" userDrawn="1">
          <p15:clr>
            <a:srgbClr val="F26B43"/>
          </p15:clr>
        </p15:guide>
        <p15:guide id="43" pos="5566" userDrawn="1">
          <p15:clr>
            <a:srgbClr val="F26B43"/>
          </p15:clr>
        </p15:guide>
        <p15:guide id="44" pos="5718" userDrawn="1">
          <p15:clr>
            <a:srgbClr val="F26B43"/>
          </p15:clr>
        </p15:guide>
        <p15:guide id="45" pos="6167" userDrawn="1">
          <p15:clr>
            <a:srgbClr val="F26B43"/>
          </p15:clr>
        </p15:guide>
        <p15:guide id="46" pos="6318" userDrawn="1">
          <p15:clr>
            <a:srgbClr val="F26B43"/>
          </p15:clr>
        </p15:guide>
        <p15:guide id="47" pos="6768" userDrawn="1">
          <p15:clr>
            <a:srgbClr val="F26B43"/>
          </p15:clr>
        </p15:guide>
        <p15:guide id="48" orient="horz" pos="1" userDrawn="1">
          <p15:clr>
            <a:srgbClr val="F26B43"/>
          </p15:clr>
        </p15:guide>
        <p15:guide id="49" pos="7144" userDrawn="1">
          <p15:clr>
            <a:srgbClr val="F26B43"/>
          </p15:clr>
        </p15:guide>
        <p15:guide id="50" pos="535" userDrawn="1">
          <p15:clr>
            <a:srgbClr val="F26B43"/>
          </p15:clr>
        </p15:guide>
        <p15:guide id="51" pos="1136" userDrawn="1">
          <p15:clr>
            <a:srgbClr val="F26B43"/>
          </p15:clr>
        </p15:guide>
        <p15:guide id="52" pos="1737" userDrawn="1">
          <p15:clr>
            <a:srgbClr val="F26B43"/>
          </p15:clr>
        </p15:guide>
        <p15:guide id="53" pos="2338" userDrawn="1">
          <p15:clr>
            <a:srgbClr val="F26B43"/>
          </p15:clr>
        </p15:guide>
        <p15:guide id="54" pos="2938" userDrawn="1">
          <p15:clr>
            <a:srgbClr val="F26B43"/>
          </p15:clr>
        </p15:guide>
        <p15:guide id="55" pos="3539" userDrawn="1">
          <p15:clr>
            <a:srgbClr val="F26B43"/>
          </p15:clr>
        </p15:guide>
        <p15:guide id="56" pos="4140" userDrawn="1">
          <p15:clr>
            <a:srgbClr val="F26B43"/>
          </p15:clr>
        </p15:guide>
        <p15:guide id="57" pos="4741" userDrawn="1">
          <p15:clr>
            <a:srgbClr val="F26B43"/>
          </p15:clr>
        </p15:guide>
        <p15:guide id="58" pos="5341" userDrawn="1">
          <p15:clr>
            <a:srgbClr val="F26B43"/>
          </p15:clr>
        </p15:guide>
        <p15:guide id="59" pos="5942" userDrawn="1">
          <p15:clr>
            <a:srgbClr val="F26B43"/>
          </p15:clr>
        </p15:guide>
        <p15:guide id="60" pos="6543" userDrawn="1">
          <p15:clr>
            <a:srgbClr val="F26B43"/>
          </p15:clr>
        </p15:guide>
        <p15:guide id="61" orient="horz" pos="1294" userDrawn="1">
          <p15:clr>
            <a:srgbClr val="F26B43"/>
          </p15:clr>
        </p15:guide>
        <p15:guide id="62" pos="767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5.JPG"/></Relationships>
</file>

<file path=ppt/slides/_rels/slide10.xml.rels><?xml version="1.0" encoding="UTF-8" standalone="yes"?>
<Relationships xmlns="http://schemas.openxmlformats.org/package/2006/relationships"><Relationship Id="rId8" Type="http://schemas.openxmlformats.org/officeDocument/2006/relationships/image" Target="../media/image141.svg"/><Relationship Id="rId13" Type="http://schemas.openxmlformats.org/officeDocument/2006/relationships/image" Target="../media/image146.png"/><Relationship Id="rId3" Type="http://schemas.openxmlformats.org/officeDocument/2006/relationships/image" Target="../media/image54.png"/><Relationship Id="rId7" Type="http://schemas.openxmlformats.org/officeDocument/2006/relationships/image" Target="../media/image140.png"/><Relationship Id="rId12" Type="http://schemas.openxmlformats.org/officeDocument/2006/relationships/image" Target="../media/image145.svg"/><Relationship Id="rId2" Type="http://schemas.openxmlformats.org/officeDocument/2006/relationships/notesSlide" Target="../notesSlides/notesSlide10.xml"/><Relationship Id="rId16" Type="http://schemas.openxmlformats.org/officeDocument/2006/relationships/image" Target="../media/image149.svg"/><Relationship Id="rId1" Type="http://schemas.openxmlformats.org/officeDocument/2006/relationships/slideLayout" Target="../slideLayouts/slideLayout22.xml"/><Relationship Id="rId6" Type="http://schemas.openxmlformats.org/officeDocument/2006/relationships/image" Target="../media/image139.svg"/><Relationship Id="rId11" Type="http://schemas.openxmlformats.org/officeDocument/2006/relationships/image" Target="../media/image144.png"/><Relationship Id="rId5" Type="http://schemas.openxmlformats.org/officeDocument/2006/relationships/image" Target="../media/image138.png"/><Relationship Id="rId15" Type="http://schemas.openxmlformats.org/officeDocument/2006/relationships/image" Target="../media/image148.png"/><Relationship Id="rId10" Type="http://schemas.openxmlformats.org/officeDocument/2006/relationships/image" Target="../media/image143.svg"/><Relationship Id="rId4" Type="http://schemas.openxmlformats.org/officeDocument/2006/relationships/image" Target="../media/image137.svg"/><Relationship Id="rId9" Type="http://schemas.openxmlformats.org/officeDocument/2006/relationships/image" Target="../media/image142.png"/><Relationship Id="rId14" Type="http://schemas.openxmlformats.org/officeDocument/2006/relationships/image" Target="../media/image147.svg"/></Relationships>
</file>

<file path=ppt/slides/_rels/slide11.xml.rels><?xml version="1.0" encoding="UTF-8" standalone="yes"?>
<Relationships xmlns="http://schemas.openxmlformats.org/package/2006/relationships"><Relationship Id="rId8" Type="http://schemas.openxmlformats.org/officeDocument/2006/relationships/image" Target="../media/image155.svg"/><Relationship Id="rId13" Type="http://schemas.openxmlformats.org/officeDocument/2006/relationships/image" Target="../media/image160.png"/><Relationship Id="rId18" Type="http://schemas.openxmlformats.org/officeDocument/2006/relationships/image" Target="../media/image165.svg"/><Relationship Id="rId3" Type="http://schemas.openxmlformats.org/officeDocument/2006/relationships/image" Target="../media/image150.png"/><Relationship Id="rId21" Type="http://schemas.openxmlformats.org/officeDocument/2006/relationships/image" Target="../media/image168.png"/><Relationship Id="rId7" Type="http://schemas.openxmlformats.org/officeDocument/2006/relationships/image" Target="../media/image154.png"/><Relationship Id="rId12" Type="http://schemas.openxmlformats.org/officeDocument/2006/relationships/image" Target="../media/image159.svg"/><Relationship Id="rId17" Type="http://schemas.openxmlformats.org/officeDocument/2006/relationships/image" Target="../media/image164.png"/><Relationship Id="rId25" Type="http://schemas.openxmlformats.org/officeDocument/2006/relationships/image" Target="../media/image172.svg"/><Relationship Id="rId2" Type="http://schemas.openxmlformats.org/officeDocument/2006/relationships/notesSlide" Target="../notesSlides/notesSlide11.xml"/><Relationship Id="rId16" Type="http://schemas.openxmlformats.org/officeDocument/2006/relationships/image" Target="../media/image163.svg"/><Relationship Id="rId20" Type="http://schemas.openxmlformats.org/officeDocument/2006/relationships/image" Target="../media/image167.svg"/><Relationship Id="rId1" Type="http://schemas.openxmlformats.org/officeDocument/2006/relationships/slideLayout" Target="../slideLayouts/slideLayout77.xml"/><Relationship Id="rId6" Type="http://schemas.openxmlformats.org/officeDocument/2006/relationships/image" Target="../media/image153.svg"/><Relationship Id="rId11" Type="http://schemas.openxmlformats.org/officeDocument/2006/relationships/image" Target="../media/image158.png"/><Relationship Id="rId24" Type="http://schemas.openxmlformats.org/officeDocument/2006/relationships/image" Target="../media/image171.png"/><Relationship Id="rId5" Type="http://schemas.openxmlformats.org/officeDocument/2006/relationships/image" Target="../media/image152.png"/><Relationship Id="rId15" Type="http://schemas.openxmlformats.org/officeDocument/2006/relationships/image" Target="../media/image162.png"/><Relationship Id="rId23" Type="http://schemas.openxmlformats.org/officeDocument/2006/relationships/image" Target="../media/image170.emf"/><Relationship Id="rId10" Type="http://schemas.openxmlformats.org/officeDocument/2006/relationships/image" Target="../media/image157.svg"/><Relationship Id="rId19" Type="http://schemas.openxmlformats.org/officeDocument/2006/relationships/image" Target="../media/image166.png"/><Relationship Id="rId4" Type="http://schemas.openxmlformats.org/officeDocument/2006/relationships/image" Target="../media/image151.svg"/><Relationship Id="rId9" Type="http://schemas.openxmlformats.org/officeDocument/2006/relationships/image" Target="../media/image156.png"/><Relationship Id="rId14" Type="http://schemas.openxmlformats.org/officeDocument/2006/relationships/image" Target="../media/image161.svg"/><Relationship Id="rId22" Type="http://schemas.openxmlformats.org/officeDocument/2006/relationships/image" Target="../media/image169.svg"/></Relationships>
</file>

<file path=ppt/slides/_rels/slide12.xml.rels><?xml version="1.0" encoding="UTF-8" standalone="yes"?>
<Relationships xmlns="http://schemas.openxmlformats.org/package/2006/relationships"><Relationship Id="rId8" Type="http://schemas.openxmlformats.org/officeDocument/2006/relationships/image" Target="../media/image174.svg"/><Relationship Id="rId13" Type="http://schemas.openxmlformats.org/officeDocument/2006/relationships/image" Target="../media/image179.png"/><Relationship Id="rId3" Type="http://schemas.openxmlformats.org/officeDocument/2006/relationships/image" Target="../media/image52.png"/><Relationship Id="rId7" Type="http://schemas.openxmlformats.org/officeDocument/2006/relationships/image" Target="../media/image173.png"/><Relationship Id="rId12" Type="http://schemas.openxmlformats.org/officeDocument/2006/relationships/image" Target="../media/image178.svg"/><Relationship Id="rId2" Type="http://schemas.openxmlformats.org/officeDocument/2006/relationships/notesSlide" Target="../notesSlides/notesSlide12.xml"/><Relationship Id="rId1" Type="http://schemas.openxmlformats.org/officeDocument/2006/relationships/slideLayout" Target="../slideLayouts/slideLayout8.xml"/><Relationship Id="rId6" Type="http://schemas.openxmlformats.org/officeDocument/2006/relationships/image" Target="../media/image104.svg"/><Relationship Id="rId11" Type="http://schemas.openxmlformats.org/officeDocument/2006/relationships/image" Target="../media/image177.png"/><Relationship Id="rId5" Type="http://schemas.openxmlformats.org/officeDocument/2006/relationships/image" Target="../media/image54.png"/><Relationship Id="rId10" Type="http://schemas.openxmlformats.org/officeDocument/2006/relationships/image" Target="../media/image176.svg"/><Relationship Id="rId4" Type="http://schemas.openxmlformats.org/officeDocument/2006/relationships/image" Target="../media/image53.svg"/><Relationship Id="rId9" Type="http://schemas.openxmlformats.org/officeDocument/2006/relationships/image" Target="../media/image175.png"/><Relationship Id="rId14" Type="http://schemas.openxmlformats.org/officeDocument/2006/relationships/image" Target="../media/image180.svg"/></Relationships>
</file>

<file path=ppt/slides/_rels/slide13.xml.rels><?xml version="1.0" encoding="UTF-8" standalone="yes"?>
<Relationships xmlns="http://schemas.openxmlformats.org/package/2006/relationships"><Relationship Id="rId8" Type="http://schemas.openxmlformats.org/officeDocument/2006/relationships/image" Target="../media/image83.svg"/><Relationship Id="rId13" Type="http://schemas.openxmlformats.org/officeDocument/2006/relationships/image" Target="../media/image183.png"/><Relationship Id="rId18" Type="http://schemas.openxmlformats.org/officeDocument/2006/relationships/image" Target="../media/image188.svg"/><Relationship Id="rId3" Type="http://schemas.openxmlformats.org/officeDocument/2006/relationships/image" Target="../media/image78.png"/><Relationship Id="rId21" Type="http://schemas.openxmlformats.org/officeDocument/2006/relationships/image" Target="../media/image191.png"/><Relationship Id="rId7" Type="http://schemas.openxmlformats.org/officeDocument/2006/relationships/image" Target="../media/image82.png"/><Relationship Id="rId12" Type="http://schemas.openxmlformats.org/officeDocument/2006/relationships/image" Target="../media/image182.svg"/><Relationship Id="rId17" Type="http://schemas.openxmlformats.org/officeDocument/2006/relationships/image" Target="../media/image187.png"/><Relationship Id="rId2" Type="http://schemas.openxmlformats.org/officeDocument/2006/relationships/notesSlide" Target="../notesSlides/notesSlide13.xml"/><Relationship Id="rId16" Type="http://schemas.openxmlformats.org/officeDocument/2006/relationships/image" Target="../media/image186.svg"/><Relationship Id="rId20" Type="http://schemas.openxmlformats.org/officeDocument/2006/relationships/image" Target="../media/image190.svg"/><Relationship Id="rId1" Type="http://schemas.openxmlformats.org/officeDocument/2006/relationships/slideLayout" Target="../slideLayouts/slideLayout22.xml"/><Relationship Id="rId6" Type="http://schemas.openxmlformats.org/officeDocument/2006/relationships/image" Target="../media/image81.svg"/><Relationship Id="rId11" Type="http://schemas.openxmlformats.org/officeDocument/2006/relationships/image" Target="../media/image181.png"/><Relationship Id="rId5" Type="http://schemas.openxmlformats.org/officeDocument/2006/relationships/image" Target="../media/image80.png"/><Relationship Id="rId15" Type="http://schemas.openxmlformats.org/officeDocument/2006/relationships/image" Target="../media/image185.png"/><Relationship Id="rId10" Type="http://schemas.openxmlformats.org/officeDocument/2006/relationships/image" Target="../media/image85.svg"/><Relationship Id="rId19" Type="http://schemas.openxmlformats.org/officeDocument/2006/relationships/image" Target="../media/image189.png"/><Relationship Id="rId4" Type="http://schemas.openxmlformats.org/officeDocument/2006/relationships/image" Target="../media/image79.svg"/><Relationship Id="rId9" Type="http://schemas.openxmlformats.org/officeDocument/2006/relationships/image" Target="../media/image84.png"/><Relationship Id="rId14" Type="http://schemas.openxmlformats.org/officeDocument/2006/relationships/image" Target="../media/image184.svg"/><Relationship Id="rId22" Type="http://schemas.openxmlformats.org/officeDocument/2006/relationships/image" Target="../media/image192.svg"/></Relationships>
</file>

<file path=ppt/slides/_rels/slide14.xml.rels><?xml version="1.0" encoding="UTF-8" standalone="yes"?>
<Relationships xmlns="http://schemas.openxmlformats.org/package/2006/relationships"><Relationship Id="rId8" Type="http://schemas.openxmlformats.org/officeDocument/2006/relationships/image" Target="../media/image47.svg"/><Relationship Id="rId13" Type="http://schemas.openxmlformats.org/officeDocument/2006/relationships/image" Target="../media/image193.png"/><Relationship Id="rId18" Type="http://schemas.openxmlformats.org/officeDocument/2006/relationships/image" Target="../media/image81.svg"/><Relationship Id="rId26" Type="http://schemas.openxmlformats.org/officeDocument/2006/relationships/image" Target="../media/image89.svg"/><Relationship Id="rId3" Type="http://schemas.openxmlformats.org/officeDocument/2006/relationships/image" Target="../media/image148.png"/><Relationship Id="rId21" Type="http://schemas.openxmlformats.org/officeDocument/2006/relationships/image" Target="../media/image84.png"/><Relationship Id="rId7" Type="http://schemas.openxmlformats.org/officeDocument/2006/relationships/image" Target="../media/image46.png"/><Relationship Id="rId12" Type="http://schemas.openxmlformats.org/officeDocument/2006/relationships/image" Target="../media/image53.svg"/><Relationship Id="rId17" Type="http://schemas.openxmlformats.org/officeDocument/2006/relationships/image" Target="../media/image80.png"/><Relationship Id="rId25" Type="http://schemas.openxmlformats.org/officeDocument/2006/relationships/image" Target="../media/image88.png"/><Relationship Id="rId2" Type="http://schemas.openxmlformats.org/officeDocument/2006/relationships/notesSlide" Target="../notesSlides/notesSlide14.xml"/><Relationship Id="rId16" Type="http://schemas.openxmlformats.org/officeDocument/2006/relationships/image" Target="../media/image79.svg"/><Relationship Id="rId20" Type="http://schemas.openxmlformats.org/officeDocument/2006/relationships/image" Target="../media/image83.svg"/><Relationship Id="rId29" Type="http://schemas.openxmlformats.org/officeDocument/2006/relationships/image" Target="../media/image54.png"/><Relationship Id="rId1" Type="http://schemas.openxmlformats.org/officeDocument/2006/relationships/slideLayout" Target="../slideLayouts/slideLayout22.xml"/><Relationship Id="rId6" Type="http://schemas.openxmlformats.org/officeDocument/2006/relationships/image" Target="../media/image49.svg"/><Relationship Id="rId11" Type="http://schemas.openxmlformats.org/officeDocument/2006/relationships/image" Target="../media/image52.png"/><Relationship Id="rId24" Type="http://schemas.openxmlformats.org/officeDocument/2006/relationships/image" Target="../media/image87.svg"/><Relationship Id="rId32" Type="http://schemas.openxmlformats.org/officeDocument/2006/relationships/image" Target="../media/image196.svg"/><Relationship Id="rId5" Type="http://schemas.openxmlformats.org/officeDocument/2006/relationships/image" Target="../media/image48.png"/><Relationship Id="rId15" Type="http://schemas.openxmlformats.org/officeDocument/2006/relationships/image" Target="../media/image78.png"/><Relationship Id="rId23" Type="http://schemas.openxmlformats.org/officeDocument/2006/relationships/image" Target="../media/image86.png"/><Relationship Id="rId28" Type="http://schemas.openxmlformats.org/officeDocument/2006/relationships/image" Target="../media/image91.svg"/><Relationship Id="rId10" Type="http://schemas.openxmlformats.org/officeDocument/2006/relationships/image" Target="../media/image51.svg"/><Relationship Id="rId19" Type="http://schemas.openxmlformats.org/officeDocument/2006/relationships/image" Target="../media/image82.png"/><Relationship Id="rId31" Type="http://schemas.openxmlformats.org/officeDocument/2006/relationships/image" Target="../media/image195.png"/><Relationship Id="rId4" Type="http://schemas.openxmlformats.org/officeDocument/2006/relationships/image" Target="../media/image149.svg"/><Relationship Id="rId9" Type="http://schemas.openxmlformats.org/officeDocument/2006/relationships/image" Target="../media/image50.png"/><Relationship Id="rId14" Type="http://schemas.openxmlformats.org/officeDocument/2006/relationships/image" Target="../media/image194.svg"/><Relationship Id="rId22" Type="http://schemas.openxmlformats.org/officeDocument/2006/relationships/image" Target="../media/image85.svg"/><Relationship Id="rId27" Type="http://schemas.openxmlformats.org/officeDocument/2006/relationships/image" Target="../media/image90.png"/><Relationship Id="rId30" Type="http://schemas.openxmlformats.org/officeDocument/2006/relationships/image" Target="../media/image137.svg"/></Relationships>
</file>

<file path=ppt/slides/_rels/slide15.xml.rels><?xml version="1.0" encoding="UTF-8" standalone="yes"?>
<Relationships xmlns="http://schemas.openxmlformats.org/package/2006/relationships"><Relationship Id="rId8" Type="http://schemas.openxmlformats.org/officeDocument/2006/relationships/image" Target="../media/image201.png"/><Relationship Id="rId3" Type="http://schemas.openxmlformats.org/officeDocument/2006/relationships/chart" Target="../charts/chart1.xml"/><Relationship Id="rId7" Type="http://schemas.openxmlformats.org/officeDocument/2006/relationships/image" Target="../media/image200.svg"/><Relationship Id="rId2" Type="http://schemas.openxmlformats.org/officeDocument/2006/relationships/notesSlide" Target="../notesSlides/notesSlide15.xml"/><Relationship Id="rId1" Type="http://schemas.openxmlformats.org/officeDocument/2006/relationships/slideLayout" Target="../slideLayouts/slideLayout78.xml"/><Relationship Id="rId6" Type="http://schemas.openxmlformats.org/officeDocument/2006/relationships/image" Target="../media/image199.png"/><Relationship Id="rId5" Type="http://schemas.openxmlformats.org/officeDocument/2006/relationships/image" Target="../media/image198.svg"/><Relationship Id="rId4" Type="http://schemas.openxmlformats.org/officeDocument/2006/relationships/image" Target="../media/image197.png"/><Relationship Id="rId9" Type="http://schemas.openxmlformats.org/officeDocument/2006/relationships/image" Target="../media/image202.svg"/></Relationships>
</file>

<file path=ppt/slides/_rels/slide16.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16.xml"/><Relationship Id="rId1" Type="http://schemas.openxmlformats.org/officeDocument/2006/relationships/slideLayout" Target="../slideLayouts/slideLayout78.xml"/><Relationship Id="rId6" Type="http://schemas.openxmlformats.org/officeDocument/2006/relationships/image" Target="../media/image206.svg"/><Relationship Id="rId5" Type="http://schemas.openxmlformats.org/officeDocument/2006/relationships/image" Target="../media/image205.png"/><Relationship Id="rId4" Type="http://schemas.openxmlformats.org/officeDocument/2006/relationships/image" Target="../media/image204.svg"/></Relationships>
</file>

<file path=ppt/slides/_rels/slide17.xml.rels><?xml version="1.0" encoding="UTF-8" standalone="yes"?>
<Relationships xmlns="http://schemas.openxmlformats.org/package/2006/relationships"><Relationship Id="rId3" Type="http://schemas.openxmlformats.org/officeDocument/2006/relationships/image" Target="../media/image207.png"/><Relationship Id="rId2" Type="http://schemas.openxmlformats.org/officeDocument/2006/relationships/notesSlide" Target="../notesSlides/notesSlide17.xml"/><Relationship Id="rId1" Type="http://schemas.openxmlformats.org/officeDocument/2006/relationships/slideLayout" Target="../slideLayouts/slideLayout78.xml"/><Relationship Id="rId4" Type="http://schemas.openxmlformats.org/officeDocument/2006/relationships/image" Target="../media/image208.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5.xml"/></Relationships>
</file>

<file path=ppt/slides/_rels/slide2.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2.xml"/><Relationship Id="rId1" Type="http://schemas.openxmlformats.org/officeDocument/2006/relationships/slideLayout" Target="../slideLayouts/slideLayout22.xml"/><Relationship Id="rId6" Type="http://schemas.openxmlformats.org/officeDocument/2006/relationships/image" Target="../media/image39.svg"/><Relationship Id="rId5" Type="http://schemas.openxmlformats.org/officeDocument/2006/relationships/image" Target="../media/image38.png"/><Relationship Id="rId10" Type="http://schemas.openxmlformats.org/officeDocument/2006/relationships/image" Target="../media/image43.svg"/><Relationship Id="rId4" Type="http://schemas.openxmlformats.org/officeDocument/2006/relationships/image" Target="../media/image37.svg"/><Relationship Id="rId9" Type="http://schemas.openxmlformats.org/officeDocument/2006/relationships/image" Target="../media/image42.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8" Type="http://schemas.openxmlformats.org/officeDocument/2006/relationships/image" Target="../media/image212.svg"/><Relationship Id="rId13" Type="http://schemas.openxmlformats.org/officeDocument/2006/relationships/image" Target="../media/image217.png"/><Relationship Id="rId18" Type="http://schemas.openxmlformats.org/officeDocument/2006/relationships/image" Target="../media/image222.svg"/><Relationship Id="rId26" Type="http://schemas.openxmlformats.org/officeDocument/2006/relationships/image" Target="../media/image230.svg"/><Relationship Id="rId3" Type="http://schemas.openxmlformats.org/officeDocument/2006/relationships/image" Target="../media/image148.png"/><Relationship Id="rId21" Type="http://schemas.openxmlformats.org/officeDocument/2006/relationships/image" Target="../media/image225.png"/><Relationship Id="rId7" Type="http://schemas.openxmlformats.org/officeDocument/2006/relationships/image" Target="../media/image211.png"/><Relationship Id="rId12" Type="http://schemas.openxmlformats.org/officeDocument/2006/relationships/image" Target="../media/image216.svg"/><Relationship Id="rId17" Type="http://schemas.openxmlformats.org/officeDocument/2006/relationships/image" Target="../media/image221.png"/><Relationship Id="rId25" Type="http://schemas.openxmlformats.org/officeDocument/2006/relationships/image" Target="../media/image229.png"/><Relationship Id="rId2" Type="http://schemas.openxmlformats.org/officeDocument/2006/relationships/notesSlide" Target="../notesSlides/notesSlide21.xml"/><Relationship Id="rId16" Type="http://schemas.openxmlformats.org/officeDocument/2006/relationships/image" Target="../media/image220.svg"/><Relationship Id="rId20" Type="http://schemas.openxmlformats.org/officeDocument/2006/relationships/image" Target="../media/image224.svg"/><Relationship Id="rId29" Type="http://schemas.openxmlformats.org/officeDocument/2006/relationships/image" Target="../media/image233.png"/><Relationship Id="rId1" Type="http://schemas.openxmlformats.org/officeDocument/2006/relationships/slideLayout" Target="../slideLayouts/slideLayout79.xml"/><Relationship Id="rId6" Type="http://schemas.openxmlformats.org/officeDocument/2006/relationships/image" Target="../media/image210.svg"/><Relationship Id="rId11" Type="http://schemas.openxmlformats.org/officeDocument/2006/relationships/image" Target="../media/image215.png"/><Relationship Id="rId24" Type="http://schemas.openxmlformats.org/officeDocument/2006/relationships/image" Target="../media/image228.svg"/><Relationship Id="rId32" Type="http://schemas.openxmlformats.org/officeDocument/2006/relationships/image" Target="../media/image236.svg"/><Relationship Id="rId5" Type="http://schemas.openxmlformats.org/officeDocument/2006/relationships/image" Target="../media/image209.png"/><Relationship Id="rId15" Type="http://schemas.openxmlformats.org/officeDocument/2006/relationships/image" Target="../media/image219.png"/><Relationship Id="rId23" Type="http://schemas.openxmlformats.org/officeDocument/2006/relationships/image" Target="../media/image227.png"/><Relationship Id="rId28" Type="http://schemas.openxmlformats.org/officeDocument/2006/relationships/image" Target="../media/image232.svg"/><Relationship Id="rId10" Type="http://schemas.openxmlformats.org/officeDocument/2006/relationships/image" Target="../media/image214.svg"/><Relationship Id="rId19" Type="http://schemas.openxmlformats.org/officeDocument/2006/relationships/image" Target="../media/image223.png"/><Relationship Id="rId31" Type="http://schemas.openxmlformats.org/officeDocument/2006/relationships/image" Target="../media/image235.png"/><Relationship Id="rId4" Type="http://schemas.openxmlformats.org/officeDocument/2006/relationships/image" Target="../media/image149.svg"/><Relationship Id="rId9" Type="http://schemas.openxmlformats.org/officeDocument/2006/relationships/image" Target="../media/image213.png"/><Relationship Id="rId14" Type="http://schemas.openxmlformats.org/officeDocument/2006/relationships/image" Target="../media/image218.svg"/><Relationship Id="rId22" Type="http://schemas.openxmlformats.org/officeDocument/2006/relationships/image" Target="../media/image226.svg"/><Relationship Id="rId27" Type="http://schemas.openxmlformats.org/officeDocument/2006/relationships/image" Target="../media/image231.png"/><Relationship Id="rId30" Type="http://schemas.openxmlformats.org/officeDocument/2006/relationships/image" Target="../media/image234.sv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9.xml"/></Relationships>
</file>

<file path=ppt/slides/_rels/slide23.xml.rels><?xml version="1.0" encoding="UTF-8" standalone="yes"?>
<Relationships xmlns="http://schemas.openxmlformats.org/package/2006/relationships"><Relationship Id="rId3" Type="http://schemas.openxmlformats.org/officeDocument/2006/relationships/image" Target="../media/image149.svg"/><Relationship Id="rId7" Type="http://schemas.openxmlformats.org/officeDocument/2006/relationships/image" Target="../media/image239.svg"/><Relationship Id="rId2" Type="http://schemas.openxmlformats.org/officeDocument/2006/relationships/image" Target="../media/image148.png"/><Relationship Id="rId1" Type="http://schemas.openxmlformats.org/officeDocument/2006/relationships/slideLayout" Target="../slideLayouts/slideLayout80.xml"/><Relationship Id="rId6" Type="http://schemas.openxmlformats.org/officeDocument/2006/relationships/image" Target="../media/image82.png"/><Relationship Id="rId5" Type="http://schemas.openxmlformats.org/officeDocument/2006/relationships/image" Target="../media/image238.svg"/><Relationship Id="rId4" Type="http://schemas.openxmlformats.org/officeDocument/2006/relationships/image" Target="../media/image237.png"/></Relationships>
</file>

<file path=ppt/slides/_rels/slide24.xml.rels><?xml version="1.0" encoding="UTF-8" standalone="yes"?>
<Relationships xmlns="http://schemas.openxmlformats.org/package/2006/relationships"><Relationship Id="rId13" Type="http://schemas.openxmlformats.org/officeDocument/2006/relationships/image" Target="../media/image249.png"/><Relationship Id="rId18" Type="http://schemas.openxmlformats.org/officeDocument/2006/relationships/image" Target="../media/image254.svg"/><Relationship Id="rId26" Type="http://schemas.openxmlformats.org/officeDocument/2006/relationships/image" Target="../media/image262.svg"/><Relationship Id="rId39" Type="http://schemas.openxmlformats.org/officeDocument/2006/relationships/image" Target="../media/image275.png"/><Relationship Id="rId21" Type="http://schemas.openxmlformats.org/officeDocument/2006/relationships/image" Target="../media/image257.png"/><Relationship Id="rId34" Type="http://schemas.openxmlformats.org/officeDocument/2006/relationships/image" Target="../media/image270.svg"/><Relationship Id="rId42" Type="http://schemas.microsoft.com/office/2007/relationships/hdphoto" Target="../media/hdphoto3.wdp"/><Relationship Id="rId7" Type="http://schemas.openxmlformats.org/officeDocument/2006/relationships/image" Target="../media/image243.png"/><Relationship Id="rId2" Type="http://schemas.openxmlformats.org/officeDocument/2006/relationships/notesSlide" Target="../notesSlides/notesSlide23.xml"/><Relationship Id="rId16" Type="http://schemas.openxmlformats.org/officeDocument/2006/relationships/image" Target="../media/image252.svg"/><Relationship Id="rId20" Type="http://schemas.openxmlformats.org/officeDocument/2006/relationships/image" Target="../media/image256.svg"/><Relationship Id="rId29" Type="http://schemas.openxmlformats.org/officeDocument/2006/relationships/image" Target="../media/image265.png"/><Relationship Id="rId41" Type="http://schemas.openxmlformats.org/officeDocument/2006/relationships/image" Target="../media/image276.png"/><Relationship Id="rId1" Type="http://schemas.openxmlformats.org/officeDocument/2006/relationships/slideLayout" Target="../slideLayouts/slideLayout81.xml"/><Relationship Id="rId6" Type="http://schemas.microsoft.com/office/2007/relationships/hdphoto" Target="../media/hdphoto1.wdp"/><Relationship Id="rId11" Type="http://schemas.openxmlformats.org/officeDocument/2006/relationships/image" Target="../media/image247.png"/><Relationship Id="rId24" Type="http://schemas.openxmlformats.org/officeDocument/2006/relationships/image" Target="../media/image260.svg"/><Relationship Id="rId32" Type="http://schemas.openxmlformats.org/officeDocument/2006/relationships/image" Target="../media/image268.svg"/><Relationship Id="rId37" Type="http://schemas.openxmlformats.org/officeDocument/2006/relationships/image" Target="../media/image273.png"/><Relationship Id="rId40" Type="http://schemas.microsoft.com/office/2007/relationships/hdphoto" Target="../media/hdphoto2.wdp"/><Relationship Id="rId5" Type="http://schemas.openxmlformats.org/officeDocument/2006/relationships/image" Target="../media/image242.png"/><Relationship Id="rId15" Type="http://schemas.openxmlformats.org/officeDocument/2006/relationships/image" Target="../media/image251.png"/><Relationship Id="rId23" Type="http://schemas.openxmlformats.org/officeDocument/2006/relationships/image" Target="../media/image259.png"/><Relationship Id="rId28" Type="http://schemas.openxmlformats.org/officeDocument/2006/relationships/image" Target="../media/image264.svg"/><Relationship Id="rId36" Type="http://schemas.openxmlformats.org/officeDocument/2006/relationships/image" Target="../media/image272.svg"/><Relationship Id="rId10" Type="http://schemas.openxmlformats.org/officeDocument/2006/relationships/image" Target="../media/image246.svg"/><Relationship Id="rId19" Type="http://schemas.openxmlformats.org/officeDocument/2006/relationships/image" Target="../media/image255.png"/><Relationship Id="rId31" Type="http://schemas.openxmlformats.org/officeDocument/2006/relationships/image" Target="../media/image267.png"/><Relationship Id="rId4" Type="http://schemas.openxmlformats.org/officeDocument/2006/relationships/image" Target="../media/image241.svg"/><Relationship Id="rId9" Type="http://schemas.openxmlformats.org/officeDocument/2006/relationships/image" Target="../media/image245.png"/><Relationship Id="rId14" Type="http://schemas.openxmlformats.org/officeDocument/2006/relationships/image" Target="../media/image250.svg"/><Relationship Id="rId22" Type="http://schemas.openxmlformats.org/officeDocument/2006/relationships/image" Target="../media/image258.svg"/><Relationship Id="rId27" Type="http://schemas.openxmlformats.org/officeDocument/2006/relationships/image" Target="../media/image263.png"/><Relationship Id="rId30" Type="http://schemas.openxmlformats.org/officeDocument/2006/relationships/image" Target="../media/image266.svg"/><Relationship Id="rId35" Type="http://schemas.openxmlformats.org/officeDocument/2006/relationships/image" Target="../media/image271.png"/><Relationship Id="rId8" Type="http://schemas.openxmlformats.org/officeDocument/2006/relationships/image" Target="../media/image244.svg"/><Relationship Id="rId3" Type="http://schemas.openxmlformats.org/officeDocument/2006/relationships/image" Target="../media/image240.png"/><Relationship Id="rId12" Type="http://schemas.openxmlformats.org/officeDocument/2006/relationships/image" Target="../media/image248.svg"/><Relationship Id="rId17" Type="http://schemas.openxmlformats.org/officeDocument/2006/relationships/image" Target="../media/image253.png"/><Relationship Id="rId25" Type="http://schemas.openxmlformats.org/officeDocument/2006/relationships/image" Target="../media/image261.png"/><Relationship Id="rId33" Type="http://schemas.openxmlformats.org/officeDocument/2006/relationships/image" Target="../media/image269.png"/><Relationship Id="rId38" Type="http://schemas.openxmlformats.org/officeDocument/2006/relationships/image" Target="../media/image274.png"/></Relationships>
</file>

<file path=ppt/slides/_rels/slide3.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3.xml"/><Relationship Id="rId1" Type="http://schemas.openxmlformats.org/officeDocument/2006/relationships/slideLayout" Target="../slideLayouts/slideLayout22.xml"/><Relationship Id="rId6" Type="http://schemas.openxmlformats.org/officeDocument/2006/relationships/image" Target="../media/image39.svg"/><Relationship Id="rId5" Type="http://schemas.openxmlformats.org/officeDocument/2006/relationships/image" Target="../media/image38.png"/><Relationship Id="rId10" Type="http://schemas.openxmlformats.org/officeDocument/2006/relationships/image" Target="../media/image43.svg"/><Relationship Id="rId4" Type="http://schemas.openxmlformats.org/officeDocument/2006/relationships/image" Target="../media/image37.svg"/><Relationship Id="rId9" Type="http://schemas.openxmlformats.org/officeDocument/2006/relationships/image" Target="../media/image42.png"/></Relationships>
</file>

<file path=ppt/slides/_rels/slide4.xml.rels><?xml version="1.0" encoding="UTF-8" standalone="yes"?>
<Relationships xmlns="http://schemas.openxmlformats.org/package/2006/relationships"><Relationship Id="rId8" Type="http://schemas.openxmlformats.org/officeDocument/2006/relationships/image" Target="../media/image49.svg"/><Relationship Id="rId3" Type="http://schemas.openxmlformats.org/officeDocument/2006/relationships/image" Target="../media/image44.png"/><Relationship Id="rId7" Type="http://schemas.openxmlformats.org/officeDocument/2006/relationships/image" Target="../media/image48.png"/><Relationship Id="rId12" Type="http://schemas.openxmlformats.org/officeDocument/2006/relationships/image" Target="../media/image53.svg"/><Relationship Id="rId2" Type="http://schemas.openxmlformats.org/officeDocument/2006/relationships/notesSlide" Target="../notesSlides/notesSlide4.xml"/><Relationship Id="rId1" Type="http://schemas.openxmlformats.org/officeDocument/2006/relationships/slideLayout" Target="../slideLayouts/slideLayout24.xml"/><Relationship Id="rId6" Type="http://schemas.openxmlformats.org/officeDocument/2006/relationships/image" Target="../media/image47.svg"/><Relationship Id="rId11" Type="http://schemas.openxmlformats.org/officeDocument/2006/relationships/image" Target="../media/image52.png"/><Relationship Id="rId5" Type="http://schemas.openxmlformats.org/officeDocument/2006/relationships/image" Target="../media/image46.png"/><Relationship Id="rId10" Type="http://schemas.openxmlformats.org/officeDocument/2006/relationships/image" Target="../media/image51.svg"/><Relationship Id="rId4" Type="http://schemas.openxmlformats.org/officeDocument/2006/relationships/image" Target="../media/image45.svg"/><Relationship Id="rId9" Type="http://schemas.openxmlformats.org/officeDocument/2006/relationships/image" Target="../media/image50.png"/></Relationships>
</file>

<file path=ppt/slides/_rels/slide5.xml.rels><?xml version="1.0" encoding="UTF-8" standalone="yes"?>
<Relationships xmlns="http://schemas.openxmlformats.org/package/2006/relationships"><Relationship Id="rId13" Type="http://schemas.openxmlformats.org/officeDocument/2006/relationships/image" Target="../media/image64.png"/><Relationship Id="rId18" Type="http://schemas.openxmlformats.org/officeDocument/2006/relationships/image" Target="../media/image69.png"/><Relationship Id="rId26" Type="http://schemas.openxmlformats.org/officeDocument/2006/relationships/image" Target="../media/image77.png"/><Relationship Id="rId39" Type="http://schemas.openxmlformats.org/officeDocument/2006/relationships/image" Target="../media/image90.png"/><Relationship Id="rId21" Type="http://schemas.openxmlformats.org/officeDocument/2006/relationships/image" Target="../media/image72.png"/><Relationship Id="rId34" Type="http://schemas.openxmlformats.org/officeDocument/2006/relationships/image" Target="../media/image85.svg"/><Relationship Id="rId42" Type="http://schemas.openxmlformats.org/officeDocument/2006/relationships/image" Target="../media/image93.svg"/><Relationship Id="rId7" Type="http://schemas.openxmlformats.org/officeDocument/2006/relationships/image" Target="../media/image58.png"/><Relationship Id="rId2" Type="http://schemas.openxmlformats.org/officeDocument/2006/relationships/notesSlide" Target="../notesSlides/notesSlide5.xml"/><Relationship Id="rId16" Type="http://schemas.openxmlformats.org/officeDocument/2006/relationships/image" Target="../media/image67.png"/><Relationship Id="rId20" Type="http://schemas.openxmlformats.org/officeDocument/2006/relationships/image" Target="../media/image71.png"/><Relationship Id="rId29" Type="http://schemas.openxmlformats.org/officeDocument/2006/relationships/image" Target="../media/image80.png"/><Relationship Id="rId41" Type="http://schemas.openxmlformats.org/officeDocument/2006/relationships/image" Target="../media/image92.png"/><Relationship Id="rId1" Type="http://schemas.openxmlformats.org/officeDocument/2006/relationships/slideLayout" Target="../slideLayouts/slideLayout22.xml"/><Relationship Id="rId6" Type="http://schemas.openxmlformats.org/officeDocument/2006/relationships/image" Target="../media/image57.png"/><Relationship Id="rId11" Type="http://schemas.openxmlformats.org/officeDocument/2006/relationships/image" Target="../media/image62.png"/><Relationship Id="rId24" Type="http://schemas.openxmlformats.org/officeDocument/2006/relationships/image" Target="../media/image75.png"/><Relationship Id="rId32" Type="http://schemas.openxmlformats.org/officeDocument/2006/relationships/image" Target="../media/image83.svg"/><Relationship Id="rId37" Type="http://schemas.openxmlformats.org/officeDocument/2006/relationships/image" Target="../media/image88.png"/><Relationship Id="rId40" Type="http://schemas.openxmlformats.org/officeDocument/2006/relationships/image" Target="../media/image91.svg"/><Relationship Id="rId5" Type="http://schemas.openxmlformats.org/officeDocument/2006/relationships/image" Target="../media/image56.png"/><Relationship Id="rId15" Type="http://schemas.openxmlformats.org/officeDocument/2006/relationships/image" Target="../media/image66.png"/><Relationship Id="rId23" Type="http://schemas.openxmlformats.org/officeDocument/2006/relationships/image" Target="../media/image74.png"/><Relationship Id="rId28" Type="http://schemas.openxmlformats.org/officeDocument/2006/relationships/image" Target="../media/image79.svg"/><Relationship Id="rId36" Type="http://schemas.openxmlformats.org/officeDocument/2006/relationships/image" Target="../media/image87.svg"/><Relationship Id="rId10" Type="http://schemas.openxmlformats.org/officeDocument/2006/relationships/image" Target="../media/image61.png"/><Relationship Id="rId19" Type="http://schemas.openxmlformats.org/officeDocument/2006/relationships/image" Target="../media/image70.png"/><Relationship Id="rId31" Type="http://schemas.openxmlformats.org/officeDocument/2006/relationships/image" Target="../media/image82.png"/><Relationship Id="rId4" Type="http://schemas.openxmlformats.org/officeDocument/2006/relationships/image" Target="../media/image55.svg"/><Relationship Id="rId9" Type="http://schemas.openxmlformats.org/officeDocument/2006/relationships/image" Target="../media/image60.png"/><Relationship Id="rId14" Type="http://schemas.openxmlformats.org/officeDocument/2006/relationships/image" Target="../media/image65.png"/><Relationship Id="rId22" Type="http://schemas.openxmlformats.org/officeDocument/2006/relationships/image" Target="../media/image73.png"/><Relationship Id="rId27" Type="http://schemas.openxmlformats.org/officeDocument/2006/relationships/image" Target="../media/image78.png"/><Relationship Id="rId30" Type="http://schemas.openxmlformats.org/officeDocument/2006/relationships/image" Target="../media/image81.svg"/><Relationship Id="rId35" Type="http://schemas.openxmlformats.org/officeDocument/2006/relationships/image" Target="../media/image86.png"/><Relationship Id="rId8" Type="http://schemas.openxmlformats.org/officeDocument/2006/relationships/image" Target="../media/image59.png"/><Relationship Id="rId3" Type="http://schemas.openxmlformats.org/officeDocument/2006/relationships/image" Target="../media/image54.png"/><Relationship Id="rId12" Type="http://schemas.openxmlformats.org/officeDocument/2006/relationships/image" Target="../media/image63.png"/><Relationship Id="rId17" Type="http://schemas.openxmlformats.org/officeDocument/2006/relationships/image" Target="../media/image68.png"/><Relationship Id="rId25" Type="http://schemas.openxmlformats.org/officeDocument/2006/relationships/image" Target="../media/image76.svg"/><Relationship Id="rId33" Type="http://schemas.openxmlformats.org/officeDocument/2006/relationships/image" Target="../media/image84.png"/><Relationship Id="rId38" Type="http://schemas.openxmlformats.org/officeDocument/2006/relationships/image" Target="../media/image89.svg"/></Relationships>
</file>

<file path=ppt/slides/_rels/slide6.xml.rels><?xml version="1.0" encoding="UTF-8" standalone="yes"?>
<Relationships xmlns="http://schemas.openxmlformats.org/package/2006/relationships"><Relationship Id="rId8" Type="http://schemas.openxmlformats.org/officeDocument/2006/relationships/image" Target="../media/image95.svg"/><Relationship Id="rId13" Type="http://schemas.openxmlformats.org/officeDocument/2006/relationships/image" Target="../media/image100.png"/><Relationship Id="rId3" Type="http://schemas.openxmlformats.org/officeDocument/2006/relationships/image" Target="../media/image54.png"/><Relationship Id="rId7" Type="http://schemas.openxmlformats.org/officeDocument/2006/relationships/image" Target="../media/image94.png"/><Relationship Id="rId12" Type="http://schemas.openxmlformats.org/officeDocument/2006/relationships/image" Target="../media/image99.svg"/><Relationship Id="rId2" Type="http://schemas.openxmlformats.org/officeDocument/2006/relationships/notesSlide" Target="../notesSlides/notesSlide6.xml"/><Relationship Id="rId1" Type="http://schemas.openxmlformats.org/officeDocument/2006/relationships/slideLayout" Target="../slideLayouts/slideLayout8.xml"/><Relationship Id="rId6" Type="http://schemas.openxmlformats.org/officeDocument/2006/relationships/image" Target="../media/image45.svg"/><Relationship Id="rId11" Type="http://schemas.openxmlformats.org/officeDocument/2006/relationships/image" Target="../media/image98.png"/><Relationship Id="rId5" Type="http://schemas.openxmlformats.org/officeDocument/2006/relationships/image" Target="../media/image44.png"/><Relationship Id="rId10" Type="http://schemas.openxmlformats.org/officeDocument/2006/relationships/image" Target="../media/image97.svg"/><Relationship Id="rId4" Type="http://schemas.openxmlformats.org/officeDocument/2006/relationships/image" Target="../media/image55.svg"/><Relationship Id="rId9" Type="http://schemas.openxmlformats.org/officeDocument/2006/relationships/image" Target="../media/image96.png"/><Relationship Id="rId14" Type="http://schemas.openxmlformats.org/officeDocument/2006/relationships/image" Target="../media/image101.svg"/></Relationships>
</file>

<file path=ppt/slides/_rels/slide7.xml.rels><?xml version="1.0" encoding="UTF-8" standalone="yes"?>
<Relationships xmlns="http://schemas.openxmlformats.org/package/2006/relationships"><Relationship Id="rId8" Type="http://schemas.openxmlformats.org/officeDocument/2006/relationships/image" Target="../media/image106.svg"/><Relationship Id="rId13" Type="http://schemas.openxmlformats.org/officeDocument/2006/relationships/image" Target="../media/image111.png"/><Relationship Id="rId18" Type="http://schemas.openxmlformats.org/officeDocument/2006/relationships/image" Target="../media/image116.svg"/><Relationship Id="rId3" Type="http://schemas.openxmlformats.org/officeDocument/2006/relationships/image" Target="../media/image102.png"/><Relationship Id="rId21" Type="http://schemas.openxmlformats.org/officeDocument/2006/relationships/image" Target="../media/image119.png"/><Relationship Id="rId7" Type="http://schemas.openxmlformats.org/officeDocument/2006/relationships/image" Target="../media/image105.png"/><Relationship Id="rId12" Type="http://schemas.openxmlformats.org/officeDocument/2006/relationships/image" Target="../media/image110.svg"/><Relationship Id="rId17" Type="http://schemas.openxmlformats.org/officeDocument/2006/relationships/image" Target="../media/image115.png"/><Relationship Id="rId2" Type="http://schemas.openxmlformats.org/officeDocument/2006/relationships/notesSlide" Target="../notesSlides/notesSlide7.xml"/><Relationship Id="rId16" Type="http://schemas.openxmlformats.org/officeDocument/2006/relationships/image" Target="../media/image114.svg"/><Relationship Id="rId20" Type="http://schemas.openxmlformats.org/officeDocument/2006/relationships/image" Target="../media/image118.svg"/><Relationship Id="rId1" Type="http://schemas.openxmlformats.org/officeDocument/2006/relationships/slideLayout" Target="../slideLayouts/slideLayout8.xml"/><Relationship Id="rId6" Type="http://schemas.openxmlformats.org/officeDocument/2006/relationships/image" Target="../media/image104.svg"/><Relationship Id="rId11" Type="http://schemas.openxmlformats.org/officeDocument/2006/relationships/image" Target="../media/image109.png"/><Relationship Id="rId5" Type="http://schemas.openxmlformats.org/officeDocument/2006/relationships/image" Target="../media/image54.png"/><Relationship Id="rId15" Type="http://schemas.openxmlformats.org/officeDocument/2006/relationships/image" Target="../media/image113.png"/><Relationship Id="rId10" Type="http://schemas.openxmlformats.org/officeDocument/2006/relationships/image" Target="../media/image108.svg"/><Relationship Id="rId19" Type="http://schemas.openxmlformats.org/officeDocument/2006/relationships/image" Target="../media/image117.png"/><Relationship Id="rId4" Type="http://schemas.openxmlformats.org/officeDocument/2006/relationships/image" Target="../media/image103.svg"/><Relationship Id="rId9" Type="http://schemas.openxmlformats.org/officeDocument/2006/relationships/image" Target="../media/image107.png"/><Relationship Id="rId14" Type="http://schemas.openxmlformats.org/officeDocument/2006/relationships/image" Target="../media/image112.svg"/><Relationship Id="rId22" Type="http://schemas.openxmlformats.org/officeDocument/2006/relationships/image" Target="../media/image120.svg"/></Relationships>
</file>

<file path=ppt/slides/_rels/slide8.xml.rels><?xml version="1.0" encoding="UTF-8" standalone="yes"?>
<Relationships xmlns="http://schemas.openxmlformats.org/package/2006/relationships"><Relationship Id="rId8" Type="http://schemas.openxmlformats.org/officeDocument/2006/relationships/image" Target="../media/image122.svg"/><Relationship Id="rId13" Type="http://schemas.openxmlformats.org/officeDocument/2006/relationships/image" Target="../media/image127.png"/><Relationship Id="rId3" Type="http://schemas.openxmlformats.org/officeDocument/2006/relationships/image" Target="../media/image48.png"/><Relationship Id="rId7" Type="http://schemas.openxmlformats.org/officeDocument/2006/relationships/image" Target="../media/image121.png"/><Relationship Id="rId12" Type="http://schemas.openxmlformats.org/officeDocument/2006/relationships/image" Target="../media/image126.svg"/><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image" Target="../media/image104.svg"/><Relationship Id="rId11" Type="http://schemas.openxmlformats.org/officeDocument/2006/relationships/image" Target="../media/image125.png"/><Relationship Id="rId5" Type="http://schemas.openxmlformats.org/officeDocument/2006/relationships/image" Target="../media/image54.png"/><Relationship Id="rId10" Type="http://schemas.openxmlformats.org/officeDocument/2006/relationships/image" Target="../media/image124.svg"/><Relationship Id="rId4" Type="http://schemas.openxmlformats.org/officeDocument/2006/relationships/image" Target="../media/image49.svg"/><Relationship Id="rId9" Type="http://schemas.openxmlformats.org/officeDocument/2006/relationships/image" Target="../media/image123.png"/><Relationship Id="rId14" Type="http://schemas.openxmlformats.org/officeDocument/2006/relationships/image" Target="../media/image128.svg"/></Relationships>
</file>

<file path=ppt/slides/_rels/slide9.xml.rels><?xml version="1.0" encoding="UTF-8" standalone="yes"?>
<Relationships xmlns="http://schemas.openxmlformats.org/package/2006/relationships"><Relationship Id="rId8" Type="http://schemas.openxmlformats.org/officeDocument/2006/relationships/image" Target="../media/image130.svg"/><Relationship Id="rId13" Type="http://schemas.openxmlformats.org/officeDocument/2006/relationships/image" Target="../media/image135.png"/><Relationship Id="rId3" Type="http://schemas.openxmlformats.org/officeDocument/2006/relationships/image" Target="../media/image50.png"/><Relationship Id="rId7" Type="http://schemas.openxmlformats.org/officeDocument/2006/relationships/image" Target="../media/image129.png"/><Relationship Id="rId12" Type="http://schemas.openxmlformats.org/officeDocument/2006/relationships/image" Target="../media/image134.svg"/><Relationship Id="rId2" Type="http://schemas.openxmlformats.org/officeDocument/2006/relationships/notesSlide" Target="../notesSlides/notesSlide9.xml"/><Relationship Id="rId1" Type="http://schemas.openxmlformats.org/officeDocument/2006/relationships/slideLayout" Target="../slideLayouts/slideLayout8.xml"/><Relationship Id="rId6" Type="http://schemas.openxmlformats.org/officeDocument/2006/relationships/image" Target="../media/image55.svg"/><Relationship Id="rId11" Type="http://schemas.openxmlformats.org/officeDocument/2006/relationships/image" Target="../media/image133.png"/><Relationship Id="rId5" Type="http://schemas.openxmlformats.org/officeDocument/2006/relationships/image" Target="../media/image54.png"/><Relationship Id="rId10" Type="http://schemas.openxmlformats.org/officeDocument/2006/relationships/image" Target="../media/image132.svg"/><Relationship Id="rId4" Type="http://schemas.openxmlformats.org/officeDocument/2006/relationships/image" Target="../media/image51.svg"/><Relationship Id="rId9" Type="http://schemas.openxmlformats.org/officeDocument/2006/relationships/image" Target="../media/image131.png"/><Relationship Id="rId14" Type="http://schemas.openxmlformats.org/officeDocument/2006/relationships/image" Target="../media/image136.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A96239-ECA3-DB1C-E2A0-03E99B641636}"/>
              </a:ext>
            </a:extLst>
          </p:cNvPr>
          <p:cNvSpPr>
            <a:spLocks noGrp="1"/>
          </p:cNvSpPr>
          <p:nvPr>
            <p:ph type="ctrTitle"/>
          </p:nvPr>
        </p:nvSpPr>
        <p:spPr>
          <a:xfrm>
            <a:off x="827618" y="1490168"/>
            <a:ext cx="10536764" cy="2581299"/>
          </a:xfrm>
        </p:spPr>
        <p:txBody>
          <a:bodyPr>
            <a:normAutofit/>
          </a:bodyPr>
          <a:lstStyle/>
          <a:p>
            <a:r>
              <a:rPr lang="en-US" sz="7200" dirty="0"/>
              <a:t>Radical Resilience to Keep Your Business Running</a:t>
            </a:r>
          </a:p>
        </p:txBody>
      </p:sp>
      <p:sp>
        <p:nvSpPr>
          <p:cNvPr id="3" name="Text Placeholder 3">
            <a:extLst>
              <a:ext uri="{FF2B5EF4-FFF2-40B4-BE49-F238E27FC236}">
                <a16:creationId xmlns:a16="http://schemas.microsoft.com/office/drawing/2014/main" id="{0CC93CB4-0647-E787-ECD0-3F57F47F2E3A}"/>
              </a:ext>
            </a:extLst>
          </p:cNvPr>
          <p:cNvSpPr txBox="1">
            <a:spLocks/>
          </p:cNvSpPr>
          <p:nvPr/>
        </p:nvSpPr>
        <p:spPr>
          <a:xfrm>
            <a:off x="1770346" y="4859736"/>
            <a:ext cx="4173254" cy="511883"/>
          </a:xfrm>
          <a:prstGeom prst="rect">
            <a:avLst/>
          </a:prstGeom>
        </p:spPr>
        <p:txBody>
          <a:bodyPr vert="horz" lIns="0" tIns="0" rIns="0" bIns="0" rtlCol="0">
            <a:noAutofit/>
          </a:bodyPr>
          <a:lstStyle>
            <a:lvl1pPr marL="0" indent="0" algn="l" defTabSz="914400" rtl="0" eaLnBrk="1" latinLnBrk="0" hangingPunct="1">
              <a:lnSpc>
                <a:spcPct val="80000"/>
              </a:lnSpc>
              <a:spcBef>
                <a:spcPts val="1200"/>
              </a:spcBef>
              <a:spcAft>
                <a:spcPts val="600"/>
              </a:spcAft>
              <a:buClrTx/>
              <a:buFont typeface="Calibri" panose="020F0502020204030204" pitchFamily="34" charset="0"/>
              <a:buNone/>
              <a:tabLst/>
              <a:defRPr sz="2400" b="0" i="0" kern="1200">
                <a:solidFill>
                  <a:schemeClr val="accent1"/>
                </a:solidFill>
                <a:latin typeface="ES Build "/>
                <a:ea typeface="ES Build Neutral" pitchFamily="2" charset="77"/>
                <a:cs typeface="+mn-cs"/>
              </a:defRPr>
            </a:lvl1pPr>
            <a:lvl2pPr marL="0" indent="0" algn="l" defTabSz="914400" rtl="0" eaLnBrk="1" latinLnBrk="0" hangingPunct="1">
              <a:lnSpc>
                <a:spcPct val="80000"/>
              </a:lnSpc>
              <a:spcBef>
                <a:spcPts val="300"/>
              </a:spcBef>
              <a:spcAft>
                <a:spcPts val="150"/>
              </a:spcAft>
              <a:buClrTx/>
              <a:buFont typeface="Arial" panose="020B0604020202020204" pitchFamily="34" charset="0"/>
              <a:buNone/>
              <a:tabLst/>
              <a:defRPr sz="1600" b="0" i="0" kern="1200">
                <a:solidFill>
                  <a:schemeClr val="accent1"/>
                </a:solidFill>
                <a:latin typeface="ES Build Neutral" pitchFamily="2" charset="77"/>
                <a:ea typeface="ES Build Neutral" pitchFamily="2" charset="77"/>
                <a:cs typeface="+mn-cs"/>
              </a:defRPr>
            </a:lvl2pPr>
            <a:lvl3pPr marL="342900" indent="-171450" algn="l" defTabSz="914400" rtl="0" eaLnBrk="1" latinLnBrk="0" hangingPunct="1">
              <a:lnSpc>
                <a:spcPct val="96000"/>
              </a:lnSpc>
              <a:spcBef>
                <a:spcPts val="300"/>
              </a:spcBef>
              <a:spcAft>
                <a:spcPts val="150"/>
              </a:spcAft>
              <a:buClrTx/>
              <a:buFont typeface="Arial" panose="020B0604020202020204" pitchFamily="34" charset="0"/>
              <a:buChar char="•"/>
              <a:tabLst/>
              <a:defRPr sz="1600" b="0" i="0" kern="1200">
                <a:solidFill>
                  <a:schemeClr val="tx1"/>
                </a:solidFill>
                <a:latin typeface="ES Build Neutral" pitchFamily="2" charset="77"/>
                <a:ea typeface="ES Build Neutral" pitchFamily="2" charset="77"/>
                <a:cs typeface="+mn-cs"/>
              </a:defRPr>
            </a:lvl3pPr>
            <a:lvl4pPr marL="576072" indent="-173736" algn="l" defTabSz="914400" rtl="0" eaLnBrk="1" latinLnBrk="0" hangingPunct="1">
              <a:lnSpc>
                <a:spcPct val="96000"/>
              </a:lnSpc>
              <a:spcBef>
                <a:spcPts val="300"/>
              </a:spcBef>
              <a:spcAft>
                <a:spcPts val="150"/>
              </a:spcAft>
              <a:buClrTx/>
              <a:buFont typeface="Arial" panose="020B0604020202020204" pitchFamily="34" charset="0"/>
              <a:buChar char="•"/>
              <a:tabLst/>
              <a:defRPr sz="1600" b="0" i="0" kern="1200">
                <a:solidFill>
                  <a:schemeClr val="tx1"/>
                </a:solidFill>
                <a:latin typeface="ES Build Neutral" pitchFamily="2" charset="77"/>
                <a:ea typeface="ES Build Neutral" pitchFamily="2" charset="77"/>
                <a:cs typeface="+mn-cs"/>
              </a:defRPr>
            </a:lvl4pPr>
            <a:lvl5pPr marL="731520" indent="-173736" algn="l" defTabSz="914400" rtl="0" eaLnBrk="1" latinLnBrk="0" hangingPunct="1">
              <a:lnSpc>
                <a:spcPct val="96000"/>
              </a:lnSpc>
              <a:spcBef>
                <a:spcPts val="300"/>
              </a:spcBef>
              <a:spcAft>
                <a:spcPts val="150"/>
              </a:spcAft>
              <a:buFont typeface="Arial" panose="020B0604020202020204" pitchFamily="34" charset="0"/>
              <a:buChar char="•"/>
              <a:tabLst/>
              <a:defRPr sz="1400" b="0" i="0" kern="1200">
                <a:solidFill>
                  <a:schemeClr val="tx1"/>
                </a:solidFill>
                <a:latin typeface="ES Build Neutral" pitchFamily="2" charset="77"/>
                <a:ea typeface="ES Build Neutral" pitchFamily="2" charset="77"/>
                <a:cs typeface="+mn-cs"/>
              </a:defRPr>
            </a:lvl5pPr>
            <a:lvl6pPr marL="11113" indent="0" algn="l" defTabSz="914400" rtl="0" eaLnBrk="1" latinLnBrk="0" hangingPunct="1">
              <a:lnSpc>
                <a:spcPct val="96000"/>
              </a:lnSpc>
              <a:spcBef>
                <a:spcPts val="600"/>
              </a:spcBef>
              <a:spcAft>
                <a:spcPts val="300"/>
              </a:spcAft>
              <a:buFont typeface="System Font Regular"/>
              <a:buChar char="​"/>
              <a:tabLst/>
              <a:defRPr sz="1600" b="0" i="0" kern="1200">
                <a:solidFill>
                  <a:schemeClr val="tx1"/>
                </a:solidFill>
                <a:latin typeface="ES Build Neutral" pitchFamily="2" charset="77"/>
                <a:ea typeface="ES Build Neutral" pitchFamily="2" charset="77"/>
                <a:cs typeface="+mn-cs"/>
              </a:defRPr>
            </a:lvl6pPr>
            <a:lvl7pPr marL="11113" indent="0" algn="l" defTabSz="914400" rtl="0" eaLnBrk="1" latinLnBrk="0" hangingPunct="1">
              <a:lnSpc>
                <a:spcPct val="96000"/>
              </a:lnSpc>
              <a:spcBef>
                <a:spcPts val="600"/>
              </a:spcBef>
              <a:spcAft>
                <a:spcPts val="300"/>
              </a:spcAft>
              <a:buFont typeface="System Font Regular"/>
              <a:buChar char="​"/>
              <a:tabLst/>
              <a:defRPr sz="1600" b="0" i="0" kern="1200">
                <a:solidFill>
                  <a:schemeClr val="tx1"/>
                </a:solidFill>
                <a:latin typeface="ES Build Neutral" pitchFamily="2" charset="77"/>
                <a:ea typeface="ES Build Neutral" pitchFamily="2" charset="77"/>
                <a:cs typeface="+mn-cs"/>
              </a:defRPr>
            </a:lvl7pPr>
            <a:lvl8pPr marL="0" indent="0" algn="l" defTabSz="914400" rtl="0" eaLnBrk="1" latinLnBrk="0" hangingPunct="1">
              <a:lnSpc>
                <a:spcPct val="84000"/>
              </a:lnSpc>
              <a:spcBef>
                <a:spcPts val="300"/>
              </a:spcBef>
              <a:buFont typeface="System Font Regular"/>
              <a:buChar char="​"/>
              <a:tabLst/>
              <a:defRPr sz="5500" b="0" i="0" kern="1200" spc="-150" baseline="0">
                <a:solidFill>
                  <a:srgbClr val="8E71F4"/>
                </a:solidFill>
                <a:latin typeface="ES Build Neutral" pitchFamily="2" charset="77"/>
                <a:ea typeface="ES Build Neutral" pitchFamily="2" charset="77"/>
                <a:cs typeface="+mn-cs"/>
              </a:defRPr>
            </a:lvl8pPr>
            <a:lvl9pPr marL="11113" indent="0" algn="l" defTabSz="914400" rtl="0" eaLnBrk="1" latinLnBrk="0" hangingPunct="1">
              <a:lnSpc>
                <a:spcPct val="84000"/>
              </a:lnSpc>
              <a:spcBef>
                <a:spcPts val="0"/>
              </a:spcBef>
              <a:buFont typeface="System Font Regular"/>
              <a:buChar char="​"/>
              <a:tabLst/>
              <a:defRPr sz="11000" b="0" i="0" kern="1200" spc="-300">
                <a:solidFill>
                  <a:srgbClr val="8E71F4"/>
                </a:solidFill>
                <a:latin typeface="ES Build Neutral" pitchFamily="2" charset="77"/>
                <a:ea typeface="ES Build Neutral" pitchFamily="2" charset="77"/>
                <a:cs typeface="+mn-cs"/>
              </a:defRPr>
            </a:lvl9pPr>
          </a:lstStyle>
          <a:p>
            <a:r>
              <a:rPr lang="en-RO" dirty="0"/>
              <a:t>Dan Popa</a:t>
            </a:r>
          </a:p>
          <a:p>
            <a:r>
              <a:rPr lang="en-GB" dirty="0"/>
              <a:t>Regional Manager SEE</a:t>
            </a:r>
            <a:endParaRPr lang="en-RO" dirty="0"/>
          </a:p>
        </p:txBody>
      </p:sp>
      <p:pic>
        <p:nvPicPr>
          <p:cNvPr id="4" name="Picture Placeholder 2">
            <a:extLst>
              <a:ext uri="{FF2B5EF4-FFF2-40B4-BE49-F238E27FC236}">
                <a16:creationId xmlns:a16="http://schemas.microsoft.com/office/drawing/2014/main" id="{E001989A-91DB-9866-2F23-A184FE7E433F}"/>
              </a:ext>
            </a:extLst>
          </p:cNvPr>
          <p:cNvPicPr>
            <a:picLocks noGrp="1" noChangeAspect="1"/>
          </p:cNvPicPr>
          <p:nvPr>
            <p:ph type="pic" sz="quarter" idx="15"/>
          </p:nvPr>
        </p:nvPicPr>
        <p:blipFill>
          <a:blip r:embed="rId3"/>
          <a:srcRect/>
          <a:stretch/>
        </p:blipFill>
        <p:spPr>
          <a:xfrm>
            <a:off x="775076" y="4786802"/>
            <a:ext cx="878040" cy="878040"/>
          </a:xfrm>
        </p:spPr>
      </p:pic>
      <p:sp>
        <p:nvSpPr>
          <p:cNvPr id="5" name="Text Placeholder 3">
            <a:extLst>
              <a:ext uri="{FF2B5EF4-FFF2-40B4-BE49-F238E27FC236}">
                <a16:creationId xmlns:a16="http://schemas.microsoft.com/office/drawing/2014/main" id="{0E46C0DC-9221-DAA0-A51A-B52977B56126}"/>
              </a:ext>
            </a:extLst>
          </p:cNvPr>
          <p:cNvSpPr txBox="1">
            <a:spLocks/>
          </p:cNvSpPr>
          <p:nvPr/>
        </p:nvSpPr>
        <p:spPr>
          <a:xfrm>
            <a:off x="7871453" y="4859736"/>
            <a:ext cx="3106453" cy="511883"/>
          </a:xfrm>
          <a:prstGeom prst="rect">
            <a:avLst/>
          </a:prstGeom>
        </p:spPr>
        <p:txBody>
          <a:bodyPr vert="horz" lIns="0" tIns="0" rIns="0" bIns="0" rtlCol="0">
            <a:noAutofit/>
          </a:bodyPr>
          <a:lstStyle>
            <a:lvl1pPr marL="0" indent="0" algn="l" defTabSz="914400" rtl="0" eaLnBrk="1" latinLnBrk="0" hangingPunct="1">
              <a:lnSpc>
                <a:spcPct val="80000"/>
              </a:lnSpc>
              <a:spcBef>
                <a:spcPts val="1200"/>
              </a:spcBef>
              <a:spcAft>
                <a:spcPts val="600"/>
              </a:spcAft>
              <a:buClrTx/>
              <a:buFont typeface="Calibri" panose="020F0502020204030204" pitchFamily="34" charset="0"/>
              <a:buNone/>
              <a:tabLst/>
              <a:defRPr sz="2400" b="0" i="0" kern="1200">
                <a:solidFill>
                  <a:schemeClr val="accent1"/>
                </a:solidFill>
                <a:latin typeface="ES Build "/>
                <a:ea typeface="ES Build Neutral" pitchFamily="2" charset="77"/>
                <a:cs typeface="+mn-cs"/>
              </a:defRPr>
            </a:lvl1pPr>
            <a:lvl2pPr marL="0" indent="0" algn="l" defTabSz="914400" rtl="0" eaLnBrk="1" latinLnBrk="0" hangingPunct="1">
              <a:lnSpc>
                <a:spcPct val="80000"/>
              </a:lnSpc>
              <a:spcBef>
                <a:spcPts val="300"/>
              </a:spcBef>
              <a:spcAft>
                <a:spcPts val="150"/>
              </a:spcAft>
              <a:buClrTx/>
              <a:buFont typeface="Arial" panose="020B0604020202020204" pitchFamily="34" charset="0"/>
              <a:buNone/>
              <a:tabLst/>
              <a:defRPr sz="1600" b="0" i="0" kern="1200">
                <a:solidFill>
                  <a:schemeClr val="accent1"/>
                </a:solidFill>
                <a:latin typeface="ES Build Neutral" pitchFamily="2" charset="77"/>
                <a:ea typeface="ES Build Neutral" pitchFamily="2" charset="77"/>
                <a:cs typeface="+mn-cs"/>
              </a:defRPr>
            </a:lvl2pPr>
            <a:lvl3pPr marL="342900" indent="-171450" algn="l" defTabSz="914400" rtl="0" eaLnBrk="1" latinLnBrk="0" hangingPunct="1">
              <a:lnSpc>
                <a:spcPct val="96000"/>
              </a:lnSpc>
              <a:spcBef>
                <a:spcPts val="300"/>
              </a:spcBef>
              <a:spcAft>
                <a:spcPts val="150"/>
              </a:spcAft>
              <a:buClrTx/>
              <a:buFont typeface="Arial" panose="020B0604020202020204" pitchFamily="34" charset="0"/>
              <a:buChar char="•"/>
              <a:tabLst/>
              <a:defRPr sz="1600" b="0" i="0" kern="1200">
                <a:solidFill>
                  <a:schemeClr val="tx1"/>
                </a:solidFill>
                <a:latin typeface="ES Build Neutral" pitchFamily="2" charset="77"/>
                <a:ea typeface="ES Build Neutral" pitchFamily="2" charset="77"/>
                <a:cs typeface="+mn-cs"/>
              </a:defRPr>
            </a:lvl3pPr>
            <a:lvl4pPr marL="576072" indent="-173736" algn="l" defTabSz="914400" rtl="0" eaLnBrk="1" latinLnBrk="0" hangingPunct="1">
              <a:lnSpc>
                <a:spcPct val="96000"/>
              </a:lnSpc>
              <a:spcBef>
                <a:spcPts val="300"/>
              </a:spcBef>
              <a:spcAft>
                <a:spcPts val="150"/>
              </a:spcAft>
              <a:buClrTx/>
              <a:buFont typeface="Arial" panose="020B0604020202020204" pitchFamily="34" charset="0"/>
              <a:buChar char="•"/>
              <a:tabLst/>
              <a:defRPr sz="1600" b="0" i="0" kern="1200">
                <a:solidFill>
                  <a:schemeClr val="tx1"/>
                </a:solidFill>
                <a:latin typeface="ES Build Neutral" pitchFamily="2" charset="77"/>
                <a:ea typeface="ES Build Neutral" pitchFamily="2" charset="77"/>
                <a:cs typeface="+mn-cs"/>
              </a:defRPr>
            </a:lvl4pPr>
            <a:lvl5pPr marL="731520" indent="-173736" algn="l" defTabSz="914400" rtl="0" eaLnBrk="1" latinLnBrk="0" hangingPunct="1">
              <a:lnSpc>
                <a:spcPct val="96000"/>
              </a:lnSpc>
              <a:spcBef>
                <a:spcPts val="300"/>
              </a:spcBef>
              <a:spcAft>
                <a:spcPts val="150"/>
              </a:spcAft>
              <a:buFont typeface="Arial" panose="020B0604020202020204" pitchFamily="34" charset="0"/>
              <a:buChar char="•"/>
              <a:tabLst/>
              <a:defRPr sz="1400" b="0" i="0" kern="1200">
                <a:solidFill>
                  <a:schemeClr val="tx1"/>
                </a:solidFill>
                <a:latin typeface="ES Build Neutral" pitchFamily="2" charset="77"/>
                <a:ea typeface="ES Build Neutral" pitchFamily="2" charset="77"/>
                <a:cs typeface="+mn-cs"/>
              </a:defRPr>
            </a:lvl5pPr>
            <a:lvl6pPr marL="11113" indent="0" algn="l" defTabSz="914400" rtl="0" eaLnBrk="1" latinLnBrk="0" hangingPunct="1">
              <a:lnSpc>
                <a:spcPct val="96000"/>
              </a:lnSpc>
              <a:spcBef>
                <a:spcPts val="600"/>
              </a:spcBef>
              <a:spcAft>
                <a:spcPts val="300"/>
              </a:spcAft>
              <a:buFont typeface="System Font Regular"/>
              <a:buChar char="​"/>
              <a:tabLst/>
              <a:defRPr sz="1600" b="0" i="0" kern="1200">
                <a:solidFill>
                  <a:schemeClr val="tx1"/>
                </a:solidFill>
                <a:latin typeface="ES Build Neutral" pitchFamily="2" charset="77"/>
                <a:ea typeface="ES Build Neutral" pitchFamily="2" charset="77"/>
                <a:cs typeface="+mn-cs"/>
              </a:defRPr>
            </a:lvl6pPr>
            <a:lvl7pPr marL="11113" indent="0" algn="l" defTabSz="914400" rtl="0" eaLnBrk="1" latinLnBrk="0" hangingPunct="1">
              <a:lnSpc>
                <a:spcPct val="96000"/>
              </a:lnSpc>
              <a:spcBef>
                <a:spcPts val="600"/>
              </a:spcBef>
              <a:spcAft>
                <a:spcPts val="300"/>
              </a:spcAft>
              <a:buFont typeface="System Font Regular"/>
              <a:buChar char="​"/>
              <a:tabLst/>
              <a:defRPr sz="1600" b="0" i="0" kern="1200">
                <a:solidFill>
                  <a:schemeClr val="tx1"/>
                </a:solidFill>
                <a:latin typeface="ES Build Neutral" pitchFamily="2" charset="77"/>
                <a:ea typeface="ES Build Neutral" pitchFamily="2" charset="77"/>
                <a:cs typeface="+mn-cs"/>
              </a:defRPr>
            </a:lvl7pPr>
            <a:lvl8pPr marL="0" indent="0" algn="l" defTabSz="914400" rtl="0" eaLnBrk="1" latinLnBrk="0" hangingPunct="1">
              <a:lnSpc>
                <a:spcPct val="84000"/>
              </a:lnSpc>
              <a:spcBef>
                <a:spcPts val="300"/>
              </a:spcBef>
              <a:buFont typeface="System Font Regular"/>
              <a:buChar char="​"/>
              <a:tabLst/>
              <a:defRPr sz="5500" b="0" i="0" kern="1200" spc="-150" baseline="0">
                <a:solidFill>
                  <a:srgbClr val="8E71F4"/>
                </a:solidFill>
                <a:latin typeface="ES Build Neutral" pitchFamily="2" charset="77"/>
                <a:ea typeface="ES Build Neutral" pitchFamily="2" charset="77"/>
                <a:cs typeface="+mn-cs"/>
              </a:defRPr>
            </a:lvl8pPr>
            <a:lvl9pPr marL="11113" indent="0" algn="l" defTabSz="914400" rtl="0" eaLnBrk="1" latinLnBrk="0" hangingPunct="1">
              <a:lnSpc>
                <a:spcPct val="84000"/>
              </a:lnSpc>
              <a:spcBef>
                <a:spcPts val="0"/>
              </a:spcBef>
              <a:buFont typeface="System Font Regular"/>
              <a:buChar char="​"/>
              <a:tabLst/>
              <a:defRPr sz="11000" b="0" i="0" kern="1200" spc="-300">
                <a:solidFill>
                  <a:srgbClr val="8E71F4"/>
                </a:solidFill>
                <a:latin typeface="ES Build Neutral" pitchFamily="2" charset="77"/>
                <a:ea typeface="ES Build Neutral" pitchFamily="2" charset="77"/>
                <a:cs typeface="+mn-cs"/>
              </a:defRPr>
            </a:lvl9pPr>
          </a:lstStyle>
          <a:p>
            <a:r>
              <a:rPr lang="en-RO" dirty="0"/>
              <a:t>Cornel Popescu</a:t>
            </a:r>
          </a:p>
          <a:p>
            <a:r>
              <a:rPr lang="en-RO" dirty="0"/>
              <a:t>Sr. Systems Engineer</a:t>
            </a:r>
          </a:p>
        </p:txBody>
      </p:sp>
      <p:pic>
        <p:nvPicPr>
          <p:cNvPr id="6" name="Picture Placeholder 2" descr="A person in a blue shirt and brown jacket&#10;&#10;Description automatically generated">
            <a:extLst>
              <a:ext uri="{FF2B5EF4-FFF2-40B4-BE49-F238E27FC236}">
                <a16:creationId xmlns:a16="http://schemas.microsoft.com/office/drawing/2014/main" id="{8E6CDF30-3270-0417-2022-9C4588DE8CDB}"/>
              </a:ext>
            </a:extLst>
          </p:cNvPr>
          <p:cNvPicPr>
            <a:picLocks noChangeAspect="1"/>
          </p:cNvPicPr>
          <p:nvPr/>
        </p:nvPicPr>
        <p:blipFill>
          <a:blip r:embed="rId4"/>
          <a:srcRect/>
          <a:stretch>
            <a:fillRect/>
          </a:stretch>
        </p:blipFill>
        <p:spPr>
          <a:xfrm>
            <a:off x="6876183" y="4786802"/>
            <a:ext cx="878040" cy="878040"/>
          </a:xfrm>
          <a:prstGeom prst="ellipse">
            <a:avLst/>
          </a:prstGeom>
          <a:solidFill>
            <a:schemeClr val="accent2">
              <a:lumMod val="50000"/>
            </a:schemeClr>
          </a:solidFill>
        </p:spPr>
      </p:pic>
    </p:spTree>
    <p:extLst>
      <p:ext uri="{BB962C8B-B14F-4D97-AF65-F5344CB8AC3E}">
        <p14:creationId xmlns:p14="http://schemas.microsoft.com/office/powerpoint/2010/main" val="3064314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3" name="Straight Arrow Connector 22">
            <a:extLst>
              <a:ext uri="{FF2B5EF4-FFF2-40B4-BE49-F238E27FC236}">
                <a16:creationId xmlns:a16="http://schemas.microsoft.com/office/drawing/2014/main" id="{B83C9CB0-3704-AFA4-07AD-A9431D708A3A}"/>
              </a:ext>
            </a:extLst>
          </p:cNvPr>
          <p:cNvCxnSpPr>
            <a:cxnSpLocks/>
          </p:cNvCxnSpPr>
          <p:nvPr/>
        </p:nvCxnSpPr>
        <p:spPr>
          <a:xfrm>
            <a:off x="2108459" y="4602353"/>
            <a:ext cx="748942" cy="0"/>
          </a:xfrm>
          <a:prstGeom prst="straightConnector1">
            <a:avLst/>
          </a:prstGeom>
          <a:ln w="6350">
            <a:solidFill>
              <a:schemeClr val="tx1">
                <a:lumMod val="60000"/>
                <a:lumOff val="40000"/>
              </a:schemeClr>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B6DA3954-E523-F153-51FF-36294144CBB0}"/>
              </a:ext>
            </a:extLst>
          </p:cNvPr>
          <p:cNvCxnSpPr>
            <a:cxnSpLocks/>
          </p:cNvCxnSpPr>
          <p:nvPr/>
        </p:nvCxnSpPr>
        <p:spPr>
          <a:xfrm>
            <a:off x="2108459" y="3834864"/>
            <a:ext cx="750151" cy="0"/>
          </a:xfrm>
          <a:prstGeom prst="straightConnector1">
            <a:avLst/>
          </a:prstGeom>
          <a:ln w="6350">
            <a:solidFill>
              <a:schemeClr val="tx1">
                <a:lumMod val="60000"/>
                <a:lumOff val="40000"/>
              </a:schemeClr>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EEF54682-DCD4-29BE-DD79-E2067D57EDCF}"/>
              </a:ext>
            </a:extLst>
          </p:cNvPr>
          <p:cNvCxnSpPr>
            <a:cxnSpLocks/>
          </p:cNvCxnSpPr>
          <p:nvPr/>
        </p:nvCxnSpPr>
        <p:spPr>
          <a:xfrm>
            <a:off x="2108459" y="3449756"/>
            <a:ext cx="746810" cy="1363"/>
          </a:xfrm>
          <a:prstGeom prst="straightConnector1">
            <a:avLst/>
          </a:prstGeom>
          <a:ln w="6350">
            <a:solidFill>
              <a:schemeClr val="tx1">
                <a:lumMod val="60000"/>
                <a:lumOff val="40000"/>
              </a:schemeClr>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C352C045-0C3A-07E3-A6FD-74701DBAFCE4}"/>
              </a:ext>
            </a:extLst>
          </p:cNvPr>
          <p:cNvCxnSpPr>
            <a:cxnSpLocks/>
          </p:cNvCxnSpPr>
          <p:nvPr/>
        </p:nvCxnSpPr>
        <p:spPr>
          <a:xfrm flipV="1">
            <a:off x="2108459" y="3063994"/>
            <a:ext cx="746810" cy="2017"/>
          </a:xfrm>
          <a:prstGeom prst="straightConnector1">
            <a:avLst/>
          </a:prstGeom>
          <a:ln w="6350">
            <a:solidFill>
              <a:schemeClr val="tx1">
                <a:lumMod val="60000"/>
                <a:lumOff val="40000"/>
              </a:schemeClr>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68A5CCDC-8EAC-6952-1424-5FB561864ABB}"/>
              </a:ext>
            </a:extLst>
          </p:cNvPr>
          <p:cNvCxnSpPr>
            <a:cxnSpLocks/>
          </p:cNvCxnSpPr>
          <p:nvPr/>
        </p:nvCxnSpPr>
        <p:spPr>
          <a:xfrm>
            <a:off x="2108459" y="4218609"/>
            <a:ext cx="746810" cy="0"/>
          </a:xfrm>
          <a:prstGeom prst="straightConnector1">
            <a:avLst/>
          </a:prstGeom>
          <a:ln w="6350">
            <a:solidFill>
              <a:schemeClr val="tx1">
                <a:lumMod val="60000"/>
                <a:lumOff val="40000"/>
              </a:schemeClr>
            </a:solidFill>
            <a:tailEnd type="arrow" w="med" len="sm"/>
          </a:ln>
        </p:spPr>
        <p:style>
          <a:lnRef idx="1">
            <a:schemeClr val="accent1"/>
          </a:lnRef>
          <a:fillRef idx="0">
            <a:schemeClr val="accent1"/>
          </a:fillRef>
          <a:effectRef idx="0">
            <a:schemeClr val="accent1"/>
          </a:effectRef>
          <a:fontRef idx="minor">
            <a:schemeClr val="tx1"/>
          </a:fontRef>
        </p:style>
      </p:cxnSp>
      <p:sp>
        <p:nvSpPr>
          <p:cNvPr id="40" name="Double Bracket 39">
            <a:extLst>
              <a:ext uri="{FF2B5EF4-FFF2-40B4-BE49-F238E27FC236}">
                <a16:creationId xmlns:a16="http://schemas.microsoft.com/office/drawing/2014/main" id="{53843824-C563-1699-0F5F-F424463A0818}"/>
              </a:ext>
            </a:extLst>
          </p:cNvPr>
          <p:cNvSpPr/>
          <p:nvPr/>
        </p:nvSpPr>
        <p:spPr>
          <a:xfrm rot="16200000">
            <a:off x="5578050" y="-3360289"/>
            <a:ext cx="910797" cy="11079472"/>
          </a:xfrm>
          <a:custGeom>
            <a:avLst/>
            <a:gdLst>
              <a:gd name="connsiteX0" fmla="*/ 0 w 1092961"/>
              <a:gd name="connsiteY0" fmla="*/ 182164 h 11079472"/>
              <a:gd name="connsiteX1" fmla="*/ 182164 w 1092961"/>
              <a:gd name="connsiteY1" fmla="*/ 0 h 11079472"/>
              <a:gd name="connsiteX2" fmla="*/ 910797 w 1092961"/>
              <a:gd name="connsiteY2" fmla="*/ 0 h 11079472"/>
              <a:gd name="connsiteX3" fmla="*/ 1092961 w 1092961"/>
              <a:gd name="connsiteY3" fmla="*/ 182164 h 11079472"/>
              <a:gd name="connsiteX4" fmla="*/ 1092961 w 1092961"/>
              <a:gd name="connsiteY4" fmla="*/ 10897308 h 11079472"/>
              <a:gd name="connsiteX5" fmla="*/ 910797 w 1092961"/>
              <a:gd name="connsiteY5" fmla="*/ 11079472 h 11079472"/>
              <a:gd name="connsiteX6" fmla="*/ 182164 w 1092961"/>
              <a:gd name="connsiteY6" fmla="*/ 11079472 h 11079472"/>
              <a:gd name="connsiteX7" fmla="*/ 0 w 1092961"/>
              <a:gd name="connsiteY7" fmla="*/ 10897308 h 11079472"/>
              <a:gd name="connsiteX8" fmla="*/ 0 w 1092961"/>
              <a:gd name="connsiteY8" fmla="*/ 182164 h 11079472"/>
              <a:gd name="connsiteX0" fmla="*/ 182164 w 1092961"/>
              <a:gd name="connsiteY0" fmla="*/ 11079472 h 11079472"/>
              <a:gd name="connsiteX1" fmla="*/ 0 w 1092961"/>
              <a:gd name="connsiteY1" fmla="*/ 10897308 h 11079472"/>
              <a:gd name="connsiteX2" fmla="*/ 0 w 1092961"/>
              <a:gd name="connsiteY2" fmla="*/ 182164 h 11079472"/>
              <a:gd name="connsiteX3" fmla="*/ 182164 w 1092961"/>
              <a:gd name="connsiteY3" fmla="*/ 0 h 11079472"/>
              <a:gd name="connsiteX4" fmla="*/ 910797 w 1092961"/>
              <a:gd name="connsiteY4" fmla="*/ 0 h 11079472"/>
              <a:gd name="connsiteX5" fmla="*/ 1092961 w 1092961"/>
              <a:gd name="connsiteY5" fmla="*/ 182164 h 11079472"/>
              <a:gd name="connsiteX6" fmla="*/ 1092961 w 1092961"/>
              <a:gd name="connsiteY6" fmla="*/ 10897308 h 11079472"/>
              <a:gd name="connsiteX7" fmla="*/ 910797 w 1092961"/>
              <a:gd name="connsiteY7" fmla="*/ 11079472 h 11079472"/>
              <a:gd name="connsiteX0" fmla="*/ 23660 w 1116621"/>
              <a:gd name="connsiteY0" fmla="*/ 182164 h 11079472"/>
              <a:gd name="connsiteX1" fmla="*/ 205824 w 1116621"/>
              <a:gd name="connsiteY1" fmla="*/ 0 h 11079472"/>
              <a:gd name="connsiteX2" fmla="*/ 934457 w 1116621"/>
              <a:gd name="connsiteY2" fmla="*/ 0 h 11079472"/>
              <a:gd name="connsiteX3" fmla="*/ 1116621 w 1116621"/>
              <a:gd name="connsiteY3" fmla="*/ 182164 h 11079472"/>
              <a:gd name="connsiteX4" fmla="*/ 1116621 w 1116621"/>
              <a:gd name="connsiteY4" fmla="*/ 10897308 h 11079472"/>
              <a:gd name="connsiteX5" fmla="*/ 934457 w 1116621"/>
              <a:gd name="connsiteY5" fmla="*/ 11079472 h 11079472"/>
              <a:gd name="connsiteX6" fmla="*/ 205824 w 1116621"/>
              <a:gd name="connsiteY6" fmla="*/ 11079472 h 11079472"/>
              <a:gd name="connsiteX7" fmla="*/ 23660 w 1116621"/>
              <a:gd name="connsiteY7" fmla="*/ 10897308 h 11079472"/>
              <a:gd name="connsiteX8" fmla="*/ 23660 w 1116621"/>
              <a:gd name="connsiteY8" fmla="*/ 182164 h 11079472"/>
              <a:gd name="connsiteX0" fmla="*/ 205824 w 1116621"/>
              <a:gd name="connsiteY0" fmla="*/ 11079472 h 11079472"/>
              <a:gd name="connsiteX1" fmla="*/ 23660 w 1116621"/>
              <a:gd name="connsiteY1" fmla="*/ 10897308 h 11079472"/>
              <a:gd name="connsiteX2" fmla="*/ 23660 w 1116621"/>
              <a:gd name="connsiteY2" fmla="*/ 182164 h 11079472"/>
              <a:gd name="connsiteX3" fmla="*/ 205824 w 1116621"/>
              <a:gd name="connsiteY3" fmla="*/ 0 h 11079472"/>
              <a:gd name="connsiteX4" fmla="*/ 934457 w 1116621"/>
              <a:gd name="connsiteY4" fmla="*/ 0 h 11079472"/>
              <a:gd name="connsiteX5" fmla="*/ 1116621 w 1116621"/>
              <a:gd name="connsiteY5" fmla="*/ 182164 h 11079472"/>
              <a:gd name="connsiteX6" fmla="*/ 1116621 w 1116621"/>
              <a:gd name="connsiteY6" fmla="*/ 10897308 h 11079472"/>
              <a:gd name="connsiteX7" fmla="*/ 934457 w 1116621"/>
              <a:gd name="connsiteY7" fmla="*/ 11079472 h 11079472"/>
              <a:gd name="connsiteX0" fmla="*/ 0 w 1092961"/>
              <a:gd name="connsiteY0" fmla="*/ 10897308 h 11079472"/>
              <a:gd name="connsiteX1" fmla="*/ 0 w 1092961"/>
              <a:gd name="connsiteY1" fmla="*/ 182164 h 11079472"/>
              <a:gd name="connsiteX2" fmla="*/ 182164 w 1092961"/>
              <a:gd name="connsiteY2" fmla="*/ 0 h 11079472"/>
              <a:gd name="connsiteX3" fmla="*/ 910797 w 1092961"/>
              <a:gd name="connsiteY3" fmla="*/ 0 h 11079472"/>
              <a:gd name="connsiteX4" fmla="*/ 1092961 w 1092961"/>
              <a:gd name="connsiteY4" fmla="*/ 182164 h 11079472"/>
              <a:gd name="connsiteX5" fmla="*/ 1092961 w 1092961"/>
              <a:gd name="connsiteY5" fmla="*/ 10897308 h 11079472"/>
              <a:gd name="connsiteX6" fmla="*/ 910797 w 1092961"/>
              <a:gd name="connsiteY6" fmla="*/ 11079472 h 11079472"/>
              <a:gd name="connsiteX7" fmla="*/ 182164 w 1092961"/>
              <a:gd name="connsiteY7" fmla="*/ 11079472 h 11079472"/>
              <a:gd name="connsiteX8" fmla="*/ 91440 w 1092961"/>
              <a:gd name="connsiteY8" fmla="*/ 10988748 h 11079472"/>
              <a:gd name="connsiteX0" fmla="*/ 182164 w 1092961"/>
              <a:gd name="connsiteY0" fmla="*/ 11079472 h 11079472"/>
              <a:gd name="connsiteX1" fmla="*/ 0 w 1092961"/>
              <a:gd name="connsiteY1" fmla="*/ 10897308 h 11079472"/>
              <a:gd name="connsiteX2" fmla="*/ 0 w 1092961"/>
              <a:gd name="connsiteY2" fmla="*/ 182164 h 11079472"/>
              <a:gd name="connsiteX3" fmla="*/ 182164 w 1092961"/>
              <a:gd name="connsiteY3" fmla="*/ 0 h 11079472"/>
              <a:gd name="connsiteX4" fmla="*/ 910797 w 1092961"/>
              <a:gd name="connsiteY4" fmla="*/ 0 h 11079472"/>
              <a:gd name="connsiteX5" fmla="*/ 1092961 w 1092961"/>
              <a:gd name="connsiteY5" fmla="*/ 182164 h 11079472"/>
              <a:gd name="connsiteX6" fmla="*/ 1092961 w 1092961"/>
              <a:gd name="connsiteY6" fmla="*/ 10897308 h 11079472"/>
              <a:gd name="connsiteX7" fmla="*/ 910797 w 1092961"/>
              <a:gd name="connsiteY7" fmla="*/ 11079472 h 11079472"/>
              <a:gd name="connsiteX0" fmla="*/ 0 w 1092961"/>
              <a:gd name="connsiteY0" fmla="*/ 10897308 h 11079472"/>
              <a:gd name="connsiteX1" fmla="*/ 0 w 1092961"/>
              <a:gd name="connsiteY1" fmla="*/ 182164 h 11079472"/>
              <a:gd name="connsiteX2" fmla="*/ 182164 w 1092961"/>
              <a:gd name="connsiteY2" fmla="*/ 0 h 11079472"/>
              <a:gd name="connsiteX3" fmla="*/ 910797 w 1092961"/>
              <a:gd name="connsiteY3" fmla="*/ 0 h 11079472"/>
              <a:gd name="connsiteX4" fmla="*/ 1092961 w 1092961"/>
              <a:gd name="connsiteY4" fmla="*/ 182164 h 11079472"/>
              <a:gd name="connsiteX5" fmla="*/ 1092961 w 1092961"/>
              <a:gd name="connsiteY5" fmla="*/ 10897308 h 11079472"/>
              <a:gd name="connsiteX6" fmla="*/ 910797 w 1092961"/>
              <a:gd name="connsiteY6" fmla="*/ 11079472 h 11079472"/>
              <a:gd name="connsiteX7" fmla="*/ 182164 w 1092961"/>
              <a:gd name="connsiteY7" fmla="*/ 11079472 h 11079472"/>
              <a:gd name="connsiteX0" fmla="*/ 182164 w 1092961"/>
              <a:gd name="connsiteY0" fmla="*/ 11079472 h 11079472"/>
              <a:gd name="connsiteX1" fmla="*/ 0 w 1092961"/>
              <a:gd name="connsiteY1" fmla="*/ 10897308 h 11079472"/>
              <a:gd name="connsiteX2" fmla="*/ 0 w 1092961"/>
              <a:gd name="connsiteY2" fmla="*/ 182164 h 11079472"/>
              <a:gd name="connsiteX3" fmla="*/ 182164 w 1092961"/>
              <a:gd name="connsiteY3" fmla="*/ 0 h 11079472"/>
              <a:gd name="connsiteX4" fmla="*/ 910797 w 1092961"/>
              <a:gd name="connsiteY4" fmla="*/ 0 h 11079472"/>
              <a:gd name="connsiteX5" fmla="*/ 1092961 w 1092961"/>
              <a:gd name="connsiteY5" fmla="*/ 182164 h 11079472"/>
              <a:gd name="connsiteX6" fmla="*/ 1092961 w 1092961"/>
              <a:gd name="connsiteY6" fmla="*/ 10897308 h 11079472"/>
              <a:gd name="connsiteX7" fmla="*/ 910797 w 1092961"/>
              <a:gd name="connsiteY7" fmla="*/ 11079472 h 11079472"/>
              <a:gd name="connsiteX0" fmla="*/ 0 w 1092961"/>
              <a:gd name="connsiteY0" fmla="*/ 10897308 h 11079472"/>
              <a:gd name="connsiteX1" fmla="*/ 0 w 1092961"/>
              <a:gd name="connsiteY1" fmla="*/ 182164 h 11079472"/>
              <a:gd name="connsiteX2" fmla="*/ 182164 w 1092961"/>
              <a:gd name="connsiteY2" fmla="*/ 0 h 11079472"/>
              <a:gd name="connsiteX3" fmla="*/ 910797 w 1092961"/>
              <a:gd name="connsiteY3" fmla="*/ 0 h 11079472"/>
              <a:gd name="connsiteX4" fmla="*/ 1092961 w 1092961"/>
              <a:gd name="connsiteY4" fmla="*/ 182164 h 11079472"/>
              <a:gd name="connsiteX5" fmla="*/ 1092961 w 1092961"/>
              <a:gd name="connsiteY5" fmla="*/ 10897308 h 11079472"/>
              <a:gd name="connsiteX6" fmla="*/ 910797 w 1092961"/>
              <a:gd name="connsiteY6" fmla="*/ 11079472 h 11079472"/>
              <a:gd name="connsiteX7" fmla="*/ 182164 w 1092961"/>
              <a:gd name="connsiteY7" fmla="*/ 11079472 h 11079472"/>
              <a:gd name="connsiteX0" fmla="*/ 182164 w 1092961"/>
              <a:gd name="connsiteY0" fmla="*/ 11079472 h 11079472"/>
              <a:gd name="connsiteX1" fmla="*/ 0 w 1092961"/>
              <a:gd name="connsiteY1" fmla="*/ 182164 h 11079472"/>
              <a:gd name="connsiteX2" fmla="*/ 182164 w 1092961"/>
              <a:gd name="connsiteY2" fmla="*/ 0 h 11079472"/>
              <a:gd name="connsiteX3" fmla="*/ 910797 w 1092961"/>
              <a:gd name="connsiteY3" fmla="*/ 0 h 11079472"/>
              <a:gd name="connsiteX4" fmla="*/ 1092961 w 1092961"/>
              <a:gd name="connsiteY4" fmla="*/ 182164 h 11079472"/>
              <a:gd name="connsiteX5" fmla="*/ 1092961 w 1092961"/>
              <a:gd name="connsiteY5" fmla="*/ 10897308 h 11079472"/>
              <a:gd name="connsiteX6" fmla="*/ 910797 w 1092961"/>
              <a:gd name="connsiteY6" fmla="*/ 11079472 h 11079472"/>
              <a:gd name="connsiteX0" fmla="*/ 0 w 1092961"/>
              <a:gd name="connsiteY0" fmla="*/ 182164 h 11079472"/>
              <a:gd name="connsiteX1" fmla="*/ 182164 w 1092961"/>
              <a:gd name="connsiteY1" fmla="*/ 0 h 11079472"/>
              <a:gd name="connsiteX2" fmla="*/ 910797 w 1092961"/>
              <a:gd name="connsiteY2" fmla="*/ 0 h 11079472"/>
              <a:gd name="connsiteX3" fmla="*/ 1092961 w 1092961"/>
              <a:gd name="connsiteY3" fmla="*/ 182164 h 11079472"/>
              <a:gd name="connsiteX4" fmla="*/ 1092961 w 1092961"/>
              <a:gd name="connsiteY4" fmla="*/ 10897308 h 11079472"/>
              <a:gd name="connsiteX5" fmla="*/ 910797 w 1092961"/>
              <a:gd name="connsiteY5" fmla="*/ 11079472 h 11079472"/>
              <a:gd name="connsiteX6" fmla="*/ 182164 w 1092961"/>
              <a:gd name="connsiteY6" fmla="*/ 11079472 h 11079472"/>
              <a:gd name="connsiteX0" fmla="*/ 182164 w 1092961"/>
              <a:gd name="connsiteY0" fmla="*/ 11079472 h 11079472"/>
              <a:gd name="connsiteX1" fmla="*/ 0 w 1092961"/>
              <a:gd name="connsiteY1" fmla="*/ 182164 h 11079472"/>
              <a:gd name="connsiteX2" fmla="*/ 182164 w 1092961"/>
              <a:gd name="connsiteY2" fmla="*/ 0 h 11079472"/>
              <a:gd name="connsiteX3" fmla="*/ 910797 w 1092961"/>
              <a:gd name="connsiteY3" fmla="*/ 0 h 11079472"/>
              <a:gd name="connsiteX4" fmla="*/ 1092961 w 1092961"/>
              <a:gd name="connsiteY4" fmla="*/ 182164 h 11079472"/>
              <a:gd name="connsiteX5" fmla="*/ 1092961 w 1092961"/>
              <a:gd name="connsiteY5" fmla="*/ 10897308 h 11079472"/>
              <a:gd name="connsiteX6" fmla="*/ 910797 w 1092961"/>
              <a:gd name="connsiteY6" fmla="*/ 11079472 h 11079472"/>
              <a:gd name="connsiteX0" fmla="*/ 0 w 1092961"/>
              <a:gd name="connsiteY0" fmla="*/ 182164 h 11079472"/>
              <a:gd name="connsiteX1" fmla="*/ 182164 w 1092961"/>
              <a:gd name="connsiteY1" fmla="*/ 0 h 11079472"/>
              <a:gd name="connsiteX2" fmla="*/ 910797 w 1092961"/>
              <a:gd name="connsiteY2" fmla="*/ 0 h 11079472"/>
              <a:gd name="connsiteX3" fmla="*/ 1092961 w 1092961"/>
              <a:gd name="connsiteY3" fmla="*/ 182164 h 11079472"/>
              <a:gd name="connsiteX4" fmla="*/ 1092961 w 1092961"/>
              <a:gd name="connsiteY4" fmla="*/ 10897308 h 11079472"/>
              <a:gd name="connsiteX5" fmla="*/ 910797 w 1092961"/>
              <a:gd name="connsiteY5" fmla="*/ 11079472 h 11079472"/>
              <a:gd name="connsiteX6" fmla="*/ 182164 w 1092961"/>
              <a:gd name="connsiteY6" fmla="*/ 11079472 h 11079472"/>
              <a:gd name="connsiteX0" fmla="*/ 182164 w 1092961"/>
              <a:gd name="connsiteY0" fmla="*/ 11079472 h 11079472"/>
              <a:gd name="connsiteX1" fmla="*/ 182164 w 1092961"/>
              <a:gd name="connsiteY1" fmla="*/ 0 h 11079472"/>
              <a:gd name="connsiteX2" fmla="*/ 910797 w 1092961"/>
              <a:gd name="connsiteY2" fmla="*/ 0 h 11079472"/>
              <a:gd name="connsiteX3" fmla="*/ 1092961 w 1092961"/>
              <a:gd name="connsiteY3" fmla="*/ 182164 h 11079472"/>
              <a:gd name="connsiteX4" fmla="*/ 1092961 w 1092961"/>
              <a:gd name="connsiteY4" fmla="*/ 10897308 h 11079472"/>
              <a:gd name="connsiteX5" fmla="*/ 910797 w 1092961"/>
              <a:gd name="connsiteY5" fmla="*/ 11079472 h 11079472"/>
              <a:gd name="connsiteX0" fmla="*/ 0 w 1092961"/>
              <a:gd name="connsiteY0" fmla="*/ 182164 h 11079472"/>
              <a:gd name="connsiteX1" fmla="*/ 182164 w 1092961"/>
              <a:gd name="connsiteY1" fmla="*/ 0 h 11079472"/>
              <a:gd name="connsiteX2" fmla="*/ 910797 w 1092961"/>
              <a:gd name="connsiteY2" fmla="*/ 0 h 11079472"/>
              <a:gd name="connsiteX3" fmla="*/ 1092961 w 1092961"/>
              <a:gd name="connsiteY3" fmla="*/ 182164 h 11079472"/>
              <a:gd name="connsiteX4" fmla="*/ 1092961 w 1092961"/>
              <a:gd name="connsiteY4" fmla="*/ 10897308 h 11079472"/>
              <a:gd name="connsiteX5" fmla="*/ 910797 w 1092961"/>
              <a:gd name="connsiteY5" fmla="*/ 11079472 h 11079472"/>
              <a:gd name="connsiteX6" fmla="*/ 182164 w 1092961"/>
              <a:gd name="connsiteY6" fmla="*/ 11079472 h 11079472"/>
              <a:gd name="connsiteX0" fmla="*/ 910797 w 1092961"/>
              <a:gd name="connsiteY0" fmla="*/ 0 h 11079472"/>
              <a:gd name="connsiteX1" fmla="*/ 1092961 w 1092961"/>
              <a:gd name="connsiteY1" fmla="*/ 182164 h 11079472"/>
              <a:gd name="connsiteX2" fmla="*/ 1092961 w 1092961"/>
              <a:gd name="connsiteY2" fmla="*/ 10897308 h 11079472"/>
              <a:gd name="connsiteX3" fmla="*/ 910797 w 1092961"/>
              <a:gd name="connsiteY3" fmla="*/ 11079472 h 11079472"/>
              <a:gd name="connsiteX0" fmla="*/ 0 w 910797"/>
              <a:gd name="connsiteY0" fmla="*/ 0 h 11079472"/>
              <a:gd name="connsiteX1" fmla="*/ 728633 w 910797"/>
              <a:gd name="connsiteY1" fmla="*/ 0 h 11079472"/>
              <a:gd name="connsiteX2" fmla="*/ 910797 w 910797"/>
              <a:gd name="connsiteY2" fmla="*/ 182164 h 11079472"/>
              <a:gd name="connsiteX3" fmla="*/ 910797 w 910797"/>
              <a:gd name="connsiteY3" fmla="*/ 10897308 h 11079472"/>
              <a:gd name="connsiteX4" fmla="*/ 728633 w 910797"/>
              <a:gd name="connsiteY4" fmla="*/ 11079472 h 11079472"/>
              <a:gd name="connsiteX5" fmla="*/ 0 w 910797"/>
              <a:gd name="connsiteY5" fmla="*/ 11079472 h 11079472"/>
              <a:gd name="connsiteX0" fmla="*/ 728633 w 910797"/>
              <a:gd name="connsiteY0" fmla="*/ 0 h 11079472"/>
              <a:gd name="connsiteX1" fmla="*/ 910797 w 910797"/>
              <a:gd name="connsiteY1" fmla="*/ 182164 h 11079472"/>
              <a:gd name="connsiteX2" fmla="*/ 910797 w 910797"/>
              <a:gd name="connsiteY2" fmla="*/ 10897308 h 11079472"/>
              <a:gd name="connsiteX3" fmla="*/ 728633 w 910797"/>
              <a:gd name="connsiteY3" fmla="*/ 11079472 h 11079472"/>
            </a:gdLst>
            <a:ahLst/>
            <a:cxnLst>
              <a:cxn ang="0">
                <a:pos x="connsiteX0" y="connsiteY0"/>
              </a:cxn>
              <a:cxn ang="0">
                <a:pos x="connsiteX1" y="connsiteY1"/>
              </a:cxn>
              <a:cxn ang="0">
                <a:pos x="connsiteX2" y="connsiteY2"/>
              </a:cxn>
              <a:cxn ang="0">
                <a:pos x="connsiteX3" y="connsiteY3"/>
              </a:cxn>
            </a:cxnLst>
            <a:rect l="l" t="t" r="r" b="b"/>
            <a:pathLst>
              <a:path w="910797" h="11079472" stroke="0" extrusionOk="0">
                <a:moveTo>
                  <a:pt x="0" y="0"/>
                </a:moveTo>
                <a:lnTo>
                  <a:pt x="728633" y="0"/>
                </a:lnTo>
                <a:cubicBezTo>
                  <a:pt x="829239" y="0"/>
                  <a:pt x="910797" y="81558"/>
                  <a:pt x="910797" y="182164"/>
                </a:cubicBezTo>
                <a:lnTo>
                  <a:pt x="910797" y="10897308"/>
                </a:lnTo>
                <a:cubicBezTo>
                  <a:pt x="910797" y="10997914"/>
                  <a:pt x="829239" y="11079472"/>
                  <a:pt x="728633" y="11079472"/>
                </a:cubicBezTo>
                <a:lnTo>
                  <a:pt x="0" y="11079472"/>
                </a:lnTo>
              </a:path>
              <a:path w="910797" h="11079472" fill="none">
                <a:moveTo>
                  <a:pt x="728633" y="0"/>
                </a:moveTo>
                <a:cubicBezTo>
                  <a:pt x="829239" y="0"/>
                  <a:pt x="910797" y="81558"/>
                  <a:pt x="910797" y="182164"/>
                </a:cubicBezTo>
                <a:lnTo>
                  <a:pt x="910797" y="10897308"/>
                </a:lnTo>
                <a:cubicBezTo>
                  <a:pt x="910797" y="10997914"/>
                  <a:pt x="829239" y="11079472"/>
                  <a:pt x="728633" y="11079472"/>
                </a:cubicBezTo>
              </a:path>
            </a:pathLst>
          </a:custGeom>
          <a:ln w="12700">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861"/>
              </a:solidFill>
              <a:effectLst/>
              <a:uLnTx/>
              <a:uFillTx/>
              <a:latin typeface="+mj-lt"/>
              <a:ea typeface="+mn-ea"/>
              <a:cs typeface="+mn-cs"/>
            </a:endParaRPr>
          </a:p>
        </p:txBody>
      </p:sp>
      <p:sp>
        <p:nvSpPr>
          <p:cNvPr id="48" name="DATA" hidden="1">
            <a:extLst>
              <a:ext uri="{FF2B5EF4-FFF2-40B4-BE49-F238E27FC236}">
                <a16:creationId xmlns:a16="http://schemas.microsoft.com/office/drawing/2014/main" id="{2B88B156-4636-7916-673E-890A44A4DA32}"/>
              </a:ext>
            </a:extLst>
          </p:cNvPr>
          <p:cNvSpPr txBox="1">
            <a:spLocks/>
          </p:cNvSpPr>
          <p:nvPr/>
        </p:nvSpPr>
        <p:spPr>
          <a:xfrm>
            <a:off x="-3431761" y="-1120854"/>
            <a:ext cx="18861657" cy="806374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1800" b="1" i="0" u="none" strike="noStrike" kern="1200" cap="none" spc="-3000" normalizeH="0" baseline="0" noProof="0">
                <a:ln>
                  <a:noFill/>
                </a:ln>
                <a:solidFill>
                  <a:srgbClr val="FFFFFF">
                    <a:lumMod val="85000"/>
                    <a:alpha val="0"/>
                  </a:srgbClr>
                </a:solidFill>
                <a:effectLst/>
                <a:uLnTx/>
                <a:uFillTx/>
                <a:latin typeface="ES Build Full Bauhaus" pitchFamily="2" charset="77"/>
                <a:ea typeface="ES Build Full Bauhaus" pitchFamily="2" charset="77"/>
                <a:cs typeface="+mn-cs"/>
              </a:rPr>
              <a:t>DATA</a:t>
            </a:r>
          </a:p>
        </p:txBody>
      </p:sp>
      <p:pic>
        <p:nvPicPr>
          <p:cNvPr id="49" name="arrows" hidden="1">
            <a:extLst>
              <a:ext uri="{FF2B5EF4-FFF2-40B4-BE49-F238E27FC236}">
                <a16:creationId xmlns:a16="http://schemas.microsoft.com/office/drawing/2014/main" id="{85ED38B0-FA0C-8591-F4E0-9E2975FDA141}"/>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rot="900000">
            <a:off x="-2299955" y="-4357202"/>
            <a:ext cx="16937654" cy="16937654"/>
          </a:xfrm>
          <a:prstGeom prst="rect">
            <a:avLst/>
          </a:prstGeom>
        </p:spPr>
      </p:pic>
      <p:sp>
        <p:nvSpPr>
          <p:cNvPr id="50" name="donut" hidden="1">
            <a:extLst>
              <a:ext uri="{FF2B5EF4-FFF2-40B4-BE49-F238E27FC236}">
                <a16:creationId xmlns:a16="http://schemas.microsoft.com/office/drawing/2014/main" id="{ADB3C278-F744-657A-9922-AA9475DA6DC1}"/>
              </a:ext>
            </a:extLst>
          </p:cNvPr>
          <p:cNvSpPr>
            <a:spLocks/>
          </p:cNvSpPr>
          <p:nvPr/>
        </p:nvSpPr>
        <p:spPr>
          <a:xfrm>
            <a:off x="-8201342" y="-8185938"/>
            <a:ext cx="15727680" cy="15680239"/>
          </a:xfrm>
          <a:prstGeom prst="donut">
            <a:avLst>
              <a:gd name="adj" fmla="val 2748"/>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3200" b="0" i="0" u="none" strike="noStrike" kern="1200" cap="none" spc="0" normalizeH="0" baseline="0" noProof="0">
                <a:ln>
                  <a:noFill/>
                </a:ln>
                <a:solidFill>
                  <a:schemeClr val="bg1"/>
                </a:solidFill>
                <a:effectLst/>
                <a:uLnTx/>
                <a:uFillTx/>
                <a:latin typeface="ES Build" pitchFamily="50" charset="0"/>
                <a:ea typeface="+mn-ea"/>
                <a:cs typeface="Microsoft Sans Serif" panose="020B0604020202020204" pitchFamily="34" charset="0"/>
              </a:rPr>
              <a:t>DATA</a:t>
            </a:r>
          </a:p>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3200" b="0" i="0" u="none" strike="noStrike" kern="1200" cap="none" spc="0" normalizeH="0" baseline="0" noProof="0">
                <a:ln>
                  <a:noFill/>
                </a:ln>
                <a:solidFill>
                  <a:schemeClr val="bg1"/>
                </a:solidFill>
                <a:effectLst/>
                <a:uLnTx/>
                <a:uFillTx/>
                <a:latin typeface="ES Build" pitchFamily="50" charset="0"/>
                <a:ea typeface="+mn-ea"/>
                <a:cs typeface="Microsoft Sans Serif" panose="020B0604020202020204" pitchFamily="34" charset="0"/>
              </a:rPr>
              <a:t>RESILIENCE</a:t>
            </a:r>
          </a:p>
        </p:txBody>
      </p:sp>
      <p:sp>
        <p:nvSpPr>
          <p:cNvPr id="12" name="zero">
            <a:extLst>
              <a:ext uri="{FF2B5EF4-FFF2-40B4-BE49-F238E27FC236}">
                <a16:creationId xmlns:a16="http://schemas.microsoft.com/office/drawing/2014/main" id="{327EF2FB-647F-0E35-F750-97FB9FC4733A}"/>
              </a:ext>
            </a:extLst>
          </p:cNvPr>
          <p:cNvSpPr txBox="1"/>
          <p:nvPr/>
        </p:nvSpPr>
        <p:spPr>
          <a:xfrm>
            <a:off x="4284983" y="1569605"/>
            <a:ext cx="3496930" cy="309844"/>
          </a:xfrm>
          <a:prstGeom prst="roundRect">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a:lnSpc>
                <a:spcPct val="96000"/>
              </a:lnSpc>
              <a:defRPr sz="1200">
                <a:solidFill>
                  <a:schemeClr val="bg1"/>
                </a:solidFill>
                <a:latin typeface="ES Build Neutral"/>
                <a:cs typeface="Microsoft Sans Serif"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solidFill>
                  <a:schemeClr val="tx1"/>
                </a:solidFill>
              </a:rPr>
              <a:t>Secure by design with Zero Trust Architecture </a:t>
            </a:r>
          </a:p>
        </p:txBody>
      </p:sp>
      <p:sp>
        <p:nvSpPr>
          <p:cNvPr id="13" name="TextBox 12">
            <a:extLst>
              <a:ext uri="{FF2B5EF4-FFF2-40B4-BE49-F238E27FC236}">
                <a16:creationId xmlns:a16="http://schemas.microsoft.com/office/drawing/2014/main" id="{F92B4F5F-42F9-0FE0-92DA-4BEC9398849E}"/>
              </a:ext>
            </a:extLst>
          </p:cNvPr>
          <p:cNvSpPr txBox="1"/>
          <p:nvPr/>
        </p:nvSpPr>
        <p:spPr>
          <a:xfrm>
            <a:off x="9374627" y="2596836"/>
            <a:ext cx="2147982" cy="584775"/>
          </a:xfrm>
          <a:prstGeom prst="rect">
            <a:avLst/>
          </a:prstGeom>
          <a:noFill/>
        </p:spPr>
        <p:txBody>
          <a:bodyPr wrap="square">
            <a:spAutoFit/>
          </a:bodyPr>
          <a:lstStyle/>
          <a:p>
            <a:r>
              <a:rPr lang="en-US" sz="1600" b="1">
                <a:latin typeface="+mj-lt"/>
                <a:cs typeface="Microsoft Sans Serif" panose="020B0604020202020204" pitchFamily="34" charset="0"/>
              </a:rPr>
              <a:t>Segmentation</a:t>
            </a:r>
            <a:r>
              <a:rPr lang="en-US" sz="1600">
                <a:latin typeface="+mj-lt"/>
                <a:cs typeface="Microsoft Sans Serif" panose="020B0604020202020204" pitchFamily="34" charset="0"/>
              </a:rPr>
              <a:t> of software &amp; storage</a:t>
            </a:r>
          </a:p>
        </p:txBody>
      </p:sp>
      <p:sp>
        <p:nvSpPr>
          <p:cNvPr id="14" name="TextBox 13">
            <a:extLst>
              <a:ext uri="{FF2B5EF4-FFF2-40B4-BE49-F238E27FC236}">
                <a16:creationId xmlns:a16="http://schemas.microsoft.com/office/drawing/2014/main" id="{CD235939-E83C-3AD4-AE19-8B6F8FD9E387}"/>
              </a:ext>
            </a:extLst>
          </p:cNvPr>
          <p:cNvSpPr txBox="1"/>
          <p:nvPr/>
        </p:nvSpPr>
        <p:spPr>
          <a:xfrm>
            <a:off x="9374627" y="3502219"/>
            <a:ext cx="1990023"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a:ln>
                  <a:noFill/>
                </a:ln>
                <a:effectLst/>
                <a:uLnTx/>
                <a:uFillTx/>
                <a:latin typeface="ES Build"/>
                <a:ea typeface="+mn-ea"/>
                <a:cs typeface="Microsoft Sans Serif" panose="020B0604020202020204" pitchFamily="34" charset="0"/>
              </a:rPr>
              <a:t>Multiple</a:t>
            </a:r>
            <a:r>
              <a:rPr kumimoji="0" lang="en-US" sz="1600" b="0" i="0" u="none" strike="noStrike" kern="1200" cap="none" spc="0" normalizeH="0" baseline="0" noProof="0">
                <a:ln>
                  <a:noFill/>
                </a:ln>
                <a:effectLst/>
                <a:uLnTx/>
                <a:uFillTx/>
                <a:latin typeface="ES Build"/>
                <a:ea typeface="+mn-ea"/>
                <a:cs typeface="Microsoft Sans Serif" panose="020B0604020202020204" pitchFamily="34" charset="0"/>
              </a:rPr>
              <a:t> </a:t>
            </a:r>
            <a:r>
              <a:rPr kumimoji="0" lang="en-US" sz="1600" b="1" i="0" u="none" strike="noStrike" kern="1200" cap="none" spc="0" normalizeH="0" baseline="0" noProof="0">
                <a:ln>
                  <a:noFill/>
                </a:ln>
                <a:effectLst/>
                <a:uLnTx/>
                <a:uFillTx/>
                <a:latin typeface="ES Build"/>
                <a:ea typeface="+mn-ea"/>
                <a:cs typeface="Microsoft Sans Serif" panose="020B0604020202020204" pitchFamily="34" charset="0"/>
              </a:rPr>
              <a:t>data resilience zones</a:t>
            </a:r>
          </a:p>
        </p:txBody>
      </p:sp>
      <p:sp>
        <p:nvSpPr>
          <p:cNvPr id="15" name="TextBox 14">
            <a:extLst>
              <a:ext uri="{FF2B5EF4-FFF2-40B4-BE49-F238E27FC236}">
                <a16:creationId xmlns:a16="http://schemas.microsoft.com/office/drawing/2014/main" id="{73967844-ED86-5D60-E7F3-CB7F7D1E5E62}"/>
              </a:ext>
            </a:extLst>
          </p:cNvPr>
          <p:cNvSpPr txBox="1"/>
          <p:nvPr/>
        </p:nvSpPr>
        <p:spPr>
          <a:xfrm>
            <a:off x="9374627" y="4407602"/>
            <a:ext cx="1856382" cy="584775"/>
          </a:xfrm>
          <a:prstGeom prst="rect">
            <a:avLst/>
          </a:prstGeom>
          <a:noFill/>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600" b="1" i="0" u="none" strike="noStrike" kern="1200" cap="none" spc="0" normalizeH="0" baseline="0" noProof="0">
                <a:ln>
                  <a:noFill/>
                </a:ln>
                <a:effectLst/>
                <a:uLnTx/>
                <a:uFillTx/>
                <a:latin typeface="ES Build"/>
                <a:ea typeface="+mn-ea"/>
                <a:cs typeface="Microsoft Sans Serif" panose="020B0604020202020204" pitchFamily="34" charset="0"/>
              </a:rPr>
              <a:t>Immutable</a:t>
            </a:r>
            <a:r>
              <a:rPr kumimoji="0" lang="en-US" sz="1600" b="0" i="0" u="none" strike="noStrike" kern="1200" cap="none" spc="0" normalizeH="0" baseline="0" noProof="0">
                <a:ln>
                  <a:noFill/>
                </a:ln>
                <a:effectLst/>
                <a:uLnTx/>
                <a:uFillTx/>
                <a:latin typeface="ES Build"/>
                <a:ea typeface="+mn-ea"/>
                <a:cs typeface="Microsoft Sans Serif" panose="020B0604020202020204" pitchFamily="34" charset="0"/>
              </a:rPr>
              <a:t> backup storage</a:t>
            </a:r>
            <a:endParaRPr kumimoji="0" lang="en-US" sz="1600" b="0" i="0" u="none" strike="noStrike" kern="1200" cap="none" spc="0" normalizeH="0" baseline="0" noProof="0">
              <a:ln>
                <a:noFill/>
              </a:ln>
              <a:effectLst/>
              <a:uLnTx/>
              <a:uFillTx/>
              <a:latin typeface="ES Build Neutral"/>
              <a:ea typeface="+mn-ea"/>
              <a:cs typeface="+mn-cs"/>
            </a:endParaRPr>
          </a:p>
        </p:txBody>
      </p:sp>
      <p:cxnSp>
        <p:nvCxnSpPr>
          <p:cNvPr id="17" name="Straight Connector 16">
            <a:extLst>
              <a:ext uri="{FF2B5EF4-FFF2-40B4-BE49-F238E27FC236}">
                <a16:creationId xmlns:a16="http://schemas.microsoft.com/office/drawing/2014/main" id="{84A92BFD-AB68-5C25-62BB-240C5CE1FABB}"/>
              </a:ext>
            </a:extLst>
          </p:cNvPr>
          <p:cNvCxnSpPr>
            <a:cxnSpLocks/>
          </p:cNvCxnSpPr>
          <p:nvPr/>
        </p:nvCxnSpPr>
        <p:spPr>
          <a:xfrm flipH="1">
            <a:off x="9459063" y="3323862"/>
            <a:ext cx="1984810" cy="0"/>
          </a:xfrm>
          <a:prstGeom prst="line">
            <a:avLst/>
          </a:prstGeom>
          <a:ln w="3175">
            <a:solidFill>
              <a:schemeClr val="tx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B686357-FC15-2872-899A-D114145C9C90}"/>
              </a:ext>
            </a:extLst>
          </p:cNvPr>
          <p:cNvCxnSpPr>
            <a:cxnSpLocks/>
          </p:cNvCxnSpPr>
          <p:nvPr/>
        </p:nvCxnSpPr>
        <p:spPr>
          <a:xfrm flipH="1">
            <a:off x="9459063" y="4225827"/>
            <a:ext cx="1984810" cy="0"/>
          </a:xfrm>
          <a:prstGeom prst="line">
            <a:avLst/>
          </a:prstGeom>
          <a:ln w="3175">
            <a:solidFill>
              <a:schemeClr val="tx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C75D1A4C-B1C3-EA15-0954-EA20AA764377}"/>
              </a:ext>
            </a:extLst>
          </p:cNvPr>
          <p:cNvSpPr txBox="1"/>
          <p:nvPr/>
        </p:nvSpPr>
        <p:spPr>
          <a:xfrm>
            <a:off x="2204220" y="3546375"/>
            <a:ext cx="746810" cy="184666"/>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effectLst/>
                <a:uLnTx/>
                <a:uFillTx/>
                <a:latin typeface="+mj-lt"/>
                <a:ea typeface="+mn-ea"/>
                <a:cs typeface="+mn-cs"/>
              </a:rPr>
              <a:t>SNMP, Kerberos</a:t>
            </a:r>
          </a:p>
        </p:txBody>
      </p:sp>
      <p:sp>
        <p:nvSpPr>
          <p:cNvPr id="31" name="TextBox 30">
            <a:extLst>
              <a:ext uri="{FF2B5EF4-FFF2-40B4-BE49-F238E27FC236}">
                <a16:creationId xmlns:a16="http://schemas.microsoft.com/office/drawing/2014/main" id="{6C6ADAE9-E35F-46DA-2A1A-E5B8DD3CF9DF}"/>
              </a:ext>
            </a:extLst>
          </p:cNvPr>
          <p:cNvSpPr txBox="1"/>
          <p:nvPr/>
        </p:nvSpPr>
        <p:spPr>
          <a:xfrm>
            <a:off x="2204220" y="4328325"/>
            <a:ext cx="617464" cy="184666"/>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effectLst/>
                <a:uLnTx/>
                <a:uFillTx/>
                <a:latin typeface="+mj-lt"/>
                <a:ea typeface="+mn-ea"/>
                <a:cs typeface="+mn-cs"/>
              </a:rPr>
              <a:t>CIFS, WMI</a:t>
            </a:r>
          </a:p>
        </p:txBody>
      </p:sp>
      <p:sp>
        <p:nvSpPr>
          <p:cNvPr id="44" name="TextBox 43">
            <a:extLst>
              <a:ext uri="{FF2B5EF4-FFF2-40B4-BE49-F238E27FC236}">
                <a16:creationId xmlns:a16="http://schemas.microsoft.com/office/drawing/2014/main" id="{83B0F8B7-30C5-E903-79CF-B686338A1BE3}"/>
              </a:ext>
            </a:extLst>
          </p:cNvPr>
          <p:cNvSpPr txBox="1"/>
          <p:nvPr/>
        </p:nvSpPr>
        <p:spPr>
          <a:xfrm>
            <a:off x="2204220" y="2817010"/>
            <a:ext cx="592900" cy="184666"/>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effectLst/>
                <a:uLnTx/>
                <a:uFillTx/>
                <a:latin typeface="+mj-lt"/>
                <a:ea typeface="+mn-ea"/>
                <a:cs typeface="+mn-cs"/>
              </a:rPr>
              <a:t>RPC, SSL</a:t>
            </a:r>
          </a:p>
        </p:txBody>
      </p:sp>
      <p:sp>
        <p:nvSpPr>
          <p:cNvPr id="46" name="TextBox 45">
            <a:extLst>
              <a:ext uri="{FF2B5EF4-FFF2-40B4-BE49-F238E27FC236}">
                <a16:creationId xmlns:a16="http://schemas.microsoft.com/office/drawing/2014/main" id="{C93F94CC-F858-9EEB-3FF8-4D5A758D6978}"/>
              </a:ext>
            </a:extLst>
          </p:cNvPr>
          <p:cNvSpPr txBox="1"/>
          <p:nvPr/>
        </p:nvSpPr>
        <p:spPr>
          <a:xfrm>
            <a:off x="2212988" y="3175166"/>
            <a:ext cx="608696" cy="184666"/>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effectLst/>
                <a:uLnTx/>
                <a:uFillTx/>
                <a:latin typeface="+mj-lt"/>
                <a:ea typeface="+mn-ea"/>
                <a:cs typeface="+mn-cs"/>
              </a:rPr>
              <a:t>NFS, iSCSI</a:t>
            </a:r>
          </a:p>
        </p:txBody>
      </p:sp>
      <p:sp>
        <p:nvSpPr>
          <p:cNvPr id="47" name="TextBox 46">
            <a:extLst>
              <a:ext uri="{FF2B5EF4-FFF2-40B4-BE49-F238E27FC236}">
                <a16:creationId xmlns:a16="http://schemas.microsoft.com/office/drawing/2014/main" id="{5289E1ED-80D9-5C7D-CD02-843D58A31712}"/>
              </a:ext>
            </a:extLst>
          </p:cNvPr>
          <p:cNvSpPr txBox="1"/>
          <p:nvPr/>
        </p:nvSpPr>
        <p:spPr>
          <a:xfrm>
            <a:off x="2204220" y="3952280"/>
            <a:ext cx="592900" cy="184666"/>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effectLst/>
                <a:uLnTx/>
                <a:uFillTx/>
                <a:latin typeface="+mj-lt"/>
                <a:ea typeface="+mn-ea"/>
                <a:cs typeface="+mn-cs"/>
              </a:rPr>
              <a:t>SSH, RDP</a:t>
            </a:r>
          </a:p>
        </p:txBody>
      </p:sp>
      <p:cxnSp>
        <p:nvCxnSpPr>
          <p:cNvPr id="200" name="Straight Arrow Connector 199">
            <a:extLst>
              <a:ext uri="{FF2B5EF4-FFF2-40B4-BE49-F238E27FC236}">
                <a16:creationId xmlns:a16="http://schemas.microsoft.com/office/drawing/2014/main" id="{F6F58E3C-4E96-0BE0-C558-C6CBD4355176}"/>
              </a:ext>
            </a:extLst>
          </p:cNvPr>
          <p:cNvCxnSpPr>
            <a:cxnSpLocks/>
          </p:cNvCxnSpPr>
          <p:nvPr/>
        </p:nvCxnSpPr>
        <p:spPr>
          <a:xfrm>
            <a:off x="4481086" y="3746430"/>
            <a:ext cx="438093" cy="0"/>
          </a:xfrm>
          <a:prstGeom prst="straightConnector1">
            <a:avLst/>
          </a:prstGeom>
          <a:ln w="6350">
            <a:solidFill>
              <a:schemeClr val="accent2"/>
            </a:solidFill>
            <a:tailEnd type="arrow" w="med" len="sm"/>
          </a:ln>
        </p:spPr>
        <p:style>
          <a:lnRef idx="1">
            <a:schemeClr val="accent1"/>
          </a:lnRef>
          <a:fillRef idx="0">
            <a:schemeClr val="accent1"/>
          </a:fillRef>
          <a:effectRef idx="0">
            <a:schemeClr val="accent1"/>
          </a:effectRef>
          <a:fontRef idx="minor">
            <a:schemeClr val="tx1"/>
          </a:fontRef>
        </p:style>
      </p:cxnSp>
      <p:sp>
        <p:nvSpPr>
          <p:cNvPr id="225" name="Double Bracket 224">
            <a:extLst>
              <a:ext uri="{FF2B5EF4-FFF2-40B4-BE49-F238E27FC236}">
                <a16:creationId xmlns:a16="http://schemas.microsoft.com/office/drawing/2014/main" id="{124365A7-5941-B8A8-0245-DD86AEE90C39}"/>
              </a:ext>
            </a:extLst>
          </p:cNvPr>
          <p:cNvSpPr/>
          <p:nvPr/>
        </p:nvSpPr>
        <p:spPr>
          <a:xfrm rot="16200000">
            <a:off x="5567403" y="1769642"/>
            <a:ext cx="776666" cy="6133821"/>
          </a:xfrm>
          <a:custGeom>
            <a:avLst/>
            <a:gdLst>
              <a:gd name="connsiteX0" fmla="*/ 0 w 776666"/>
              <a:gd name="connsiteY0" fmla="*/ 129447 h 5659249"/>
              <a:gd name="connsiteX1" fmla="*/ 129447 w 776666"/>
              <a:gd name="connsiteY1" fmla="*/ 0 h 5659249"/>
              <a:gd name="connsiteX2" fmla="*/ 647219 w 776666"/>
              <a:gd name="connsiteY2" fmla="*/ 0 h 5659249"/>
              <a:gd name="connsiteX3" fmla="*/ 776666 w 776666"/>
              <a:gd name="connsiteY3" fmla="*/ 129447 h 5659249"/>
              <a:gd name="connsiteX4" fmla="*/ 776666 w 776666"/>
              <a:gd name="connsiteY4" fmla="*/ 5529802 h 5659249"/>
              <a:gd name="connsiteX5" fmla="*/ 647219 w 776666"/>
              <a:gd name="connsiteY5" fmla="*/ 5659249 h 5659249"/>
              <a:gd name="connsiteX6" fmla="*/ 129447 w 776666"/>
              <a:gd name="connsiteY6" fmla="*/ 5659249 h 5659249"/>
              <a:gd name="connsiteX7" fmla="*/ 0 w 776666"/>
              <a:gd name="connsiteY7" fmla="*/ 5529802 h 5659249"/>
              <a:gd name="connsiteX8" fmla="*/ 0 w 776666"/>
              <a:gd name="connsiteY8" fmla="*/ 129447 h 5659249"/>
              <a:gd name="connsiteX0" fmla="*/ 129447 w 776666"/>
              <a:gd name="connsiteY0" fmla="*/ 5659249 h 5659249"/>
              <a:gd name="connsiteX1" fmla="*/ 0 w 776666"/>
              <a:gd name="connsiteY1" fmla="*/ 5529802 h 5659249"/>
              <a:gd name="connsiteX2" fmla="*/ 0 w 776666"/>
              <a:gd name="connsiteY2" fmla="*/ 129447 h 5659249"/>
              <a:gd name="connsiteX3" fmla="*/ 129447 w 776666"/>
              <a:gd name="connsiteY3" fmla="*/ 0 h 5659249"/>
              <a:gd name="connsiteX4" fmla="*/ 647219 w 776666"/>
              <a:gd name="connsiteY4" fmla="*/ 0 h 5659249"/>
              <a:gd name="connsiteX5" fmla="*/ 776666 w 776666"/>
              <a:gd name="connsiteY5" fmla="*/ 129447 h 5659249"/>
              <a:gd name="connsiteX6" fmla="*/ 776666 w 776666"/>
              <a:gd name="connsiteY6" fmla="*/ 5529802 h 5659249"/>
              <a:gd name="connsiteX7" fmla="*/ 647219 w 776666"/>
              <a:gd name="connsiteY7" fmla="*/ 5659249 h 5659249"/>
              <a:gd name="connsiteX0" fmla="*/ 0 w 777281"/>
              <a:gd name="connsiteY0" fmla="*/ 129447 h 5659249"/>
              <a:gd name="connsiteX1" fmla="*/ 129447 w 777281"/>
              <a:gd name="connsiteY1" fmla="*/ 0 h 5659249"/>
              <a:gd name="connsiteX2" fmla="*/ 647219 w 777281"/>
              <a:gd name="connsiteY2" fmla="*/ 0 h 5659249"/>
              <a:gd name="connsiteX3" fmla="*/ 776666 w 777281"/>
              <a:gd name="connsiteY3" fmla="*/ 129447 h 5659249"/>
              <a:gd name="connsiteX4" fmla="*/ 776666 w 777281"/>
              <a:gd name="connsiteY4" fmla="*/ 5529802 h 5659249"/>
              <a:gd name="connsiteX5" fmla="*/ 647219 w 777281"/>
              <a:gd name="connsiteY5" fmla="*/ 5659249 h 5659249"/>
              <a:gd name="connsiteX6" fmla="*/ 129447 w 777281"/>
              <a:gd name="connsiteY6" fmla="*/ 5659249 h 5659249"/>
              <a:gd name="connsiteX7" fmla="*/ 0 w 777281"/>
              <a:gd name="connsiteY7" fmla="*/ 5529802 h 5659249"/>
              <a:gd name="connsiteX8" fmla="*/ 0 w 777281"/>
              <a:gd name="connsiteY8" fmla="*/ 129447 h 5659249"/>
              <a:gd name="connsiteX0" fmla="*/ 129447 w 777281"/>
              <a:gd name="connsiteY0" fmla="*/ 5659249 h 5659249"/>
              <a:gd name="connsiteX1" fmla="*/ 0 w 777281"/>
              <a:gd name="connsiteY1" fmla="*/ 5529802 h 5659249"/>
              <a:gd name="connsiteX2" fmla="*/ 0 w 777281"/>
              <a:gd name="connsiteY2" fmla="*/ 129447 h 5659249"/>
              <a:gd name="connsiteX3" fmla="*/ 129447 w 777281"/>
              <a:gd name="connsiteY3" fmla="*/ 0 h 5659249"/>
              <a:gd name="connsiteX4" fmla="*/ 647219 w 777281"/>
              <a:gd name="connsiteY4" fmla="*/ 0 h 5659249"/>
              <a:gd name="connsiteX5" fmla="*/ 776666 w 777281"/>
              <a:gd name="connsiteY5" fmla="*/ 129447 h 5659249"/>
              <a:gd name="connsiteX6" fmla="*/ 776257 w 777281"/>
              <a:gd name="connsiteY6" fmla="*/ 1651102 h 5659249"/>
              <a:gd name="connsiteX7" fmla="*/ 776666 w 777281"/>
              <a:gd name="connsiteY7" fmla="*/ 5529802 h 5659249"/>
              <a:gd name="connsiteX8" fmla="*/ 647219 w 777281"/>
              <a:gd name="connsiteY8" fmla="*/ 5659249 h 5659249"/>
              <a:gd name="connsiteX0" fmla="*/ 0 w 885114"/>
              <a:gd name="connsiteY0" fmla="*/ 129447 h 5659249"/>
              <a:gd name="connsiteX1" fmla="*/ 129447 w 885114"/>
              <a:gd name="connsiteY1" fmla="*/ 0 h 5659249"/>
              <a:gd name="connsiteX2" fmla="*/ 647219 w 885114"/>
              <a:gd name="connsiteY2" fmla="*/ 0 h 5659249"/>
              <a:gd name="connsiteX3" fmla="*/ 776666 w 885114"/>
              <a:gd name="connsiteY3" fmla="*/ 129447 h 5659249"/>
              <a:gd name="connsiteX4" fmla="*/ 776666 w 885114"/>
              <a:gd name="connsiteY4" fmla="*/ 5529802 h 5659249"/>
              <a:gd name="connsiteX5" fmla="*/ 647219 w 885114"/>
              <a:gd name="connsiteY5" fmla="*/ 5659249 h 5659249"/>
              <a:gd name="connsiteX6" fmla="*/ 129447 w 885114"/>
              <a:gd name="connsiteY6" fmla="*/ 5659249 h 5659249"/>
              <a:gd name="connsiteX7" fmla="*/ 0 w 885114"/>
              <a:gd name="connsiteY7" fmla="*/ 5529802 h 5659249"/>
              <a:gd name="connsiteX8" fmla="*/ 0 w 885114"/>
              <a:gd name="connsiteY8" fmla="*/ 129447 h 5659249"/>
              <a:gd name="connsiteX0" fmla="*/ 129447 w 885114"/>
              <a:gd name="connsiteY0" fmla="*/ 5659249 h 5659249"/>
              <a:gd name="connsiteX1" fmla="*/ 0 w 885114"/>
              <a:gd name="connsiteY1" fmla="*/ 5529802 h 5659249"/>
              <a:gd name="connsiteX2" fmla="*/ 0 w 885114"/>
              <a:gd name="connsiteY2" fmla="*/ 129447 h 5659249"/>
              <a:gd name="connsiteX3" fmla="*/ 129447 w 885114"/>
              <a:gd name="connsiteY3" fmla="*/ 0 h 5659249"/>
              <a:gd name="connsiteX4" fmla="*/ 647219 w 885114"/>
              <a:gd name="connsiteY4" fmla="*/ 0 h 5659249"/>
              <a:gd name="connsiteX5" fmla="*/ 776666 w 885114"/>
              <a:gd name="connsiteY5" fmla="*/ 129447 h 5659249"/>
              <a:gd name="connsiteX6" fmla="*/ 885114 w 885114"/>
              <a:gd name="connsiteY6" fmla="*/ 1643845 h 5659249"/>
              <a:gd name="connsiteX7" fmla="*/ 776666 w 885114"/>
              <a:gd name="connsiteY7" fmla="*/ 5529802 h 5659249"/>
              <a:gd name="connsiteX8" fmla="*/ 647219 w 885114"/>
              <a:gd name="connsiteY8" fmla="*/ 5659249 h 5659249"/>
              <a:gd name="connsiteX0" fmla="*/ 0 w 877857"/>
              <a:gd name="connsiteY0" fmla="*/ 129447 h 5659249"/>
              <a:gd name="connsiteX1" fmla="*/ 129447 w 877857"/>
              <a:gd name="connsiteY1" fmla="*/ 0 h 5659249"/>
              <a:gd name="connsiteX2" fmla="*/ 647219 w 877857"/>
              <a:gd name="connsiteY2" fmla="*/ 0 h 5659249"/>
              <a:gd name="connsiteX3" fmla="*/ 776666 w 877857"/>
              <a:gd name="connsiteY3" fmla="*/ 129447 h 5659249"/>
              <a:gd name="connsiteX4" fmla="*/ 776666 w 877857"/>
              <a:gd name="connsiteY4" fmla="*/ 5529802 h 5659249"/>
              <a:gd name="connsiteX5" fmla="*/ 647219 w 877857"/>
              <a:gd name="connsiteY5" fmla="*/ 5659249 h 5659249"/>
              <a:gd name="connsiteX6" fmla="*/ 129447 w 877857"/>
              <a:gd name="connsiteY6" fmla="*/ 5659249 h 5659249"/>
              <a:gd name="connsiteX7" fmla="*/ 0 w 877857"/>
              <a:gd name="connsiteY7" fmla="*/ 5529802 h 5659249"/>
              <a:gd name="connsiteX8" fmla="*/ 0 w 877857"/>
              <a:gd name="connsiteY8" fmla="*/ 129447 h 5659249"/>
              <a:gd name="connsiteX0" fmla="*/ 129447 w 877857"/>
              <a:gd name="connsiteY0" fmla="*/ 5659249 h 5659249"/>
              <a:gd name="connsiteX1" fmla="*/ 0 w 877857"/>
              <a:gd name="connsiteY1" fmla="*/ 5529802 h 5659249"/>
              <a:gd name="connsiteX2" fmla="*/ 0 w 877857"/>
              <a:gd name="connsiteY2" fmla="*/ 129447 h 5659249"/>
              <a:gd name="connsiteX3" fmla="*/ 129447 w 877857"/>
              <a:gd name="connsiteY3" fmla="*/ 0 h 5659249"/>
              <a:gd name="connsiteX4" fmla="*/ 647219 w 877857"/>
              <a:gd name="connsiteY4" fmla="*/ 0 h 5659249"/>
              <a:gd name="connsiteX5" fmla="*/ 776666 w 877857"/>
              <a:gd name="connsiteY5" fmla="*/ 129447 h 5659249"/>
              <a:gd name="connsiteX6" fmla="*/ 877857 w 877857"/>
              <a:gd name="connsiteY6" fmla="*/ 1687391 h 5659249"/>
              <a:gd name="connsiteX7" fmla="*/ 776666 w 877857"/>
              <a:gd name="connsiteY7" fmla="*/ 5529802 h 5659249"/>
              <a:gd name="connsiteX8" fmla="*/ 647219 w 877857"/>
              <a:gd name="connsiteY8" fmla="*/ 5659249 h 5659249"/>
              <a:gd name="connsiteX0" fmla="*/ 776666 w 877857"/>
              <a:gd name="connsiteY0" fmla="*/ 129447 h 5659249"/>
              <a:gd name="connsiteX1" fmla="*/ 776666 w 877857"/>
              <a:gd name="connsiteY1" fmla="*/ 5529802 h 5659249"/>
              <a:gd name="connsiteX2" fmla="*/ 647219 w 877857"/>
              <a:gd name="connsiteY2" fmla="*/ 5659249 h 5659249"/>
              <a:gd name="connsiteX3" fmla="*/ 129447 w 877857"/>
              <a:gd name="connsiteY3" fmla="*/ 5659249 h 5659249"/>
              <a:gd name="connsiteX4" fmla="*/ 0 w 877857"/>
              <a:gd name="connsiteY4" fmla="*/ 5529802 h 5659249"/>
              <a:gd name="connsiteX5" fmla="*/ 0 w 877857"/>
              <a:gd name="connsiteY5" fmla="*/ 129447 h 5659249"/>
              <a:gd name="connsiteX6" fmla="*/ 129447 w 877857"/>
              <a:gd name="connsiteY6" fmla="*/ 0 h 5659249"/>
              <a:gd name="connsiteX7" fmla="*/ 647219 w 877857"/>
              <a:gd name="connsiteY7" fmla="*/ 0 h 5659249"/>
              <a:gd name="connsiteX8" fmla="*/ 868106 w 877857"/>
              <a:gd name="connsiteY8" fmla="*/ 220887 h 5659249"/>
              <a:gd name="connsiteX0" fmla="*/ 129447 w 877857"/>
              <a:gd name="connsiteY0" fmla="*/ 5659249 h 5659249"/>
              <a:gd name="connsiteX1" fmla="*/ 0 w 877857"/>
              <a:gd name="connsiteY1" fmla="*/ 5529802 h 5659249"/>
              <a:gd name="connsiteX2" fmla="*/ 0 w 877857"/>
              <a:gd name="connsiteY2" fmla="*/ 129447 h 5659249"/>
              <a:gd name="connsiteX3" fmla="*/ 129447 w 877857"/>
              <a:gd name="connsiteY3" fmla="*/ 0 h 5659249"/>
              <a:gd name="connsiteX4" fmla="*/ 647219 w 877857"/>
              <a:gd name="connsiteY4" fmla="*/ 0 h 5659249"/>
              <a:gd name="connsiteX5" fmla="*/ 776666 w 877857"/>
              <a:gd name="connsiteY5" fmla="*/ 129447 h 5659249"/>
              <a:gd name="connsiteX6" fmla="*/ 877857 w 877857"/>
              <a:gd name="connsiteY6" fmla="*/ 1687391 h 5659249"/>
              <a:gd name="connsiteX7" fmla="*/ 776666 w 877857"/>
              <a:gd name="connsiteY7" fmla="*/ 5529802 h 5659249"/>
              <a:gd name="connsiteX8" fmla="*/ 647219 w 877857"/>
              <a:gd name="connsiteY8" fmla="*/ 5659249 h 5659249"/>
              <a:gd name="connsiteX0" fmla="*/ 776666 w 877857"/>
              <a:gd name="connsiteY0" fmla="*/ 129447 h 5659249"/>
              <a:gd name="connsiteX1" fmla="*/ 776666 w 877857"/>
              <a:gd name="connsiteY1" fmla="*/ 5529802 h 5659249"/>
              <a:gd name="connsiteX2" fmla="*/ 647219 w 877857"/>
              <a:gd name="connsiteY2" fmla="*/ 5659249 h 5659249"/>
              <a:gd name="connsiteX3" fmla="*/ 129447 w 877857"/>
              <a:gd name="connsiteY3" fmla="*/ 5659249 h 5659249"/>
              <a:gd name="connsiteX4" fmla="*/ 0 w 877857"/>
              <a:gd name="connsiteY4" fmla="*/ 5529802 h 5659249"/>
              <a:gd name="connsiteX5" fmla="*/ 0 w 877857"/>
              <a:gd name="connsiteY5" fmla="*/ 129447 h 5659249"/>
              <a:gd name="connsiteX6" fmla="*/ 129447 w 877857"/>
              <a:gd name="connsiteY6" fmla="*/ 0 h 5659249"/>
              <a:gd name="connsiteX7" fmla="*/ 647219 w 877857"/>
              <a:gd name="connsiteY7" fmla="*/ 0 h 5659249"/>
              <a:gd name="connsiteX0" fmla="*/ 129447 w 877857"/>
              <a:gd name="connsiteY0" fmla="*/ 5659249 h 5659249"/>
              <a:gd name="connsiteX1" fmla="*/ 0 w 877857"/>
              <a:gd name="connsiteY1" fmla="*/ 5529802 h 5659249"/>
              <a:gd name="connsiteX2" fmla="*/ 0 w 877857"/>
              <a:gd name="connsiteY2" fmla="*/ 129447 h 5659249"/>
              <a:gd name="connsiteX3" fmla="*/ 129447 w 877857"/>
              <a:gd name="connsiteY3" fmla="*/ 0 h 5659249"/>
              <a:gd name="connsiteX4" fmla="*/ 647219 w 877857"/>
              <a:gd name="connsiteY4" fmla="*/ 0 h 5659249"/>
              <a:gd name="connsiteX5" fmla="*/ 776666 w 877857"/>
              <a:gd name="connsiteY5" fmla="*/ 129447 h 5659249"/>
              <a:gd name="connsiteX6" fmla="*/ 877857 w 877857"/>
              <a:gd name="connsiteY6" fmla="*/ 1687391 h 5659249"/>
              <a:gd name="connsiteX7" fmla="*/ 776666 w 877857"/>
              <a:gd name="connsiteY7" fmla="*/ 5529802 h 5659249"/>
              <a:gd name="connsiteX8" fmla="*/ 647219 w 877857"/>
              <a:gd name="connsiteY8" fmla="*/ 5659249 h 5659249"/>
              <a:gd name="connsiteX0" fmla="*/ 776666 w 877857"/>
              <a:gd name="connsiteY0" fmla="*/ 129447 h 5659249"/>
              <a:gd name="connsiteX1" fmla="*/ 776666 w 877857"/>
              <a:gd name="connsiteY1" fmla="*/ 5529802 h 5659249"/>
              <a:gd name="connsiteX2" fmla="*/ 647219 w 877857"/>
              <a:gd name="connsiteY2" fmla="*/ 5659249 h 5659249"/>
              <a:gd name="connsiteX3" fmla="*/ 129447 w 877857"/>
              <a:gd name="connsiteY3" fmla="*/ 5659249 h 5659249"/>
              <a:gd name="connsiteX4" fmla="*/ 0 w 877857"/>
              <a:gd name="connsiteY4" fmla="*/ 5529802 h 5659249"/>
              <a:gd name="connsiteX5" fmla="*/ 0 w 877857"/>
              <a:gd name="connsiteY5" fmla="*/ 129447 h 5659249"/>
              <a:gd name="connsiteX6" fmla="*/ 129447 w 877857"/>
              <a:gd name="connsiteY6" fmla="*/ 0 h 5659249"/>
              <a:gd name="connsiteX7" fmla="*/ 647219 w 877857"/>
              <a:gd name="connsiteY7" fmla="*/ 0 h 5659249"/>
              <a:gd name="connsiteX0" fmla="*/ 129447 w 877857"/>
              <a:gd name="connsiteY0" fmla="*/ 5659249 h 5659249"/>
              <a:gd name="connsiteX1" fmla="*/ 0 w 877857"/>
              <a:gd name="connsiteY1" fmla="*/ 5529802 h 5659249"/>
              <a:gd name="connsiteX2" fmla="*/ 0 w 877857"/>
              <a:gd name="connsiteY2" fmla="*/ 129447 h 5659249"/>
              <a:gd name="connsiteX3" fmla="*/ 129447 w 877857"/>
              <a:gd name="connsiteY3" fmla="*/ 0 h 5659249"/>
              <a:gd name="connsiteX4" fmla="*/ 647219 w 877857"/>
              <a:gd name="connsiteY4" fmla="*/ 0 h 5659249"/>
              <a:gd name="connsiteX5" fmla="*/ 877857 w 877857"/>
              <a:gd name="connsiteY5" fmla="*/ 1687391 h 5659249"/>
              <a:gd name="connsiteX6" fmla="*/ 776666 w 877857"/>
              <a:gd name="connsiteY6" fmla="*/ 5529802 h 5659249"/>
              <a:gd name="connsiteX7" fmla="*/ 647219 w 877857"/>
              <a:gd name="connsiteY7" fmla="*/ 5659249 h 5659249"/>
              <a:gd name="connsiteX0" fmla="*/ 776666 w 877857"/>
              <a:gd name="connsiteY0" fmla="*/ 5529802 h 5659249"/>
              <a:gd name="connsiteX1" fmla="*/ 647219 w 877857"/>
              <a:gd name="connsiteY1" fmla="*/ 5659249 h 5659249"/>
              <a:gd name="connsiteX2" fmla="*/ 129447 w 877857"/>
              <a:gd name="connsiteY2" fmla="*/ 5659249 h 5659249"/>
              <a:gd name="connsiteX3" fmla="*/ 0 w 877857"/>
              <a:gd name="connsiteY3" fmla="*/ 5529802 h 5659249"/>
              <a:gd name="connsiteX4" fmla="*/ 0 w 877857"/>
              <a:gd name="connsiteY4" fmla="*/ 129447 h 5659249"/>
              <a:gd name="connsiteX5" fmla="*/ 129447 w 877857"/>
              <a:gd name="connsiteY5" fmla="*/ 0 h 5659249"/>
              <a:gd name="connsiteX6" fmla="*/ 647219 w 877857"/>
              <a:gd name="connsiteY6" fmla="*/ 0 h 5659249"/>
              <a:gd name="connsiteX0" fmla="*/ 129447 w 877857"/>
              <a:gd name="connsiteY0" fmla="*/ 5659249 h 5659249"/>
              <a:gd name="connsiteX1" fmla="*/ 0 w 877857"/>
              <a:gd name="connsiteY1" fmla="*/ 5529802 h 5659249"/>
              <a:gd name="connsiteX2" fmla="*/ 0 w 877857"/>
              <a:gd name="connsiteY2" fmla="*/ 129447 h 5659249"/>
              <a:gd name="connsiteX3" fmla="*/ 129447 w 877857"/>
              <a:gd name="connsiteY3" fmla="*/ 0 h 5659249"/>
              <a:gd name="connsiteX4" fmla="*/ 647219 w 877857"/>
              <a:gd name="connsiteY4" fmla="*/ 0 h 5659249"/>
              <a:gd name="connsiteX5" fmla="*/ 877857 w 877857"/>
              <a:gd name="connsiteY5" fmla="*/ 1687391 h 5659249"/>
              <a:gd name="connsiteX6" fmla="*/ 776666 w 877857"/>
              <a:gd name="connsiteY6" fmla="*/ 5529802 h 5659249"/>
              <a:gd name="connsiteX7" fmla="*/ 647219 w 877857"/>
              <a:gd name="connsiteY7" fmla="*/ 5659249 h 5659249"/>
              <a:gd name="connsiteX0" fmla="*/ 776666 w 877857"/>
              <a:gd name="connsiteY0" fmla="*/ 5529802 h 5659249"/>
              <a:gd name="connsiteX1" fmla="*/ 647219 w 877857"/>
              <a:gd name="connsiteY1" fmla="*/ 5659249 h 5659249"/>
              <a:gd name="connsiteX2" fmla="*/ 129447 w 877857"/>
              <a:gd name="connsiteY2" fmla="*/ 5659249 h 5659249"/>
              <a:gd name="connsiteX3" fmla="*/ 0 w 877857"/>
              <a:gd name="connsiteY3" fmla="*/ 5529802 h 5659249"/>
              <a:gd name="connsiteX4" fmla="*/ 0 w 877857"/>
              <a:gd name="connsiteY4" fmla="*/ 129447 h 5659249"/>
              <a:gd name="connsiteX5" fmla="*/ 129447 w 877857"/>
              <a:gd name="connsiteY5" fmla="*/ 0 h 5659249"/>
              <a:gd name="connsiteX6" fmla="*/ 647219 w 877857"/>
              <a:gd name="connsiteY6" fmla="*/ 0 h 5659249"/>
              <a:gd name="connsiteX0" fmla="*/ 129447 w 877857"/>
              <a:gd name="connsiteY0" fmla="*/ 5659249 h 5659249"/>
              <a:gd name="connsiteX1" fmla="*/ 0 w 877857"/>
              <a:gd name="connsiteY1" fmla="*/ 5529802 h 5659249"/>
              <a:gd name="connsiteX2" fmla="*/ 0 w 877857"/>
              <a:gd name="connsiteY2" fmla="*/ 129447 h 5659249"/>
              <a:gd name="connsiteX3" fmla="*/ 129447 w 877857"/>
              <a:gd name="connsiteY3" fmla="*/ 0 h 5659249"/>
              <a:gd name="connsiteX4" fmla="*/ 647219 w 877857"/>
              <a:gd name="connsiteY4" fmla="*/ 0 h 5659249"/>
              <a:gd name="connsiteX5" fmla="*/ 877857 w 877857"/>
              <a:gd name="connsiteY5" fmla="*/ 1687391 h 5659249"/>
              <a:gd name="connsiteX6" fmla="*/ 647219 w 877857"/>
              <a:gd name="connsiteY6" fmla="*/ 5659249 h 5659249"/>
              <a:gd name="connsiteX0" fmla="*/ 776666 w 877857"/>
              <a:gd name="connsiteY0" fmla="*/ 5529802 h 5659249"/>
              <a:gd name="connsiteX1" fmla="*/ 647219 w 877857"/>
              <a:gd name="connsiteY1" fmla="*/ 5659249 h 5659249"/>
              <a:gd name="connsiteX2" fmla="*/ 129447 w 877857"/>
              <a:gd name="connsiteY2" fmla="*/ 5659249 h 5659249"/>
              <a:gd name="connsiteX3" fmla="*/ 0 w 877857"/>
              <a:gd name="connsiteY3" fmla="*/ 5529802 h 5659249"/>
              <a:gd name="connsiteX4" fmla="*/ 0 w 877857"/>
              <a:gd name="connsiteY4" fmla="*/ 129447 h 5659249"/>
              <a:gd name="connsiteX5" fmla="*/ 129447 w 877857"/>
              <a:gd name="connsiteY5" fmla="*/ 0 h 5659249"/>
              <a:gd name="connsiteX6" fmla="*/ 647219 w 877857"/>
              <a:gd name="connsiteY6" fmla="*/ 0 h 5659249"/>
              <a:gd name="connsiteX0" fmla="*/ 129447 w 877857"/>
              <a:gd name="connsiteY0" fmla="*/ 5659249 h 5659249"/>
              <a:gd name="connsiteX1" fmla="*/ 0 w 877857"/>
              <a:gd name="connsiteY1" fmla="*/ 5529802 h 5659249"/>
              <a:gd name="connsiteX2" fmla="*/ 0 w 877857"/>
              <a:gd name="connsiteY2" fmla="*/ 129447 h 5659249"/>
              <a:gd name="connsiteX3" fmla="*/ 129447 w 877857"/>
              <a:gd name="connsiteY3" fmla="*/ 0 h 5659249"/>
              <a:gd name="connsiteX4" fmla="*/ 647219 w 877857"/>
              <a:gd name="connsiteY4" fmla="*/ 0 h 5659249"/>
              <a:gd name="connsiteX5" fmla="*/ 877857 w 877857"/>
              <a:gd name="connsiteY5" fmla="*/ 1687391 h 5659249"/>
              <a:gd name="connsiteX6" fmla="*/ 698019 w 877857"/>
              <a:gd name="connsiteY6" fmla="*/ 5180277 h 5659249"/>
              <a:gd name="connsiteX0" fmla="*/ 776666 w 877857"/>
              <a:gd name="connsiteY0" fmla="*/ 5529802 h 5659249"/>
              <a:gd name="connsiteX1" fmla="*/ 647219 w 877857"/>
              <a:gd name="connsiteY1" fmla="*/ 5659249 h 5659249"/>
              <a:gd name="connsiteX2" fmla="*/ 129447 w 877857"/>
              <a:gd name="connsiteY2" fmla="*/ 5659249 h 5659249"/>
              <a:gd name="connsiteX3" fmla="*/ 0 w 877857"/>
              <a:gd name="connsiteY3" fmla="*/ 5529802 h 5659249"/>
              <a:gd name="connsiteX4" fmla="*/ 0 w 877857"/>
              <a:gd name="connsiteY4" fmla="*/ 129447 h 5659249"/>
              <a:gd name="connsiteX5" fmla="*/ 129447 w 877857"/>
              <a:gd name="connsiteY5" fmla="*/ 0 h 5659249"/>
              <a:gd name="connsiteX6" fmla="*/ 647219 w 877857"/>
              <a:gd name="connsiteY6" fmla="*/ 0 h 5659249"/>
              <a:gd name="connsiteX0" fmla="*/ 129447 w 877857"/>
              <a:gd name="connsiteY0" fmla="*/ 5659249 h 5659249"/>
              <a:gd name="connsiteX1" fmla="*/ 0 w 877857"/>
              <a:gd name="connsiteY1" fmla="*/ 5529802 h 5659249"/>
              <a:gd name="connsiteX2" fmla="*/ 0 w 877857"/>
              <a:gd name="connsiteY2" fmla="*/ 129447 h 5659249"/>
              <a:gd name="connsiteX3" fmla="*/ 129447 w 877857"/>
              <a:gd name="connsiteY3" fmla="*/ 0 h 5659249"/>
              <a:gd name="connsiteX4" fmla="*/ 647219 w 877857"/>
              <a:gd name="connsiteY4" fmla="*/ 0 h 5659249"/>
              <a:gd name="connsiteX5" fmla="*/ 877857 w 877857"/>
              <a:gd name="connsiteY5" fmla="*/ 1687391 h 5659249"/>
              <a:gd name="connsiteX0" fmla="*/ 776666 w 776666"/>
              <a:gd name="connsiteY0" fmla="*/ 5529802 h 5659249"/>
              <a:gd name="connsiteX1" fmla="*/ 647219 w 776666"/>
              <a:gd name="connsiteY1" fmla="*/ 5659249 h 5659249"/>
              <a:gd name="connsiteX2" fmla="*/ 129447 w 776666"/>
              <a:gd name="connsiteY2" fmla="*/ 5659249 h 5659249"/>
              <a:gd name="connsiteX3" fmla="*/ 0 w 776666"/>
              <a:gd name="connsiteY3" fmla="*/ 5529802 h 5659249"/>
              <a:gd name="connsiteX4" fmla="*/ 0 w 776666"/>
              <a:gd name="connsiteY4" fmla="*/ 129447 h 5659249"/>
              <a:gd name="connsiteX5" fmla="*/ 129447 w 776666"/>
              <a:gd name="connsiteY5" fmla="*/ 0 h 5659249"/>
              <a:gd name="connsiteX6" fmla="*/ 647219 w 776666"/>
              <a:gd name="connsiteY6" fmla="*/ 0 h 5659249"/>
              <a:gd name="connsiteX0" fmla="*/ 129447 w 776666"/>
              <a:gd name="connsiteY0" fmla="*/ 5659249 h 5659249"/>
              <a:gd name="connsiteX1" fmla="*/ 0 w 776666"/>
              <a:gd name="connsiteY1" fmla="*/ 5529802 h 5659249"/>
              <a:gd name="connsiteX2" fmla="*/ 0 w 776666"/>
              <a:gd name="connsiteY2" fmla="*/ 129447 h 5659249"/>
              <a:gd name="connsiteX3" fmla="*/ 129447 w 776666"/>
              <a:gd name="connsiteY3" fmla="*/ 0 h 5659249"/>
            </a:gdLst>
            <a:ahLst/>
            <a:cxnLst>
              <a:cxn ang="0">
                <a:pos x="connsiteX0" y="connsiteY0"/>
              </a:cxn>
              <a:cxn ang="0">
                <a:pos x="connsiteX1" y="connsiteY1"/>
              </a:cxn>
              <a:cxn ang="0">
                <a:pos x="connsiteX2" y="connsiteY2"/>
              </a:cxn>
              <a:cxn ang="0">
                <a:pos x="connsiteX3" y="connsiteY3"/>
              </a:cxn>
            </a:cxnLst>
            <a:rect l="l" t="t" r="r" b="b"/>
            <a:pathLst>
              <a:path w="776666" h="5659249" stroke="0" extrusionOk="0">
                <a:moveTo>
                  <a:pt x="776666" y="5529802"/>
                </a:moveTo>
                <a:cubicBezTo>
                  <a:pt x="776666" y="5601294"/>
                  <a:pt x="718711" y="5659249"/>
                  <a:pt x="647219" y="5659249"/>
                </a:cubicBezTo>
                <a:lnTo>
                  <a:pt x="129447" y="5659249"/>
                </a:lnTo>
                <a:cubicBezTo>
                  <a:pt x="57955" y="5659249"/>
                  <a:pt x="0" y="5601294"/>
                  <a:pt x="0" y="5529802"/>
                </a:cubicBezTo>
                <a:lnTo>
                  <a:pt x="0" y="129447"/>
                </a:lnTo>
                <a:cubicBezTo>
                  <a:pt x="0" y="57955"/>
                  <a:pt x="57955" y="0"/>
                  <a:pt x="129447" y="0"/>
                </a:cubicBezTo>
                <a:lnTo>
                  <a:pt x="647219" y="0"/>
                </a:lnTo>
              </a:path>
              <a:path w="776666" h="5659249" fill="none">
                <a:moveTo>
                  <a:pt x="129447" y="5659249"/>
                </a:moveTo>
                <a:cubicBezTo>
                  <a:pt x="57955" y="5659249"/>
                  <a:pt x="0" y="5601294"/>
                  <a:pt x="0" y="5529802"/>
                </a:cubicBezTo>
                <a:lnTo>
                  <a:pt x="0" y="129447"/>
                </a:lnTo>
                <a:cubicBezTo>
                  <a:pt x="0" y="57955"/>
                  <a:pt x="57955" y="0"/>
                  <a:pt x="129447" y="0"/>
                </a:cubicBezTo>
              </a:path>
            </a:pathLst>
          </a:custGeom>
          <a:ln w="127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861"/>
              </a:solidFill>
              <a:effectLst/>
              <a:uLnTx/>
              <a:uFillTx/>
              <a:latin typeface="+mj-lt"/>
              <a:ea typeface="+mn-ea"/>
              <a:cs typeface="+mn-cs"/>
            </a:endParaRPr>
          </a:p>
        </p:txBody>
      </p:sp>
      <p:sp>
        <p:nvSpPr>
          <p:cNvPr id="226" name="TextBox 225">
            <a:extLst>
              <a:ext uri="{FF2B5EF4-FFF2-40B4-BE49-F238E27FC236}">
                <a16:creationId xmlns:a16="http://schemas.microsoft.com/office/drawing/2014/main" id="{E1CF2F0B-8FB6-35E6-EEBF-192D6168F4BA}"/>
              </a:ext>
            </a:extLst>
          </p:cNvPr>
          <p:cNvSpPr txBox="1"/>
          <p:nvPr/>
        </p:nvSpPr>
        <p:spPr>
          <a:xfrm>
            <a:off x="4767206" y="5075459"/>
            <a:ext cx="2433379" cy="293519"/>
          </a:xfrm>
          <a:prstGeom prst="round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a:lnSpc>
                <a:spcPct val="96000"/>
              </a:lnSpc>
              <a:defRPr sz="1200">
                <a:solidFill>
                  <a:schemeClr val="bg1"/>
                </a:solidFill>
                <a:latin typeface="ES Build Neutral"/>
                <a:cs typeface="Microsoft Sans Serif"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050"/>
              <a:t>Multiple data resiliency zones</a:t>
            </a:r>
          </a:p>
        </p:txBody>
      </p:sp>
      <p:grpSp>
        <p:nvGrpSpPr>
          <p:cNvPr id="55" name="Group 54">
            <a:extLst>
              <a:ext uri="{FF2B5EF4-FFF2-40B4-BE49-F238E27FC236}">
                <a16:creationId xmlns:a16="http://schemas.microsoft.com/office/drawing/2014/main" id="{C043902E-A0C4-1808-2A2C-DD4CA31F5CE3}"/>
              </a:ext>
            </a:extLst>
          </p:cNvPr>
          <p:cNvGrpSpPr/>
          <p:nvPr/>
        </p:nvGrpSpPr>
        <p:grpSpPr>
          <a:xfrm>
            <a:off x="618815" y="2240812"/>
            <a:ext cx="1586182" cy="2648557"/>
            <a:chOff x="618815" y="2240812"/>
            <a:chExt cx="1586182" cy="2648557"/>
          </a:xfrm>
        </p:grpSpPr>
        <p:sp>
          <p:nvSpPr>
            <p:cNvPr id="21" name="Rounded Rectangle 20">
              <a:extLst>
                <a:ext uri="{FF2B5EF4-FFF2-40B4-BE49-F238E27FC236}">
                  <a16:creationId xmlns:a16="http://schemas.microsoft.com/office/drawing/2014/main" id="{524E33AB-93AF-1956-89B2-CB9A84003E9B}"/>
                </a:ext>
              </a:extLst>
            </p:cNvPr>
            <p:cNvSpPr/>
            <p:nvPr/>
          </p:nvSpPr>
          <p:spPr>
            <a:xfrm>
              <a:off x="618815" y="2552583"/>
              <a:ext cx="1586182" cy="2336786"/>
            </a:xfrm>
            <a:prstGeom prst="roundRect">
              <a:avLst>
                <a:gd name="adj" fmla="val 4585"/>
              </a:avLst>
            </a:prstGeom>
            <a:solidFill>
              <a:schemeClr val="bg1"/>
            </a:solidFill>
            <a:ln w="12700">
              <a:noFill/>
              <a:headEnd type="none" w="med" len="med"/>
              <a:tailEnd type="none" w="med" len="med"/>
            </a:ln>
            <a:effectLst>
              <a:outerShdw blurRad="381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182880" rIns="365760" bIns="121920" numCol="1" spcCol="0" rtlCol="0" fromWordArt="0" anchor="t" anchorCtr="0" forceAA="0" compatLnSpc="1">
              <a:prstTxWarp prst="textNoShape">
                <a:avLst/>
              </a:prstTxWarp>
              <a:noAutofit/>
            </a:bodyPr>
            <a:lstStyle/>
            <a:p>
              <a:pPr defTabSz="914377">
                <a:spcAft>
                  <a:spcPts val="800"/>
                </a:spcAft>
              </a:pPr>
              <a:endParaRPr lang="en-US" sz="2400">
                <a:solidFill>
                  <a:srgbClr val="FFFFFF"/>
                </a:solidFill>
                <a:latin typeface="ES Build Neutral"/>
              </a:endParaRPr>
            </a:p>
          </p:txBody>
        </p:sp>
        <p:sp>
          <p:nvSpPr>
            <p:cNvPr id="3" name="TextBox 2">
              <a:extLst>
                <a:ext uri="{FF2B5EF4-FFF2-40B4-BE49-F238E27FC236}">
                  <a16:creationId xmlns:a16="http://schemas.microsoft.com/office/drawing/2014/main" id="{71FA0C62-8AAA-3075-57ED-7709C2AEFC75}"/>
                </a:ext>
              </a:extLst>
            </p:cNvPr>
            <p:cNvSpPr txBox="1"/>
            <p:nvPr/>
          </p:nvSpPr>
          <p:spPr>
            <a:xfrm>
              <a:off x="680759" y="2240812"/>
              <a:ext cx="146229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effectLst/>
                  <a:uLnTx/>
                  <a:uFillTx/>
                  <a:latin typeface="+mj-lt"/>
                  <a:ea typeface="+mn-ea"/>
                  <a:cs typeface="+mn-cs"/>
                </a:rPr>
                <a:t>Production</a:t>
              </a:r>
            </a:p>
          </p:txBody>
        </p:sp>
        <p:sp>
          <p:nvSpPr>
            <p:cNvPr id="7" name="TextBox 6">
              <a:extLst>
                <a:ext uri="{FF2B5EF4-FFF2-40B4-BE49-F238E27FC236}">
                  <a16:creationId xmlns:a16="http://schemas.microsoft.com/office/drawing/2014/main" id="{1951B4CB-049F-AB0E-1939-BC5F458F0E26}"/>
                </a:ext>
              </a:extLst>
            </p:cNvPr>
            <p:cNvSpPr txBox="1"/>
            <p:nvPr/>
          </p:nvSpPr>
          <p:spPr>
            <a:xfrm>
              <a:off x="955767" y="3852075"/>
              <a:ext cx="912278"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effectLst/>
                  <a:uLnTx/>
                  <a:uFillTx/>
                  <a:latin typeface="+mj-lt"/>
                  <a:ea typeface="+mn-ea"/>
                  <a:cs typeface="+mn-cs"/>
                </a:rPr>
                <a:t>Virtual</a:t>
              </a:r>
            </a:p>
          </p:txBody>
        </p:sp>
        <p:sp>
          <p:nvSpPr>
            <p:cNvPr id="9" name="TextBox 8">
              <a:extLst>
                <a:ext uri="{FF2B5EF4-FFF2-40B4-BE49-F238E27FC236}">
                  <a16:creationId xmlns:a16="http://schemas.microsoft.com/office/drawing/2014/main" id="{42C4F254-22A8-E7A8-CFAE-C60EBDE4F3E5}"/>
                </a:ext>
              </a:extLst>
            </p:cNvPr>
            <p:cNvSpPr txBox="1"/>
            <p:nvPr/>
          </p:nvSpPr>
          <p:spPr>
            <a:xfrm>
              <a:off x="955767" y="4484546"/>
              <a:ext cx="912278"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effectLst/>
                  <a:uLnTx/>
                  <a:uFillTx/>
                  <a:latin typeface="+mj-lt"/>
                  <a:ea typeface="+mn-ea"/>
                  <a:cs typeface="+mn-cs"/>
                </a:rPr>
                <a:t>Cloud</a:t>
              </a:r>
            </a:p>
          </p:txBody>
        </p:sp>
        <p:sp>
          <p:nvSpPr>
            <p:cNvPr id="16" name="TextBox 15">
              <a:extLst>
                <a:ext uri="{FF2B5EF4-FFF2-40B4-BE49-F238E27FC236}">
                  <a16:creationId xmlns:a16="http://schemas.microsoft.com/office/drawing/2014/main" id="{EAC4A1F1-57C2-E9E2-A134-8E30E5FF21F8}"/>
                </a:ext>
              </a:extLst>
            </p:cNvPr>
            <p:cNvSpPr txBox="1"/>
            <p:nvPr/>
          </p:nvSpPr>
          <p:spPr>
            <a:xfrm>
              <a:off x="894410" y="3161730"/>
              <a:ext cx="1034992"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effectLst/>
                  <a:uLnTx/>
                  <a:uFillTx/>
                  <a:latin typeface="+mj-lt"/>
                  <a:ea typeface="+mn-ea"/>
                  <a:cs typeface="+mn-cs"/>
                </a:rPr>
                <a:t>Physical</a:t>
              </a:r>
            </a:p>
          </p:txBody>
        </p:sp>
        <p:sp>
          <p:nvSpPr>
            <p:cNvPr id="276" name="Freeform 275">
              <a:extLst>
                <a:ext uri="{FF2B5EF4-FFF2-40B4-BE49-F238E27FC236}">
                  <a16:creationId xmlns:a16="http://schemas.microsoft.com/office/drawing/2014/main" id="{3CF0648F-9119-62E5-E085-553AB9EE44E6}"/>
                </a:ext>
              </a:extLst>
            </p:cNvPr>
            <p:cNvSpPr/>
            <p:nvPr/>
          </p:nvSpPr>
          <p:spPr>
            <a:xfrm>
              <a:off x="1228698" y="4196318"/>
              <a:ext cx="366417" cy="293108"/>
            </a:xfrm>
            <a:custGeom>
              <a:avLst/>
              <a:gdLst>
                <a:gd name="connsiteX0" fmla="*/ 350711 w 570119"/>
                <a:gd name="connsiteY0" fmla="*/ 180917 h 456055"/>
                <a:gd name="connsiteX1" fmla="*/ 381303 w 570119"/>
                <a:gd name="connsiteY1" fmla="*/ 211508 h 456055"/>
                <a:gd name="connsiteX2" fmla="*/ 421073 w 570119"/>
                <a:gd name="connsiteY2" fmla="*/ 227967 h 456055"/>
                <a:gd name="connsiteX3" fmla="*/ 427559 w 570119"/>
                <a:gd name="connsiteY3" fmla="*/ 227967 h 456055"/>
                <a:gd name="connsiteX4" fmla="*/ 461149 w 570119"/>
                <a:gd name="connsiteY4" fmla="*/ 234819 h 456055"/>
                <a:gd name="connsiteX5" fmla="*/ 513095 w 570119"/>
                <a:gd name="connsiteY5" fmla="*/ 313500 h 456055"/>
                <a:gd name="connsiteX6" fmla="*/ 427620 w 570119"/>
                <a:gd name="connsiteY6" fmla="*/ 399033 h 456055"/>
                <a:gd name="connsiteX7" fmla="*/ 399108 w 570119"/>
                <a:gd name="connsiteY7" fmla="*/ 399033 h 456055"/>
                <a:gd name="connsiteX8" fmla="*/ 399108 w 570119"/>
                <a:gd name="connsiteY8" fmla="*/ 456055 h 456055"/>
                <a:gd name="connsiteX9" fmla="*/ 427620 w 570119"/>
                <a:gd name="connsiteY9" fmla="*/ 456055 h 456055"/>
                <a:gd name="connsiteX10" fmla="*/ 570119 w 570119"/>
                <a:gd name="connsiteY10" fmla="*/ 313561 h 456055"/>
                <a:gd name="connsiteX11" fmla="*/ 483604 w 570119"/>
                <a:gd name="connsiteY11" fmla="*/ 182447 h 456055"/>
                <a:gd name="connsiteX12" fmla="*/ 427620 w 570119"/>
                <a:gd name="connsiteY12" fmla="*/ 171006 h 456055"/>
                <a:gd name="connsiteX13" fmla="*/ 427620 w 570119"/>
                <a:gd name="connsiteY13" fmla="*/ 171801 h 456055"/>
                <a:gd name="connsiteX14" fmla="*/ 368210 w 570119"/>
                <a:gd name="connsiteY14" fmla="*/ 171801 h 456055"/>
                <a:gd name="connsiteX15" fmla="*/ 362336 w 570119"/>
                <a:gd name="connsiteY15" fmla="*/ 169353 h 456055"/>
                <a:gd name="connsiteX16" fmla="*/ 350711 w 570119"/>
                <a:gd name="connsiteY16" fmla="*/ 180917 h 456055"/>
                <a:gd name="connsiteX17" fmla="*/ 350711 w 570119"/>
                <a:gd name="connsiteY17" fmla="*/ 180917 h 456055"/>
                <a:gd name="connsiteX18" fmla="*/ 54822 w 570119"/>
                <a:gd name="connsiteY18" fmla="*/ 156750 h 456055"/>
                <a:gd name="connsiteX19" fmla="*/ 60451 w 570119"/>
                <a:gd name="connsiteY19" fmla="*/ 197681 h 456055"/>
                <a:gd name="connsiteX20" fmla="*/ 0 w 570119"/>
                <a:gd name="connsiteY20" fmla="*/ 313500 h 456055"/>
                <a:gd name="connsiteX21" fmla="*/ 142499 w 570119"/>
                <a:gd name="connsiteY21" fmla="*/ 455994 h 456055"/>
                <a:gd name="connsiteX22" fmla="*/ 171011 w 570119"/>
                <a:gd name="connsiteY22" fmla="*/ 455994 h 456055"/>
                <a:gd name="connsiteX23" fmla="*/ 171011 w 570119"/>
                <a:gd name="connsiteY23" fmla="*/ 398972 h 456055"/>
                <a:gd name="connsiteX24" fmla="*/ 142499 w 570119"/>
                <a:gd name="connsiteY24" fmla="*/ 398972 h 456055"/>
                <a:gd name="connsiteX25" fmla="*/ 57024 w 570119"/>
                <a:gd name="connsiteY25" fmla="*/ 313438 h 456055"/>
                <a:gd name="connsiteX26" fmla="*/ 107196 w 570119"/>
                <a:gd name="connsiteY26" fmla="*/ 236226 h 456055"/>
                <a:gd name="connsiteX27" fmla="*/ 133322 w 570119"/>
                <a:gd name="connsiteY27" fmla="*/ 224357 h 456055"/>
                <a:gd name="connsiteX28" fmla="*/ 121268 w 570119"/>
                <a:gd name="connsiteY28" fmla="*/ 198354 h 456055"/>
                <a:gd name="connsiteX29" fmla="*/ 111846 w 570119"/>
                <a:gd name="connsiteY29" fmla="*/ 156689 h 456055"/>
                <a:gd name="connsiteX30" fmla="*/ 211638 w 570119"/>
                <a:gd name="connsiteY30" fmla="*/ 56961 h 456055"/>
                <a:gd name="connsiteX31" fmla="*/ 304149 w 570119"/>
                <a:gd name="connsiteY31" fmla="*/ 119306 h 456055"/>
                <a:gd name="connsiteX32" fmla="*/ 304516 w 570119"/>
                <a:gd name="connsiteY32" fmla="*/ 119184 h 456055"/>
                <a:gd name="connsiteX33" fmla="*/ 320119 w 570119"/>
                <a:gd name="connsiteY33" fmla="*/ 150326 h 456055"/>
                <a:gd name="connsiteX34" fmla="*/ 350711 w 570119"/>
                <a:gd name="connsiteY34" fmla="*/ 180917 h 456055"/>
                <a:gd name="connsiteX35" fmla="*/ 362275 w 570119"/>
                <a:gd name="connsiteY35" fmla="*/ 169353 h 456055"/>
                <a:gd name="connsiteX36" fmla="*/ 359827 w 570119"/>
                <a:gd name="connsiteY36" fmla="*/ 163480 h 456055"/>
                <a:gd name="connsiteX37" fmla="*/ 359827 w 570119"/>
                <a:gd name="connsiteY37" fmla="*/ 100278 h 456055"/>
                <a:gd name="connsiteX38" fmla="*/ 354321 w 570119"/>
                <a:gd name="connsiteY38" fmla="*/ 92141 h 456055"/>
                <a:gd name="connsiteX39" fmla="*/ 211577 w 570119"/>
                <a:gd name="connsiteY39" fmla="*/ 0 h 456055"/>
                <a:gd name="connsiteX40" fmla="*/ 54822 w 570119"/>
                <a:gd name="connsiteY40" fmla="*/ 156750 h 456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119" h="456055">
                  <a:moveTo>
                    <a:pt x="350711" y="180917"/>
                  </a:moveTo>
                  <a:lnTo>
                    <a:pt x="381303" y="211508"/>
                  </a:lnTo>
                  <a:cubicBezTo>
                    <a:pt x="391827" y="222032"/>
                    <a:pt x="406144" y="227967"/>
                    <a:pt x="421073" y="227967"/>
                  </a:cubicBezTo>
                  <a:lnTo>
                    <a:pt x="427559" y="227967"/>
                  </a:lnTo>
                  <a:cubicBezTo>
                    <a:pt x="439245" y="227967"/>
                    <a:pt x="450564" y="230291"/>
                    <a:pt x="461149" y="234819"/>
                  </a:cubicBezTo>
                  <a:cubicBezTo>
                    <a:pt x="492721" y="248340"/>
                    <a:pt x="513095" y="279176"/>
                    <a:pt x="513095" y="313500"/>
                  </a:cubicBezTo>
                  <a:cubicBezTo>
                    <a:pt x="513095" y="360672"/>
                    <a:pt x="474732" y="399033"/>
                    <a:pt x="427620" y="399033"/>
                  </a:cubicBezTo>
                  <a:lnTo>
                    <a:pt x="399108" y="399033"/>
                  </a:lnTo>
                  <a:lnTo>
                    <a:pt x="399108" y="456055"/>
                  </a:lnTo>
                  <a:lnTo>
                    <a:pt x="427620" y="456055"/>
                  </a:lnTo>
                  <a:cubicBezTo>
                    <a:pt x="506181" y="456055"/>
                    <a:pt x="570119" y="392119"/>
                    <a:pt x="570119" y="313561"/>
                  </a:cubicBezTo>
                  <a:cubicBezTo>
                    <a:pt x="570119" y="256416"/>
                    <a:pt x="536162" y="204962"/>
                    <a:pt x="483604" y="182447"/>
                  </a:cubicBezTo>
                  <a:cubicBezTo>
                    <a:pt x="465861" y="174860"/>
                    <a:pt x="447016" y="171006"/>
                    <a:pt x="427620" y="171006"/>
                  </a:cubicBezTo>
                  <a:lnTo>
                    <a:pt x="427620" y="171801"/>
                  </a:lnTo>
                  <a:lnTo>
                    <a:pt x="368210" y="171801"/>
                  </a:lnTo>
                  <a:cubicBezTo>
                    <a:pt x="365946" y="171801"/>
                    <a:pt x="363866" y="170883"/>
                    <a:pt x="362336" y="169353"/>
                  </a:cubicBezTo>
                  <a:lnTo>
                    <a:pt x="350711" y="180917"/>
                  </a:lnTo>
                  <a:lnTo>
                    <a:pt x="350711" y="180917"/>
                  </a:lnTo>
                  <a:close/>
                  <a:moveTo>
                    <a:pt x="54822" y="156750"/>
                  </a:moveTo>
                  <a:cubicBezTo>
                    <a:pt x="54822" y="170577"/>
                    <a:pt x="56718" y="184221"/>
                    <a:pt x="60451" y="197681"/>
                  </a:cubicBezTo>
                  <a:cubicBezTo>
                    <a:pt x="23067" y="223989"/>
                    <a:pt x="0" y="267123"/>
                    <a:pt x="0" y="313500"/>
                  </a:cubicBezTo>
                  <a:cubicBezTo>
                    <a:pt x="0" y="392119"/>
                    <a:pt x="63938" y="455994"/>
                    <a:pt x="142499" y="455994"/>
                  </a:cubicBezTo>
                  <a:lnTo>
                    <a:pt x="171011" y="455994"/>
                  </a:lnTo>
                  <a:lnTo>
                    <a:pt x="171011" y="398972"/>
                  </a:lnTo>
                  <a:lnTo>
                    <a:pt x="142499" y="398972"/>
                  </a:lnTo>
                  <a:cubicBezTo>
                    <a:pt x="95326" y="398972"/>
                    <a:pt x="57024" y="360610"/>
                    <a:pt x="57024" y="313438"/>
                  </a:cubicBezTo>
                  <a:cubicBezTo>
                    <a:pt x="57024" y="280400"/>
                    <a:pt x="76726" y="250115"/>
                    <a:pt x="107196" y="236226"/>
                  </a:cubicBezTo>
                  <a:lnTo>
                    <a:pt x="133322" y="224357"/>
                  </a:lnTo>
                  <a:lnTo>
                    <a:pt x="121268" y="198354"/>
                  </a:lnTo>
                  <a:cubicBezTo>
                    <a:pt x="115027" y="184772"/>
                    <a:pt x="111846" y="170761"/>
                    <a:pt x="111846" y="156689"/>
                  </a:cubicBezTo>
                  <a:cubicBezTo>
                    <a:pt x="111846" y="101685"/>
                    <a:pt x="156572" y="56961"/>
                    <a:pt x="211638" y="56961"/>
                  </a:cubicBezTo>
                  <a:cubicBezTo>
                    <a:pt x="252448" y="56961"/>
                    <a:pt x="288792" y="81434"/>
                    <a:pt x="304149" y="119306"/>
                  </a:cubicBezTo>
                  <a:lnTo>
                    <a:pt x="304516" y="119184"/>
                  </a:lnTo>
                  <a:cubicBezTo>
                    <a:pt x="306352" y="130931"/>
                    <a:pt x="311614" y="141883"/>
                    <a:pt x="320119" y="150326"/>
                  </a:cubicBezTo>
                  <a:lnTo>
                    <a:pt x="350711" y="180917"/>
                  </a:lnTo>
                  <a:lnTo>
                    <a:pt x="362275" y="169353"/>
                  </a:lnTo>
                  <a:cubicBezTo>
                    <a:pt x="360745" y="167885"/>
                    <a:pt x="359827" y="165744"/>
                    <a:pt x="359827" y="163480"/>
                  </a:cubicBezTo>
                  <a:lnTo>
                    <a:pt x="359827" y="100278"/>
                  </a:lnTo>
                  <a:cubicBezTo>
                    <a:pt x="359827" y="100278"/>
                    <a:pt x="356034" y="94711"/>
                    <a:pt x="354321" y="92141"/>
                  </a:cubicBezTo>
                  <a:cubicBezTo>
                    <a:pt x="328929" y="35975"/>
                    <a:pt x="273618" y="0"/>
                    <a:pt x="211577" y="0"/>
                  </a:cubicBezTo>
                  <a:cubicBezTo>
                    <a:pt x="125123" y="0"/>
                    <a:pt x="54822" y="70299"/>
                    <a:pt x="54822" y="156750"/>
                  </a:cubicBezTo>
                </a:path>
              </a:pathLst>
            </a:custGeom>
            <a:solidFill>
              <a:schemeClr val="tx1"/>
            </a:solidFill>
            <a:ln w="0" cap="flat">
              <a:noFill/>
              <a:prstDash val="solid"/>
              <a:miter/>
            </a:ln>
          </p:spPr>
          <p:txBody>
            <a:bodyPr rtlCol="0" anchor="ctr"/>
            <a:lstStyle/>
            <a:p>
              <a:endParaRPr lang="en-US"/>
            </a:p>
          </p:txBody>
        </p:sp>
        <p:sp>
          <p:nvSpPr>
            <p:cNvPr id="277" name="Freeform 276">
              <a:extLst>
                <a:ext uri="{FF2B5EF4-FFF2-40B4-BE49-F238E27FC236}">
                  <a16:creationId xmlns:a16="http://schemas.microsoft.com/office/drawing/2014/main" id="{A3266098-4E51-07FD-A675-FA334E4E0239}"/>
                </a:ext>
              </a:extLst>
            </p:cNvPr>
            <p:cNvSpPr/>
            <p:nvPr/>
          </p:nvSpPr>
          <p:spPr>
            <a:xfrm>
              <a:off x="1245686" y="2835109"/>
              <a:ext cx="332441" cy="329184"/>
            </a:xfrm>
            <a:custGeom>
              <a:avLst/>
              <a:gdLst>
                <a:gd name="connsiteX0" fmla="*/ 499390 w 517255"/>
                <a:gd name="connsiteY0" fmla="*/ 78436 h 513016"/>
                <a:gd name="connsiteX1" fmla="*/ 468492 w 517255"/>
                <a:gd name="connsiteY1" fmla="*/ 47539 h 513016"/>
                <a:gd name="connsiteX2" fmla="*/ 468492 w 517255"/>
                <a:gd name="connsiteY2" fmla="*/ 47539 h 513016"/>
                <a:gd name="connsiteX3" fmla="*/ 437593 w 517255"/>
                <a:gd name="connsiteY3" fmla="*/ 16641 h 513016"/>
                <a:gd name="connsiteX4" fmla="*/ 397456 w 517255"/>
                <a:gd name="connsiteY4" fmla="*/ 0 h 513016"/>
                <a:gd name="connsiteX5" fmla="*/ 61 w 517255"/>
                <a:gd name="connsiteY5" fmla="*/ 0 h 513016"/>
                <a:gd name="connsiteX6" fmla="*/ 61 w 517255"/>
                <a:gd name="connsiteY6" fmla="*/ 170699 h 513016"/>
                <a:gd name="connsiteX7" fmla="*/ 516032 w 517255"/>
                <a:gd name="connsiteY7" fmla="*/ 170699 h 513016"/>
                <a:gd name="connsiteX8" fmla="*/ 516032 w 517255"/>
                <a:gd name="connsiteY8" fmla="*/ 118511 h 513016"/>
                <a:gd name="connsiteX9" fmla="*/ 499390 w 517255"/>
                <a:gd name="connsiteY9" fmla="*/ 78375 h 513016"/>
                <a:gd name="connsiteX10" fmla="*/ 499390 w 517255"/>
                <a:gd name="connsiteY10" fmla="*/ 78375 h 513016"/>
                <a:gd name="connsiteX11" fmla="*/ 459253 w 517255"/>
                <a:gd name="connsiteY11" fmla="*/ 113861 h 513016"/>
                <a:gd name="connsiteX12" fmla="*/ 56902 w 517255"/>
                <a:gd name="connsiteY12" fmla="*/ 113861 h 513016"/>
                <a:gd name="connsiteX13" fmla="*/ 56902 w 517255"/>
                <a:gd name="connsiteY13" fmla="*/ 56961 h 513016"/>
                <a:gd name="connsiteX14" fmla="*/ 332233 w 517255"/>
                <a:gd name="connsiteY14" fmla="*/ 56961 h 513016"/>
                <a:gd name="connsiteX15" fmla="*/ 332233 w 517255"/>
                <a:gd name="connsiteY15" fmla="*/ 56716 h 513016"/>
                <a:gd name="connsiteX16" fmla="*/ 450809 w 517255"/>
                <a:gd name="connsiteY16" fmla="*/ 56716 h 513016"/>
                <a:gd name="connsiteX17" fmla="*/ 456744 w 517255"/>
                <a:gd name="connsiteY17" fmla="*/ 59163 h 513016"/>
                <a:gd name="connsiteX18" fmla="*/ 456744 w 517255"/>
                <a:gd name="connsiteY18" fmla="*/ 59163 h 513016"/>
                <a:gd name="connsiteX19" fmla="*/ 459191 w 517255"/>
                <a:gd name="connsiteY19" fmla="*/ 65098 h 513016"/>
                <a:gd name="connsiteX20" fmla="*/ 459191 w 517255"/>
                <a:gd name="connsiteY20" fmla="*/ 113861 h 513016"/>
                <a:gd name="connsiteX21" fmla="*/ 56779 w 517255"/>
                <a:gd name="connsiteY21" fmla="*/ 342317 h 513016"/>
                <a:gd name="connsiteX22" fmla="*/ 56779 w 517255"/>
                <a:gd name="connsiteY22" fmla="*/ 342133 h 513016"/>
                <a:gd name="connsiteX23" fmla="*/ 551 w 517255"/>
                <a:gd name="connsiteY23" fmla="*/ 342133 h 513016"/>
                <a:gd name="connsiteX24" fmla="*/ 551 w 517255"/>
                <a:gd name="connsiteY24" fmla="*/ 394444 h 513016"/>
                <a:gd name="connsiteX25" fmla="*/ 17193 w 517255"/>
                <a:gd name="connsiteY25" fmla="*/ 434580 h 513016"/>
                <a:gd name="connsiteX26" fmla="*/ 48091 w 517255"/>
                <a:gd name="connsiteY26" fmla="*/ 465477 h 513016"/>
                <a:gd name="connsiteX27" fmla="*/ 48091 w 517255"/>
                <a:gd name="connsiteY27" fmla="*/ 465477 h 513016"/>
                <a:gd name="connsiteX28" fmla="*/ 78990 w 517255"/>
                <a:gd name="connsiteY28" fmla="*/ 496375 h 513016"/>
                <a:gd name="connsiteX29" fmla="*/ 119127 w 517255"/>
                <a:gd name="connsiteY29" fmla="*/ 513016 h 513016"/>
                <a:gd name="connsiteX30" fmla="*/ 516522 w 517255"/>
                <a:gd name="connsiteY30" fmla="*/ 513016 h 513016"/>
                <a:gd name="connsiteX31" fmla="*/ 516522 w 517255"/>
                <a:gd name="connsiteY31" fmla="*/ 342317 h 513016"/>
                <a:gd name="connsiteX32" fmla="*/ 56779 w 517255"/>
                <a:gd name="connsiteY32" fmla="*/ 342317 h 513016"/>
                <a:gd name="connsiteX33" fmla="*/ 56779 w 517255"/>
                <a:gd name="connsiteY33" fmla="*/ 342317 h 513016"/>
                <a:gd name="connsiteX34" fmla="*/ 459620 w 517255"/>
                <a:gd name="connsiteY34" fmla="*/ 456055 h 513016"/>
                <a:gd name="connsiteX35" fmla="*/ 184288 w 517255"/>
                <a:gd name="connsiteY35" fmla="*/ 456055 h 513016"/>
                <a:gd name="connsiteX36" fmla="*/ 184288 w 517255"/>
                <a:gd name="connsiteY36" fmla="*/ 456300 h 513016"/>
                <a:gd name="connsiteX37" fmla="*/ 65712 w 517255"/>
                <a:gd name="connsiteY37" fmla="*/ 456300 h 513016"/>
                <a:gd name="connsiteX38" fmla="*/ 59777 w 517255"/>
                <a:gd name="connsiteY38" fmla="*/ 453853 h 513016"/>
                <a:gd name="connsiteX39" fmla="*/ 59777 w 517255"/>
                <a:gd name="connsiteY39" fmla="*/ 453853 h 513016"/>
                <a:gd name="connsiteX40" fmla="*/ 57330 w 517255"/>
                <a:gd name="connsiteY40" fmla="*/ 447918 h 513016"/>
                <a:gd name="connsiteX41" fmla="*/ 57330 w 517255"/>
                <a:gd name="connsiteY41" fmla="*/ 399278 h 513016"/>
                <a:gd name="connsiteX42" fmla="*/ 459681 w 517255"/>
                <a:gd name="connsiteY42" fmla="*/ 399278 h 513016"/>
                <a:gd name="connsiteX43" fmla="*/ 459681 w 517255"/>
                <a:gd name="connsiteY43" fmla="*/ 456178 h 513016"/>
                <a:gd name="connsiteX44" fmla="*/ 459681 w 517255"/>
                <a:gd name="connsiteY44" fmla="*/ 456055 h 513016"/>
                <a:gd name="connsiteX45" fmla="*/ 517256 w 517255"/>
                <a:gd name="connsiteY45" fmla="*/ 283704 h 513016"/>
                <a:gd name="connsiteX46" fmla="*/ 0 w 517255"/>
                <a:gd name="connsiteY46" fmla="*/ 283704 h 513016"/>
                <a:gd name="connsiteX47" fmla="*/ 0 w 517255"/>
                <a:gd name="connsiteY47" fmla="*/ 226804 h 513016"/>
                <a:gd name="connsiteX48" fmla="*/ 517256 w 517255"/>
                <a:gd name="connsiteY48" fmla="*/ 226804 h 513016"/>
                <a:gd name="connsiteX49" fmla="*/ 517256 w 517255"/>
                <a:gd name="connsiteY49" fmla="*/ 283704 h 513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17255" h="513016">
                  <a:moveTo>
                    <a:pt x="499390" y="78436"/>
                  </a:moveTo>
                  <a:lnTo>
                    <a:pt x="468492" y="47539"/>
                  </a:lnTo>
                  <a:lnTo>
                    <a:pt x="468492" y="47539"/>
                  </a:lnTo>
                  <a:lnTo>
                    <a:pt x="437593" y="16641"/>
                  </a:lnTo>
                  <a:cubicBezTo>
                    <a:pt x="426947" y="5996"/>
                    <a:pt x="412507" y="0"/>
                    <a:pt x="397456" y="0"/>
                  </a:cubicBezTo>
                  <a:lnTo>
                    <a:pt x="61" y="0"/>
                  </a:lnTo>
                  <a:lnTo>
                    <a:pt x="61" y="170699"/>
                  </a:lnTo>
                  <a:lnTo>
                    <a:pt x="516032" y="170699"/>
                  </a:lnTo>
                  <a:lnTo>
                    <a:pt x="516032" y="118511"/>
                  </a:lnTo>
                  <a:cubicBezTo>
                    <a:pt x="516032" y="103460"/>
                    <a:pt x="510036" y="89021"/>
                    <a:pt x="499390" y="78375"/>
                  </a:cubicBezTo>
                  <a:lnTo>
                    <a:pt x="499390" y="78375"/>
                  </a:lnTo>
                  <a:close/>
                  <a:moveTo>
                    <a:pt x="459253" y="113861"/>
                  </a:moveTo>
                  <a:lnTo>
                    <a:pt x="56902" y="113861"/>
                  </a:lnTo>
                  <a:lnTo>
                    <a:pt x="56902" y="56961"/>
                  </a:lnTo>
                  <a:lnTo>
                    <a:pt x="332233" y="56961"/>
                  </a:lnTo>
                  <a:lnTo>
                    <a:pt x="332233" y="56716"/>
                  </a:lnTo>
                  <a:lnTo>
                    <a:pt x="450809" y="56716"/>
                  </a:lnTo>
                  <a:cubicBezTo>
                    <a:pt x="453134" y="56716"/>
                    <a:pt x="455215" y="57634"/>
                    <a:pt x="456744" y="59163"/>
                  </a:cubicBezTo>
                  <a:lnTo>
                    <a:pt x="456744" y="59163"/>
                  </a:lnTo>
                  <a:cubicBezTo>
                    <a:pt x="458274" y="60693"/>
                    <a:pt x="459191" y="62773"/>
                    <a:pt x="459191" y="65098"/>
                  </a:cubicBezTo>
                  <a:lnTo>
                    <a:pt x="459191" y="113861"/>
                  </a:lnTo>
                  <a:close/>
                  <a:moveTo>
                    <a:pt x="56779" y="342317"/>
                  </a:moveTo>
                  <a:lnTo>
                    <a:pt x="56779" y="342133"/>
                  </a:lnTo>
                  <a:lnTo>
                    <a:pt x="551" y="342133"/>
                  </a:lnTo>
                  <a:lnTo>
                    <a:pt x="551" y="394444"/>
                  </a:lnTo>
                  <a:cubicBezTo>
                    <a:pt x="551" y="409495"/>
                    <a:pt x="6547" y="423934"/>
                    <a:pt x="17193" y="434580"/>
                  </a:cubicBezTo>
                  <a:lnTo>
                    <a:pt x="48091" y="465477"/>
                  </a:lnTo>
                  <a:lnTo>
                    <a:pt x="48091" y="465477"/>
                  </a:lnTo>
                  <a:lnTo>
                    <a:pt x="78990" y="496375"/>
                  </a:lnTo>
                  <a:cubicBezTo>
                    <a:pt x="89636" y="507020"/>
                    <a:pt x="104075" y="513016"/>
                    <a:pt x="119127" y="513016"/>
                  </a:cubicBezTo>
                  <a:lnTo>
                    <a:pt x="516522" y="513016"/>
                  </a:lnTo>
                  <a:lnTo>
                    <a:pt x="516522" y="342317"/>
                  </a:lnTo>
                  <a:lnTo>
                    <a:pt x="56779" y="342317"/>
                  </a:lnTo>
                  <a:lnTo>
                    <a:pt x="56779" y="342317"/>
                  </a:lnTo>
                  <a:close/>
                  <a:moveTo>
                    <a:pt x="459620" y="456055"/>
                  </a:moveTo>
                  <a:lnTo>
                    <a:pt x="184288" y="456055"/>
                  </a:lnTo>
                  <a:lnTo>
                    <a:pt x="184288" y="456300"/>
                  </a:lnTo>
                  <a:lnTo>
                    <a:pt x="65712" y="456300"/>
                  </a:lnTo>
                  <a:cubicBezTo>
                    <a:pt x="63387" y="456300"/>
                    <a:pt x="61307" y="455382"/>
                    <a:pt x="59777" y="453853"/>
                  </a:cubicBezTo>
                  <a:lnTo>
                    <a:pt x="59777" y="453853"/>
                  </a:lnTo>
                  <a:cubicBezTo>
                    <a:pt x="58248" y="452323"/>
                    <a:pt x="57330" y="450243"/>
                    <a:pt x="57330" y="447918"/>
                  </a:cubicBezTo>
                  <a:lnTo>
                    <a:pt x="57330" y="399278"/>
                  </a:lnTo>
                  <a:lnTo>
                    <a:pt x="459681" y="399278"/>
                  </a:lnTo>
                  <a:lnTo>
                    <a:pt x="459681" y="456178"/>
                  </a:lnTo>
                  <a:lnTo>
                    <a:pt x="459681" y="456055"/>
                  </a:lnTo>
                  <a:close/>
                  <a:moveTo>
                    <a:pt x="517256" y="283704"/>
                  </a:moveTo>
                  <a:lnTo>
                    <a:pt x="0" y="283704"/>
                  </a:lnTo>
                  <a:lnTo>
                    <a:pt x="0" y="226804"/>
                  </a:lnTo>
                  <a:lnTo>
                    <a:pt x="517256" y="226804"/>
                  </a:lnTo>
                  <a:lnTo>
                    <a:pt x="517256" y="283704"/>
                  </a:lnTo>
                  <a:close/>
                </a:path>
              </a:pathLst>
            </a:custGeom>
            <a:solidFill>
              <a:schemeClr val="tx1"/>
            </a:solidFill>
            <a:ln w="0" cap="flat">
              <a:noFill/>
              <a:prstDash val="solid"/>
              <a:miter/>
            </a:ln>
          </p:spPr>
          <p:txBody>
            <a:bodyPr rtlCol="0" anchor="ctr"/>
            <a:lstStyle/>
            <a:p>
              <a:endParaRPr lang="en-US"/>
            </a:p>
          </p:txBody>
        </p:sp>
        <p:sp>
          <p:nvSpPr>
            <p:cNvPr id="278" name="Freeform 277">
              <a:extLst>
                <a:ext uri="{FF2B5EF4-FFF2-40B4-BE49-F238E27FC236}">
                  <a16:creationId xmlns:a16="http://schemas.microsoft.com/office/drawing/2014/main" id="{B404F933-160B-0441-B5AB-EE78CE67DFC0}"/>
                </a:ext>
              </a:extLst>
            </p:cNvPr>
            <p:cNvSpPr/>
            <p:nvPr/>
          </p:nvSpPr>
          <p:spPr>
            <a:xfrm>
              <a:off x="1246413" y="3496216"/>
              <a:ext cx="330987" cy="328813"/>
            </a:xfrm>
            <a:custGeom>
              <a:avLst/>
              <a:gdLst>
                <a:gd name="connsiteX0" fmla="*/ 514992 w 514992"/>
                <a:gd name="connsiteY0" fmla="*/ 118082 h 511609"/>
                <a:gd name="connsiteX1" fmla="*/ 498472 w 514992"/>
                <a:gd name="connsiteY1" fmla="*/ 78130 h 511609"/>
                <a:gd name="connsiteX2" fmla="*/ 467757 w 514992"/>
                <a:gd name="connsiteY2" fmla="*/ 47417 h 511609"/>
                <a:gd name="connsiteX3" fmla="*/ 467757 w 514992"/>
                <a:gd name="connsiteY3" fmla="*/ 47417 h 511609"/>
                <a:gd name="connsiteX4" fmla="*/ 436982 w 514992"/>
                <a:gd name="connsiteY4" fmla="*/ 16641 h 511609"/>
                <a:gd name="connsiteX5" fmla="*/ 397089 w 514992"/>
                <a:gd name="connsiteY5" fmla="*/ 122 h 511609"/>
                <a:gd name="connsiteX6" fmla="*/ 283591 w 514992"/>
                <a:gd name="connsiteY6" fmla="*/ 122 h 511609"/>
                <a:gd name="connsiteX7" fmla="*/ 283591 w 514992"/>
                <a:gd name="connsiteY7" fmla="*/ 228456 h 511609"/>
                <a:gd name="connsiteX8" fmla="*/ 514992 w 514992"/>
                <a:gd name="connsiteY8" fmla="*/ 228456 h 511609"/>
                <a:gd name="connsiteX9" fmla="*/ 514992 w 514992"/>
                <a:gd name="connsiteY9" fmla="*/ 175839 h 511609"/>
                <a:gd name="connsiteX10" fmla="*/ 514992 w 514992"/>
                <a:gd name="connsiteY10" fmla="*/ 175839 h 511609"/>
                <a:gd name="connsiteX11" fmla="*/ 514992 w 514992"/>
                <a:gd name="connsiteY11" fmla="*/ 118021 h 511609"/>
                <a:gd name="connsiteX12" fmla="*/ 514992 w 514992"/>
                <a:gd name="connsiteY12" fmla="*/ 118021 h 511609"/>
                <a:gd name="connsiteX13" fmla="*/ 340187 w 514992"/>
                <a:gd name="connsiteY13" fmla="*/ 56533 h 511609"/>
                <a:gd name="connsiteX14" fmla="*/ 450197 w 514992"/>
                <a:gd name="connsiteY14" fmla="*/ 56533 h 511609"/>
                <a:gd name="connsiteX15" fmla="*/ 456132 w 514992"/>
                <a:gd name="connsiteY15" fmla="*/ 58980 h 511609"/>
                <a:gd name="connsiteX16" fmla="*/ 456132 w 514992"/>
                <a:gd name="connsiteY16" fmla="*/ 58980 h 511609"/>
                <a:gd name="connsiteX17" fmla="*/ 458580 w 514992"/>
                <a:gd name="connsiteY17" fmla="*/ 64853 h 511609"/>
                <a:gd name="connsiteX18" fmla="*/ 458580 w 514992"/>
                <a:gd name="connsiteY18" fmla="*/ 128300 h 511609"/>
                <a:gd name="connsiteX19" fmla="*/ 459069 w 514992"/>
                <a:gd name="connsiteY19" fmla="*/ 171801 h 511609"/>
                <a:gd name="connsiteX20" fmla="*/ 340248 w 514992"/>
                <a:gd name="connsiteY20" fmla="*/ 171801 h 511609"/>
                <a:gd name="connsiteX21" fmla="*/ 340248 w 514992"/>
                <a:gd name="connsiteY21" fmla="*/ 56410 h 511609"/>
                <a:gd name="connsiteX22" fmla="*/ 340248 w 514992"/>
                <a:gd name="connsiteY22" fmla="*/ 56533 h 511609"/>
                <a:gd name="connsiteX23" fmla="*/ 231401 w 514992"/>
                <a:gd name="connsiteY23" fmla="*/ 282358 h 511609"/>
                <a:gd name="connsiteX24" fmla="*/ 0 w 514992"/>
                <a:gd name="connsiteY24" fmla="*/ 282358 h 511609"/>
                <a:gd name="connsiteX25" fmla="*/ 0 w 514992"/>
                <a:gd name="connsiteY25" fmla="*/ 332160 h 511609"/>
                <a:gd name="connsiteX26" fmla="*/ 0 w 514992"/>
                <a:gd name="connsiteY26" fmla="*/ 332160 h 511609"/>
                <a:gd name="connsiteX27" fmla="*/ 0 w 514992"/>
                <a:gd name="connsiteY27" fmla="*/ 392792 h 511609"/>
                <a:gd name="connsiteX28" fmla="*/ 16520 w 514992"/>
                <a:gd name="connsiteY28" fmla="*/ 432745 h 511609"/>
                <a:gd name="connsiteX29" fmla="*/ 47235 w 514992"/>
                <a:gd name="connsiteY29" fmla="*/ 463458 h 511609"/>
                <a:gd name="connsiteX30" fmla="*/ 47235 w 514992"/>
                <a:gd name="connsiteY30" fmla="*/ 463458 h 511609"/>
                <a:gd name="connsiteX31" fmla="*/ 78011 w 514992"/>
                <a:gd name="connsiteY31" fmla="*/ 494233 h 511609"/>
                <a:gd name="connsiteX32" fmla="*/ 117903 w 514992"/>
                <a:gd name="connsiteY32" fmla="*/ 510752 h 511609"/>
                <a:gd name="connsiteX33" fmla="*/ 231401 w 514992"/>
                <a:gd name="connsiteY33" fmla="*/ 510752 h 511609"/>
                <a:gd name="connsiteX34" fmla="*/ 231401 w 514992"/>
                <a:gd name="connsiteY34" fmla="*/ 282358 h 511609"/>
                <a:gd name="connsiteX35" fmla="*/ 231401 w 514992"/>
                <a:gd name="connsiteY35" fmla="*/ 282358 h 511609"/>
                <a:gd name="connsiteX36" fmla="*/ 64795 w 514992"/>
                <a:gd name="connsiteY36" fmla="*/ 454281 h 511609"/>
                <a:gd name="connsiteX37" fmla="*/ 58860 w 514992"/>
                <a:gd name="connsiteY37" fmla="*/ 451834 h 511609"/>
                <a:gd name="connsiteX38" fmla="*/ 58860 w 514992"/>
                <a:gd name="connsiteY38" fmla="*/ 451834 h 511609"/>
                <a:gd name="connsiteX39" fmla="*/ 56412 w 514992"/>
                <a:gd name="connsiteY39" fmla="*/ 445960 h 511609"/>
                <a:gd name="connsiteX40" fmla="*/ 56412 w 514992"/>
                <a:gd name="connsiteY40" fmla="*/ 382514 h 511609"/>
                <a:gd name="connsiteX41" fmla="*/ 55984 w 514992"/>
                <a:gd name="connsiteY41" fmla="*/ 339013 h 511609"/>
                <a:gd name="connsiteX42" fmla="*/ 174805 w 514992"/>
                <a:gd name="connsiteY42" fmla="*/ 339013 h 511609"/>
                <a:gd name="connsiteX43" fmla="*/ 174805 w 514992"/>
                <a:gd name="connsiteY43" fmla="*/ 454403 h 511609"/>
                <a:gd name="connsiteX44" fmla="*/ 64795 w 514992"/>
                <a:gd name="connsiteY44" fmla="*/ 454403 h 511609"/>
                <a:gd name="connsiteX45" fmla="*/ 64795 w 514992"/>
                <a:gd name="connsiteY45" fmla="*/ 454281 h 511609"/>
                <a:gd name="connsiteX46" fmla="*/ 230299 w 514992"/>
                <a:gd name="connsiteY46" fmla="*/ 228089 h 511609"/>
                <a:gd name="connsiteX47" fmla="*/ 0 w 514992"/>
                <a:gd name="connsiteY47" fmla="*/ 228089 h 511609"/>
                <a:gd name="connsiteX48" fmla="*/ 0 w 514992"/>
                <a:gd name="connsiteY48" fmla="*/ 0 h 511609"/>
                <a:gd name="connsiteX49" fmla="*/ 230299 w 514992"/>
                <a:gd name="connsiteY49" fmla="*/ 0 h 511609"/>
                <a:gd name="connsiteX50" fmla="*/ 230299 w 514992"/>
                <a:gd name="connsiteY50" fmla="*/ 228089 h 511609"/>
                <a:gd name="connsiteX51" fmla="*/ 56535 w 514992"/>
                <a:gd name="connsiteY51" fmla="*/ 171495 h 511609"/>
                <a:gd name="connsiteX52" fmla="*/ 173704 w 514992"/>
                <a:gd name="connsiteY52" fmla="*/ 171495 h 511609"/>
                <a:gd name="connsiteX53" fmla="*/ 173704 w 514992"/>
                <a:gd name="connsiteY53" fmla="*/ 56594 h 511609"/>
                <a:gd name="connsiteX54" fmla="*/ 56535 w 514992"/>
                <a:gd name="connsiteY54" fmla="*/ 56594 h 511609"/>
                <a:gd name="connsiteX55" fmla="*/ 56535 w 514992"/>
                <a:gd name="connsiteY55" fmla="*/ 171495 h 511609"/>
                <a:gd name="connsiteX56" fmla="*/ 513830 w 514992"/>
                <a:gd name="connsiteY56" fmla="*/ 511609 h 511609"/>
                <a:gd name="connsiteX57" fmla="*/ 283469 w 514992"/>
                <a:gd name="connsiteY57" fmla="*/ 511609 h 511609"/>
                <a:gd name="connsiteX58" fmla="*/ 283469 w 514992"/>
                <a:gd name="connsiteY58" fmla="*/ 283520 h 511609"/>
                <a:gd name="connsiteX59" fmla="*/ 513830 w 514992"/>
                <a:gd name="connsiteY59" fmla="*/ 283520 h 511609"/>
                <a:gd name="connsiteX60" fmla="*/ 513830 w 514992"/>
                <a:gd name="connsiteY60" fmla="*/ 511609 h 511609"/>
                <a:gd name="connsiteX61" fmla="*/ 513830 w 514992"/>
                <a:gd name="connsiteY61" fmla="*/ 511609 h 511609"/>
                <a:gd name="connsiteX62" fmla="*/ 340065 w 514992"/>
                <a:gd name="connsiteY62" fmla="*/ 455015 h 511609"/>
                <a:gd name="connsiteX63" fmla="*/ 457234 w 514992"/>
                <a:gd name="connsiteY63" fmla="*/ 455015 h 511609"/>
                <a:gd name="connsiteX64" fmla="*/ 457234 w 514992"/>
                <a:gd name="connsiteY64" fmla="*/ 340114 h 511609"/>
                <a:gd name="connsiteX65" fmla="*/ 340065 w 514992"/>
                <a:gd name="connsiteY65" fmla="*/ 340114 h 511609"/>
                <a:gd name="connsiteX66" fmla="*/ 340065 w 514992"/>
                <a:gd name="connsiteY66" fmla="*/ 455015 h 511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514992" h="511609">
                  <a:moveTo>
                    <a:pt x="514992" y="118082"/>
                  </a:moveTo>
                  <a:cubicBezTo>
                    <a:pt x="514992" y="103093"/>
                    <a:pt x="509057" y="88715"/>
                    <a:pt x="498472" y="78130"/>
                  </a:cubicBezTo>
                  <a:lnTo>
                    <a:pt x="467757" y="47417"/>
                  </a:lnTo>
                  <a:lnTo>
                    <a:pt x="467757" y="47417"/>
                  </a:lnTo>
                  <a:lnTo>
                    <a:pt x="436982" y="16641"/>
                  </a:lnTo>
                  <a:cubicBezTo>
                    <a:pt x="426397" y="6057"/>
                    <a:pt x="412018" y="122"/>
                    <a:pt x="397089" y="122"/>
                  </a:cubicBezTo>
                  <a:lnTo>
                    <a:pt x="283591" y="122"/>
                  </a:lnTo>
                  <a:lnTo>
                    <a:pt x="283591" y="228456"/>
                  </a:lnTo>
                  <a:lnTo>
                    <a:pt x="514992" y="228456"/>
                  </a:lnTo>
                  <a:lnTo>
                    <a:pt x="514992" y="175839"/>
                  </a:lnTo>
                  <a:lnTo>
                    <a:pt x="514992" y="175839"/>
                  </a:lnTo>
                  <a:lnTo>
                    <a:pt x="514992" y="118021"/>
                  </a:lnTo>
                  <a:lnTo>
                    <a:pt x="514992" y="118021"/>
                  </a:lnTo>
                  <a:close/>
                  <a:moveTo>
                    <a:pt x="340187" y="56533"/>
                  </a:moveTo>
                  <a:lnTo>
                    <a:pt x="450197" y="56533"/>
                  </a:lnTo>
                  <a:cubicBezTo>
                    <a:pt x="452523" y="56533"/>
                    <a:pt x="454603" y="57450"/>
                    <a:pt x="456132" y="58980"/>
                  </a:cubicBezTo>
                  <a:lnTo>
                    <a:pt x="456132" y="58980"/>
                  </a:lnTo>
                  <a:cubicBezTo>
                    <a:pt x="457662" y="60509"/>
                    <a:pt x="458580" y="62590"/>
                    <a:pt x="458580" y="64853"/>
                  </a:cubicBezTo>
                  <a:lnTo>
                    <a:pt x="458580" y="128300"/>
                  </a:lnTo>
                  <a:cubicBezTo>
                    <a:pt x="458580" y="128300"/>
                    <a:pt x="458947" y="160421"/>
                    <a:pt x="459069" y="171801"/>
                  </a:cubicBezTo>
                  <a:lnTo>
                    <a:pt x="340248" y="171801"/>
                  </a:lnTo>
                  <a:lnTo>
                    <a:pt x="340248" y="56410"/>
                  </a:lnTo>
                  <a:lnTo>
                    <a:pt x="340248" y="56533"/>
                  </a:lnTo>
                  <a:close/>
                  <a:moveTo>
                    <a:pt x="231401" y="282358"/>
                  </a:moveTo>
                  <a:lnTo>
                    <a:pt x="0" y="282358"/>
                  </a:lnTo>
                  <a:lnTo>
                    <a:pt x="0" y="332160"/>
                  </a:lnTo>
                  <a:lnTo>
                    <a:pt x="0" y="332160"/>
                  </a:lnTo>
                  <a:lnTo>
                    <a:pt x="0" y="392792"/>
                  </a:lnTo>
                  <a:cubicBezTo>
                    <a:pt x="0" y="407782"/>
                    <a:pt x="5935" y="422160"/>
                    <a:pt x="16520" y="432745"/>
                  </a:cubicBezTo>
                  <a:lnTo>
                    <a:pt x="47235" y="463458"/>
                  </a:lnTo>
                  <a:lnTo>
                    <a:pt x="47235" y="463458"/>
                  </a:lnTo>
                  <a:lnTo>
                    <a:pt x="78011" y="494233"/>
                  </a:lnTo>
                  <a:cubicBezTo>
                    <a:pt x="88596" y="504818"/>
                    <a:pt x="102974" y="510752"/>
                    <a:pt x="117903" y="510752"/>
                  </a:cubicBezTo>
                  <a:lnTo>
                    <a:pt x="231401" y="510752"/>
                  </a:lnTo>
                  <a:lnTo>
                    <a:pt x="231401" y="282358"/>
                  </a:lnTo>
                  <a:lnTo>
                    <a:pt x="231401" y="282358"/>
                  </a:lnTo>
                  <a:close/>
                  <a:moveTo>
                    <a:pt x="64795" y="454281"/>
                  </a:moveTo>
                  <a:cubicBezTo>
                    <a:pt x="62470" y="454281"/>
                    <a:pt x="60390" y="453363"/>
                    <a:pt x="58860" y="451834"/>
                  </a:cubicBezTo>
                  <a:lnTo>
                    <a:pt x="58860" y="451834"/>
                  </a:lnTo>
                  <a:cubicBezTo>
                    <a:pt x="57330" y="450304"/>
                    <a:pt x="56412" y="448224"/>
                    <a:pt x="56412" y="445960"/>
                  </a:cubicBezTo>
                  <a:lnTo>
                    <a:pt x="56412" y="382514"/>
                  </a:lnTo>
                  <a:cubicBezTo>
                    <a:pt x="56412" y="382514"/>
                    <a:pt x="56106" y="352718"/>
                    <a:pt x="55984" y="339013"/>
                  </a:cubicBezTo>
                  <a:lnTo>
                    <a:pt x="174805" y="339013"/>
                  </a:lnTo>
                  <a:lnTo>
                    <a:pt x="174805" y="454403"/>
                  </a:lnTo>
                  <a:lnTo>
                    <a:pt x="64795" y="454403"/>
                  </a:lnTo>
                  <a:lnTo>
                    <a:pt x="64795" y="454281"/>
                  </a:lnTo>
                  <a:close/>
                  <a:moveTo>
                    <a:pt x="230299" y="228089"/>
                  </a:moveTo>
                  <a:lnTo>
                    <a:pt x="0" y="228089"/>
                  </a:lnTo>
                  <a:lnTo>
                    <a:pt x="0" y="0"/>
                  </a:lnTo>
                  <a:lnTo>
                    <a:pt x="230299" y="0"/>
                  </a:lnTo>
                  <a:lnTo>
                    <a:pt x="230299" y="228089"/>
                  </a:lnTo>
                  <a:close/>
                  <a:moveTo>
                    <a:pt x="56535" y="171495"/>
                  </a:moveTo>
                  <a:lnTo>
                    <a:pt x="173704" y="171495"/>
                  </a:lnTo>
                  <a:lnTo>
                    <a:pt x="173704" y="56594"/>
                  </a:lnTo>
                  <a:lnTo>
                    <a:pt x="56535" y="56594"/>
                  </a:lnTo>
                  <a:lnTo>
                    <a:pt x="56535" y="171495"/>
                  </a:lnTo>
                  <a:close/>
                  <a:moveTo>
                    <a:pt x="513830" y="511609"/>
                  </a:moveTo>
                  <a:lnTo>
                    <a:pt x="283469" y="511609"/>
                  </a:lnTo>
                  <a:lnTo>
                    <a:pt x="283469" y="283520"/>
                  </a:lnTo>
                  <a:lnTo>
                    <a:pt x="513830" y="283520"/>
                  </a:lnTo>
                  <a:lnTo>
                    <a:pt x="513830" y="511609"/>
                  </a:lnTo>
                  <a:lnTo>
                    <a:pt x="513830" y="511609"/>
                  </a:lnTo>
                  <a:close/>
                  <a:moveTo>
                    <a:pt x="340065" y="455015"/>
                  </a:moveTo>
                  <a:lnTo>
                    <a:pt x="457234" y="455015"/>
                  </a:lnTo>
                  <a:lnTo>
                    <a:pt x="457234" y="340114"/>
                  </a:lnTo>
                  <a:lnTo>
                    <a:pt x="340065" y="340114"/>
                  </a:lnTo>
                  <a:lnTo>
                    <a:pt x="340065" y="455015"/>
                  </a:lnTo>
                  <a:close/>
                </a:path>
              </a:pathLst>
            </a:custGeom>
            <a:solidFill>
              <a:schemeClr val="tx1"/>
            </a:solidFill>
            <a:ln w="0" cap="flat">
              <a:noFill/>
              <a:prstDash val="solid"/>
              <a:miter/>
            </a:ln>
          </p:spPr>
          <p:txBody>
            <a:bodyPr rtlCol="0" anchor="ctr"/>
            <a:lstStyle/>
            <a:p>
              <a:endParaRPr lang="en-US"/>
            </a:p>
          </p:txBody>
        </p:sp>
        <p:pic>
          <p:nvPicPr>
            <p:cNvPr id="279" name="Graphic 278">
              <a:extLst>
                <a:ext uri="{FF2B5EF4-FFF2-40B4-BE49-F238E27FC236}">
                  <a16:creationId xmlns:a16="http://schemas.microsoft.com/office/drawing/2014/main" id="{15616026-35C9-1DE6-1877-9FC0548F5FD7}"/>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69391" y="2596391"/>
              <a:ext cx="226730" cy="226730"/>
            </a:xfrm>
            <a:prstGeom prst="rect">
              <a:avLst/>
            </a:prstGeom>
          </p:spPr>
        </p:pic>
      </p:grpSp>
      <p:grpSp>
        <p:nvGrpSpPr>
          <p:cNvPr id="57" name="Group 56">
            <a:extLst>
              <a:ext uri="{FF2B5EF4-FFF2-40B4-BE49-F238E27FC236}">
                <a16:creationId xmlns:a16="http://schemas.microsoft.com/office/drawing/2014/main" id="{E01B6AD3-F49D-DF29-D6DD-632002B28297}"/>
              </a:ext>
            </a:extLst>
          </p:cNvPr>
          <p:cNvGrpSpPr/>
          <p:nvPr/>
        </p:nvGrpSpPr>
        <p:grpSpPr>
          <a:xfrm>
            <a:off x="2877494" y="2240812"/>
            <a:ext cx="1651835" cy="2649453"/>
            <a:chOff x="2877494" y="2240812"/>
            <a:chExt cx="1651835" cy="2649453"/>
          </a:xfrm>
        </p:grpSpPr>
        <p:sp>
          <p:nvSpPr>
            <p:cNvPr id="51" name="TextBox 50">
              <a:extLst>
                <a:ext uri="{FF2B5EF4-FFF2-40B4-BE49-F238E27FC236}">
                  <a16:creationId xmlns:a16="http://schemas.microsoft.com/office/drawing/2014/main" id="{2B47D826-F826-1CE7-482A-A4711CD4FAF3}"/>
                </a:ext>
              </a:extLst>
            </p:cNvPr>
            <p:cNvSpPr txBox="1"/>
            <p:nvPr/>
          </p:nvSpPr>
          <p:spPr>
            <a:xfrm>
              <a:off x="2877494" y="2240812"/>
              <a:ext cx="165183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effectLst/>
                  <a:uLnTx/>
                  <a:uFillTx/>
                  <a:latin typeface="+mj-lt"/>
                  <a:ea typeface="+mn-ea"/>
                  <a:cs typeface="+mn-cs"/>
                </a:rPr>
                <a:t>Backup Software</a:t>
              </a:r>
            </a:p>
          </p:txBody>
        </p:sp>
        <p:sp>
          <p:nvSpPr>
            <p:cNvPr id="58" name="Rounded Rectangle 57">
              <a:extLst>
                <a:ext uri="{FF2B5EF4-FFF2-40B4-BE49-F238E27FC236}">
                  <a16:creationId xmlns:a16="http://schemas.microsoft.com/office/drawing/2014/main" id="{4D958455-0EAA-BE9F-EDA4-6073CEA7C9BD}"/>
                </a:ext>
              </a:extLst>
            </p:cNvPr>
            <p:cNvSpPr/>
            <p:nvPr/>
          </p:nvSpPr>
          <p:spPr>
            <a:xfrm>
              <a:off x="2890225" y="2553479"/>
              <a:ext cx="1586182" cy="2336786"/>
            </a:xfrm>
            <a:prstGeom prst="roundRect">
              <a:avLst>
                <a:gd name="adj" fmla="val 4585"/>
              </a:avLst>
            </a:prstGeom>
            <a:solidFill>
              <a:schemeClr val="bg1"/>
            </a:solidFill>
            <a:ln w="12700">
              <a:noFill/>
              <a:headEnd type="none" w="med" len="med"/>
              <a:tailEnd type="none" w="med" len="med"/>
            </a:ln>
            <a:effectLst>
              <a:outerShdw blurRad="381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182880" rIns="365760" bIns="121920" numCol="1" spcCol="0" rtlCol="0" fromWordArt="0" anchor="t" anchorCtr="0" forceAA="0" compatLnSpc="1">
              <a:prstTxWarp prst="textNoShape">
                <a:avLst/>
              </a:prstTxWarp>
              <a:noAutofit/>
            </a:bodyPr>
            <a:lstStyle/>
            <a:p>
              <a:pPr defTabSz="914377">
                <a:spcAft>
                  <a:spcPts val="800"/>
                </a:spcAft>
              </a:pPr>
              <a:endParaRPr lang="en-US" sz="2400">
                <a:solidFill>
                  <a:srgbClr val="FFFFFF"/>
                </a:solidFill>
                <a:latin typeface="ES Build Neutral"/>
              </a:endParaRPr>
            </a:p>
          </p:txBody>
        </p:sp>
        <p:sp>
          <p:nvSpPr>
            <p:cNvPr id="63" name="TextBox 62">
              <a:extLst>
                <a:ext uri="{FF2B5EF4-FFF2-40B4-BE49-F238E27FC236}">
                  <a16:creationId xmlns:a16="http://schemas.microsoft.com/office/drawing/2014/main" id="{3422B1F3-2312-1191-017F-CB892A2A1345}"/>
                </a:ext>
              </a:extLst>
            </p:cNvPr>
            <p:cNvSpPr txBox="1"/>
            <p:nvPr/>
          </p:nvSpPr>
          <p:spPr>
            <a:xfrm rot="16200000">
              <a:off x="2448132" y="3573854"/>
              <a:ext cx="1508166"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chemeClr val="bg1"/>
                  </a:solidFill>
                  <a:effectLst/>
                  <a:uLnTx/>
                  <a:uFillTx/>
                  <a:latin typeface="+mj-lt"/>
                  <a:ea typeface="+mn-ea"/>
                  <a:cs typeface="+mn-cs"/>
                </a:rPr>
                <a:t>Attack Surface</a:t>
              </a:r>
            </a:p>
          </p:txBody>
        </p:sp>
        <p:sp>
          <p:nvSpPr>
            <p:cNvPr id="193" name="TextBox 192">
              <a:extLst>
                <a:ext uri="{FF2B5EF4-FFF2-40B4-BE49-F238E27FC236}">
                  <a16:creationId xmlns:a16="http://schemas.microsoft.com/office/drawing/2014/main" id="{30592400-3FD7-53CF-A30C-D00B27757774}"/>
                </a:ext>
              </a:extLst>
            </p:cNvPr>
            <p:cNvSpPr txBox="1"/>
            <p:nvPr/>
          </p:nvSpPr>
          <p:spPr>
            <a:xfrm>
              <a:off x="3017935" y="3852075"/>
              <a:ext cx="1408912"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effectLst/>
                  <a:uLnTx/>
                  <a:uFillTx/>
                  <a:latin typeface="+mj-lt"/>
                  <a:ea typeface="+mn-ea"/>
                  <a:cs typeface="+mn-cs"/>
                </a:rPr>
                <a:t>Proxies</a:t>
              </a:r>
            </a:p>
          </p:txBody>
        </p:sp>
        <p:sp>
          <p:nvSpPr>
            <p:cNvPr id="194" name="TextBox 193">
              <a:extLst>
                <a:ext uri="{FF2B5EF4-FFF2-40B4-BE49-F238E27FC236}">
                  <a16:creationId xmlns:a16="http://schemas.microsoft.com/office/drawing/2014/main" id="{BAC8773F-33EA-D5CF-A723-F3F286E484EA}"/>
                </a:ext>
              </a:extLst>
            </p:cNvPr>
            <p:cNvSpPr txBox="1"/>
            <p:nvPr/>
          </p:nvSpPr>
          <p:spPr>
            <a:xfrm>
              <a:off x="3017935" y="3161730"/>
              <a:ext cx="1408912"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effectLst/>
                  <a:uLnTx/>
                  <a:uFillTx/>
                  <a:latin typeface="+mj-lt"/>
                  <a:ea typeface="+mn-ea"/>
                  <a:cs typeface="+mn-cs"/>
                </a:rPr>
                <a:t>Backup Server</a:t>
              </a:r>
            </a:p>
          </p:txBody>
        </p:sp>
        <p:sp>
          <p:nvSpPr>
            <p:cNvPr id="195" name="TextBox 194">
              <a:extLst>
                <a:ext uri="{FF2B5EF4-FFF2-40B4-BE49-F238E27FC236}">
                  <a16:creationId xmlns:a16="http://schemas.microsoft.com/office/drawing/2014/main" id="{6A83F0D8-80B6-5B81-C5C2-E95D648CC0C2}"/>
                </a:ext>
              </a:extLst>
            </p:cNvPr>
            <p:cNvSpPr txBox="1"/>
            <p:nvPr/>
          </p:nvSpPr>
          <p:spPr>
            <a:xfrm>
              <a:off x="3017935" y="4484546"/>
              <a:ext cx="1408912"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effectLst/>
                  <a:uLnTx/>
                  <a:uFillTx/>
                  <a:latin typeface="+mj-lt"/>
                  <a:ea typeface="+mn-ea"/>
                  <a:cs typeface="+mn-cs"/>
                </a:rPr>
                <a:t>Agents</a:t>
              </a:r>
            </a:p>
          </p:txBody>
        </p:sp>
        <p:pic>
          <p:nvPicPr>
            <p:cNvPr id="280" name="Graphic 279">
              <a:extLst>
                <a:ext uri="{FF2B5EF4-FFF2-40B4-BE49-F238E27FC236}">
                  <a16:creationId xmlns:a16="http://schemas.microsoft.com/office/drawing/2014/main" id="{DE032F49-1CB8-E858-C3F0-22D5E01340D9}"/>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180271" y="2596391"/>
              <a:ext cx="226730" cy="226730"/>
            </a:xfrm>
            <a:prstGeom prst="rect">
              <a:avLst/>
            </a:prstGeom>
          </p:spPr>
        </p:pic>
        <p:pic>
          <p:nvPicPr>
            <p:cNvPr id="6" name="Graphic 5">
              <a:extLst>
                <a:ext uri="{FF2B5EF4-FFF2-40B4-BE49-F238E27FC236}">
                  <a16:creationId xmlns:a16="http://schemas.microsoft.com/office/drawing/2014/main" id="{038E2F99-848A-C961-9E35-E773AA27F06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515221" y="4119716"/>
              <a:ext cx="414341" cy="414341"/>
            </a:xfrm>
            <a:prstGeom prst="rect">
              <a:avLst/>
            </a:prstGeom>
          </p:spPr>
        </p:pic>
        <p:pic>
          <p:nvPicPr>
            <p:cNvPr id="20" name="Graphic 19">
              <a:extLst>
                <a:ext uri="{FF2B5EF4-FFF2-40B4-BE49-F238E27FC236}">
                  <a16:creationId xmlns:a16="http://schemas.microsoft.com/office/drawing/2014/main" id="{E8F89BA1-7B6E-CECD-0359-8E33D39213D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515221" y="3431537"/>
              <a:ext cx="414341" cy="414341"/>
            </a:xfrm>
            <a:prstGeom prst="rect">
              <a:avLst/>
            </a:prstGeom>
          </p:spPr>
        </p:pic>
        <p:pic>
          <p:nvPicPr>
            <p:cNvPr id="22" name="Graphic 21">
              <a:extLst>
                <a:ext uri="{FF2B5EF4-FFF2-40B4-BE49-F238E27FC236}">
                  <a16:creationId xmlns:a16="http://schemas.microsoft.com/office/drawing/2014/main" id="{12CAAD04-D44A-B18E-1B9D-977DBB7A72F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517348" y="2798130"/>
              <a:ext cx="410086" cy="410086"/>
            </a:xfrm>
            <a:prstGeom prst="rect">
              <a:avLst/>
            </a:prstGeom>
          </p:spPr>
        </p:pic>
        <p:sp>
          <p:nvSpPr>
            <p:cNvPr id="26" name="Freeform 25">
              <a:extLst>
                <a:ext uri="{FF2B5EF4-FFF2-40B4-BE49-F238E27FC236}">
                  <a16:creationId xmlns:a16="http://schemas.microsoft.com/office/drawing/2014/main" id="{E0658B6A-AAF9-9D26-14AC-46D8EFE67C69}"/>
                </a:ext>
              </a:extLst>
            </p:cNvPr>
            <p:cNvSpPr/>
            <p:nvPr/>
          </p:nvSpPr>
          <p:spPr>
            <a:xfrm>
              <a:off x="2888826" y="2552583"/>
              <a:ext cx="121828" cy="2336786"/>
            </a:xfrm>
            <a:custGeom>
              <a:avLst/>
              <a:gdLst>
                <a:gd name="connsiteX0" fmla="*/ 72726 w 121828"/>
                <a:gd name="connsiteY0" fmla="*/ 0 h 2336786"/>
                <a:gd name="connsiteX1" fmla="*/ 121828 w 121828"/>
                <a:gd name="connsiteY1" fmla="*/ 0 h 2336786"/>
                <a:gd name="connsiteX2" fmla="*/ 121828 w 121828"/>
                <a:gd name="connsiteY2" fmla="*/ 2336786 h 2336786"/>
                <a:gd name="connsiteX3" fmla="*/ 72726 w 121828"/>
                <a:gd name="connsiteY3" fmla="*/ 2336786 h 2336786"/>
                <a:gd name="connsiteX4" fmla="*/ 0 w 121828"/>
                <a:gd name="connsiteY4" fmla="*/ 2264060 h 2336786"/>
                <a:gd name="connsiteX5" fmla="*/ 0 w 121828"/>
                <a:gd name="connsiteY5" fmla="*/ 72726 h 2336786"/>
                <a:gd name="connsiteX6" fmla="*/ 72726 w 121828"/>
                <a:gd name="connsiteY6" fmla="*/ 0 h 2336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28" h="2336786">
                  <a:moveTo>
                    <a:pt x="72726" y="0"/>
                  </a:moveTo>
                  <a:lnTo>
                    <a:pt x="121828" y="0"/>
                  </a:lnTo>
                  <a:lnTo>
                    <a:pt x="121828" y="2336786"/>
                  </a:lnTo>
                  <a:lnTo>
                    <a:pt x="72726" y="2336786"/>
                  </a:lnTo>
                  <a:cubicBezTo>
                    <a:pt x="32561" y="2336786"/>
                    <a:pt x="0" y="2304225"/>
                    <a:pt x="0" y="2264060"/>
                  </a:cubicBezTo>
                  <a:lnTo>
                    <a:pt x="0" y="72726"/>
                  </a:lnTo>
                  <a:cubicBezTo>
                    <a:pt x="0" y="32561"/>
                    <a:pt x="32561" y="0"/>
                    <a:pt x="72726" y="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6000"/>
                </a:lnSpc>
              </a:pPr>
              <a:endParaRPr lang="en-US">
                <a:solidFill>
                  <a:schemeClr val="bg1"/>
                </a:solidFill>
                <a:latin typeface="ES Build" pitchFamily="50" charset="0"/>
                <a:cs typeface="Microsoft Sans Serif" panose="020B0604020202020204" pitchFamily="34" charset="0"/>
              </a:endParaRPr>
            </a:p>
          </p:txBody>
        </p:sp>
      </p:grpSp>
      <p:grpSp>
        <p:nvGrpSpPr>
          <p:cNvPr id="61" name="Group 60">
            <a:extLst>
              <a:ext uri="{FF2B5EF4-FFF2-40B4-BE49-F238E27FC236}">
                <a16:creationId xmlns:a16="http://schemas.microsoft.com/office/drawing/2014/main" id="{E85A5C48-FBF5-F550-C776-F4389390843D}"/>
              </a:ext>
            </a:extLst>
          </p:cNvPr>
          <p:cNvGrpSpPr/>
          <p:nvPr/>
        </p:nvGrpSpPr>
        <p:grpSpPr>
          <a:xfrm>
            <a:off x="4960419" y="2240812"/>
            <a:ext cx="4062228" cy="2647919"/>
            <a:chOff x="4960419" y="2240812"/>
            <a:chExt cx="4062228" cy="2647919"/>
          </a:xfrm>
        </p:grpSpPr>
        <p:sp>
          <p:nvSpPr>
            <p:cNvPr id="25" name="Rounded Rectangle 24">
              <a:extLst>
                <a:ext uri="{FF2B5EF4-FFF2-40B4-BE49-F238E27FC236}">
                  <a16:creationId xmlns:a16="http://schemas.microsoft.com/office/drawing/2014/main" id="{FFEE54E8-6E26-AEDD-300E-27873F79E3F1}"/>
                </a:ext>
              </a:extLst>
            </p:cNvPr>
            <p:cNvSpPr/>
            <p:nvPr/>
          </p:nvSpPr>
          <p:spPr>
            <a:xfrm>
              <a:off x="4960419" y="2548324"/>
              <a:ext cx="1586182" cy="2336786"/>
            </a:xfrm>
            <a:prstGeom prst="roundRect">
              <a:avLst>
                <a:gd name="adj" fmla="val 4585"/>
              </a:avLst>
            </a:prstGeom>
            <a:solidFill>
              <a:schemeClr val="bg1"/>
            </a:solidFill>
            <a:ln w="12700">
              <a:noFill/>
              <a:headEnd type="none" w="med" len="med"/>
              <a:tailEnd type="none" w="med" len="med"/>
            </a:ln>
            <a:effectLst>
              <a:outerShdw blurRad="381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182880" rIns="365760" bIns="121920" numCol="1" spcCol="0" rtlCol="0" fromWordArt="0" anchor="t" anchorCtr="0" forceAA="0" compatLnSpc="1">
              <a:prstTxWarp prst="textNoShape">
                <a:avLst/>
              </a:prstTxWarp>
              <a:noAutofit/>
            </a:bodyPr>
            <a:lstStyle/>
            <a:p>
              <a:pPr defTabSz="914377">
                <a:spcAft>
                  <a:spcPts val="800"/>
                </a:spcAft>
              </a:pPr>
              <a:endParaRPr lang="en-US" sz="2400">
                <a:solidFill>
                  <a:srgbClr val="FFFFFF"/>
                </a:solidFill>
                <a:latin typeface="ES Build Neutral"/>
              </a:endParaRPr>
            </a:p>
          </p:txBody>
        </p:sp>
        <p:sp>
          <p:nvSpPr>
            <p:cNvPr id="236" name="TextBox 235">
              <a:extLst>
                <a:ext uri="{FF2B5EF4-FFF2-40B4-BE49-F238E27FC236}">
                  <a16:creationId xmlns:a16="http://schemas.microsoft.com/office/drawing/2014/main" id="{3C76CBEA-9E2A-4AD2-EA6B-2F45DDE8F424}"/>
                </a:ext>
              </a:extLst>
            </p:cNvPr>
            <p:cNvSpPr txBox="1"/>
            <p:nvPr/>
          </p:nvSpPr>
          <p:spPr>
            <a:xfrm>
              <a:off x="5091935" y="2240812"/>
              <a:ext cx="329633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effectLst/>
                  <a:uLnTx/>
                  <a:uFillTx/>
                  <a:latin typeface="+mj-lt"/>
                  <a:ea typeface="+mn-ea"/>
                  <a:cs typeface="+mn-cs"/>
                </a:rPr>
                <a:t>Backup Storage – 3-2-1 Backup Rule</a:t>
              </a:r>
            </a:p>
          </p:txBody>
        </p:sp>
        <p:sp>
          <p:nvSpPr>
            <p:cNvPr id="237" name="TextBox 236">
              <a:extLst>
                <a:ext uri="{FF2B5EF4-FFF2-40B4-BE49-F238E27FC236}">
                  <a16:creationId xmlns:a16="http://schemas.microsoft.com/office/drawing/2014/main" id="{C0C6DD56-2068-78F0-8652-F7C5AA9179EF}"/>
                </a:ext>
              </a:extLst>
            </p:cNvPr>
            <p:cNvSpPr txBox="1"/>
            <p:nvPr/>
          </p:nvSpPr>
          <p:spPr>
            <a:xfrm>
              <a:off x="6437445" y="4575024"/>
              <a:ext cx="2263952"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effectLst/>
                  <a:uLnTx/>
                  <a:uFillTx/>
                  <a:latin typeface="+mj-lt"/>
                  <a:ea typeface="+mn-ea"/>
                  <a:cs typeface="+mn-cs"/>
                </a:rPr>
                <a:t>Secondary Data Center</a:t>
              </a:r>
            </a:p>
          </p:txBody>
        </p:sp>
        <p:sp>
          <p:nvSpPr>
            <p:cNvPr id="233" name="TextBox 232">
              <a:extLst>
                <a:ext uri="{FF2B5EF4-FFF2-40B4-BE49-F238E27FC236}">
                  <a16:creationId xmlns:a16="http://schemas.microsoft.com/office/drawing/2014/main" id="{2EFDA90E-B69C-6C5C-EB7F-E9EFFB7878A9}"/>
                </a:ext>
              </a:extLst>
            </p:cNvPr>
            <p:cNvSpPr txBox="1"/>
            <p:nvPr/>
          </p:nvSpPr>
          <p:spPr>
            <a:xfrm rot="16200000">
              <a:off x="4076885" y="3672870"/>
              <a:ext cx="2019751"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solidFill>
                    <a:schemeClr val="accent2"/>
                  </a:solidFill>
                  <a:effectLst/>
                  <a:uLnTx/>
                  <a:uFillTx/>
                  <a:latin typeface="+mj-lt"/>
                  <a:ea typeface="+mn-ea"/>
                  <a:cs typeface="+mn-cs"/>
                </a:rPr>
                <a:t>Minimal attack surface</a:t>
              </a:r>
            </a:p>
          </p:txBody>
        </p:sp>
        <p:sp>
          <p:nvSpPr>
            <p:cNvPr id="234" name="TextBox 233">
              <a:extLst>
                <a:ext uri="{FF2B5EF4-FFF2-40B4-BE49-F238E27FC236}">
                  <a16:creationId xmlns:a16="http://schemas.microsoft.com/office/drawing/2014/main" id="{CD1BAAC8-F0E1-3D2B-4563-C98498B0C051}"/>
                </a:ext>
              </a:extLst>
            </p:cNvPr>
            <p:cNvSpPr txBox="1"/>
            <p:nvPr/>
          </p:nvSpPr>
          <p:spPr>
            <a:xfrm>
              <a:off x="5348499" y="3592266"/>
              <a:ext cx="1098394" cy="415498"/>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effectLst/>
                  <a:uLnTx/>
                  <a:uFillTx/>
                  <a:latin typeface="+mj-lt"/>
                  <a:ea typeface="+mn-ea"/>
                  <a:cs typeface="+mn-cs"/>
                </a:rPr>
                <a:t>Primary </a:t>
              </a:r>
              <a:br>
                <a:rPr kumimoji="0" lang="en-US" sz="1000" b="1" i="0" u="none" strike="noStrike" kern="1200" cap="none" spc="0" normalizeH="0" baseline="0" noProof="0">
                  <a:ln>
                    <a:noFill/>
                  </a:ln>
                  <a:effectLst/>
                  <a:uLnTx/>
                  <a:uFillTx/>
                  <a:latin typeface="+mj-lt"/>
                  <a:ea typeface="+mn-ea"/>
                  <a:cs typeface="+mn-cs"/>
                </a:rPr>
              </a:br>
              <a:r>
                <a:rPr kumimoji="0" lang="en-US" sz="1000" b="1" i="0" u="none" strike="noStrike" kern="1200" cap="none" spc="0" normalizeH="0" baseline="0" noProof="0">
                  <a:ln>
                    <a:noFill/>
                  </a:ln>
                  <a:effectLst/>
                  <a:uLnTx/>
                  <a:uFillTx/>
                  <a:latin typeface="+mj-lt"/>
                  <a:ea typeface="+mn-ea"/>
                  <a:cs typeface="+mn-cs"/>
                </a:rPr>
                <a:t>Data Center</a:t>
              </a:r>
            </a:p>
          </p:txBody>
        </p:sp>
        <p:sp>
          <p:nvSpPr>
            <p:cNvPr id="235" name="TextBox 234">
              <a:extLst>
                <a:ext uri="{FF2B5EF4-FFF2-40B4-BE49-F238E27FC236}">
                  <a16:creationId xmlns:a16="http://schemas.microsoft.com/office/drawing/2014/main" id="{999EEA62-E444-095E-1C46-6399940477DE}"/>
                </a:ext>
              </a:extLst>
            </p:cNvPr>
            <p:cNvSpPr txBox="1"/>
            <p:nvPr/>
          </p:nvSpPr>
          <p:spPr>
            <a:xfrm>
              <a:off x="5351348" y="4243411"/>
              <a:ext cx="1144239" cy="400110"/>
            </a:xfrm>
            <a:prstGeom prst="rect">
              <a:avLst/>
            </a:prstGeom>
            <a:noFill/>
            <a:ln>
              <a:noFill/>
            </a:ln>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accent2"/>
                  </a:solidFill>
                  <a:effectLst/>
                  <a:uLnTx/>
                  <a:uFillTx/>
                  <a:latin typeface="+mj-lt"/>
                  <a:ea typeface="+mn-ea"/>
                  <a:cs typeface="+mn-cs"/>
                </a:rPr>
                <a:t>Zero access</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noProof="0">
                  <a:ln>
                    <a:noFill/>
                  </a:ln>
                  <a:solidFill>
                    <a:schemeClr val="accent2"/>
                  </a:solidFill>
                  <a:effectLst/>
                  <a:uLnTx/>
                  <a:uFillTx/>
                  <a:latin typeface="+mj-lt"/>
                  <a:ea typeface="+mn-ea"/>
                  <a:cs typeface="+mn-cs"/>
                </a:rPr>
                <a:t>to root and OS</a:t>
              </a:r>
            </a:p>
          </p:txBody>
        </p:sp>
        <p:pic>
          <p:nvPicPr>
            <p:cNvPr id="281" name="Graphic 280">
              <a:extLst>
                <a:ext uri="{FF2B5EF4-FFF2-40B4-BE49-F238E27FC236}">
                  <a16:creationId xmlns:a16="http://schemas.microsoft.com/office/drawing/2014/main" id="{73A1B826-FF4E-D83A-AB17-A14700E7DC8D}"/>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014503" y="2596391"/>
              <a:ext cx="226730" cy="226730"/>
            </a:xfrm>
            <a:prstGeom prst="rect">
              <a:avLst/>
            </a:prstGeom>
          </p:spPr>
        </p:pic>
        <p:sp>
          <p:nvSpPr>
            <p:cNvPr id="252" name="Rectangle 251">
              <a:extLst>
                <a:ext uri="{FF2B5EF4-FFF2-40B4-BE49-F238E27FC236}">
                  <a16:creationId xmlns:a16="http://schemas.microsoft.com/office/drawing/2014/main" id="{E6C5FBE9-40C8-9D38-CD78-798AFA17A8E5}"/>
                </a:ext>
              </a:extLst>
            </p:cNvPr>
            <p:cNvSpPr/>
            <p:nvPr/>
          </p:nvSpPr>
          <p:spPr>
            <a:xfrm>
              <a:off x="5344308" y="3161730"/>
              <a:ext cx="889973" cy="27196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1"/>
                  </a:solidFill>
                  <a:effectLst/>
                  <a:uLnTx/>
                  <a:uFillTx/>
                  <a:latin typeface="+mj-lt"/>
                  <a:ea typeface="+mn-ea"/>
                  <a:cs typeface="+mn-cs"/>
                </a:rPr>
                <a:t>Target storage</a:t>
              </a:r>
            </a:p>
          </p:txBody>
        </p:sp>
        <p:sp>
          <p:nvSpPr>
            <p:cNvPr id="42" name="Freeform 41">
              <a:extLst>
                <a:ext uri="{FF2B5EF4-FFF2-40B4-BE49-F238E27FC236}">
                  <a16:creationId xmlns:a16="http://schemas.microsoft.com/office/drawing/2014/main" id="{EE4837A6-273A-F525-8040-11E2BE26DEF6}"/>
                </a:ext>
              </a:extLst>
            </p:cNvPr>
            <p:cNvSpPr/>
            <p:nvPr/>
          </p:nvSpPr>
          <p:spPr>
            <a:xfrm>
              <a:off x="5623074" y="2845391"/>
              <a:ext cx="332441" cy="329184"/>
            </a:xfrm>
            <a:custGeom>
              <a:avLst/>
              <a:gdLst>
                <a:gd name="connsiteX0" fmla="*/ 499390 w 517255"/>
                <a:gd name="connsiteY0" fmla="*/ 78436 h 513016"/>
                <a:gd name="connsiteX1" fmla="*/ 468492 w 517255"/>
                <a:gd name="connsiteY1" fmla="*/ 47539 h 513016"/>
                <a:gd name="connsiteX2" fmla="*/ 468492 w 517255"/>
                <a:gd name="connsiteY2" fmla="*/ 47539 h 513016"/>
                <a:gd name="connsiteX3" fmla="*/ 437593 w 517255"/>
                <a:gd name="connsiteY3" fmla="*/ 16641 h 513016"/>
                <a:gd name="connsiteX4" fmla="*/ 397456 w 517255"/>
                <a:gd name="connsiteY4" fmla="*/ 0 h 513016"/>
                <a:gd name="connsiteX5" fmla="*/ 61 w 517255"/>
                <a:gd name="connsiteY5" fmla="*/ 0 h 513016"/>
                <a:gd name="connsiteX6" fmla="*/ 61 w 517255"/>
                <a:gd name="connsiteY6" fmla="*/ 170699 h 513016"/>
                <a:gd name="connsiteX7" fmla="*/ 516032 w 517255"/>
                <a:gd name="connsiteY7" fmla="*/ 170699 h 513016"/>
                <a:gd name="connsiteX8" fmla="*/ 516032 w 517255"/>
                <a:gd name="connsiteY8" fmla="*/ 118511 h 513016"/>
                <a:gd name="connsiteX9" fmla="*/ 499390 w 517255"/>
                <a:gd name="connsiteY9" fmla="*/ 78375 h 513016"/>
                <a:gd name="connsiteX10" fmla="*/ 499390 w 517255"/>
                <a:gd name="connsiteY10" fmla="*/ 78375 h 513016"/>
                <a:gd name="connsiteX11" fmla="*/ 459253 w 517255"/>
                <a:gd name="connsiteY11" fmla="*/ 113861 h 513016"/>
                <a:gd name="connsiteX12" fmla="*/ 56902 w 517255"/>
                <a:gd name="connsiteY12" fmla="*/ 113861 h 513016"/>
                <a:gd name="connsiteX13" fmla="*/ 56902 w 517255"/>
                <a:gd name="connsiteY13" fmla="*/ 56961 h 513016"/>
                <a:gd name="connsiteX14" fmla="*/ 332233 w 517255"/>
                <a:gd name="connsiteY14" fmla="*/ 56961 h 513016"/>
                <a:gd name="connsiteX15" fmla="*/ 332233 w 517255"/>
                <a:gd name="connsiteY15" fmla="*/ 56716 h 513016"/>
                <a:gd name="connsiteX16" fmla="*/ 450809 w 517255"/>
                <a:gd name="connsiteY16" fmla="*/ 56716 h 513016"/>
                <a:gd name="connsiteX17" fmla="*/ 456744 w 517255"/>
                <a:gd name="connsiteY17" fmla="*/ 59163 h 513016"/>
                <a:gd name="connsiteX18" fmla="*/ 456744 w 517255"/>
                <a:gd name="connsiteY18" fmla="*/ 59163 h 513016"/>
                <a:gd name="connsiteX19" fmla="*/ 459191 w 517255"/>
                <a:gd name="connsiteY19" fmla="*/ 65098 h 513016"/>
                <a:gd name="connsiteX20" fmla="*/ 459191 w 517255"/>
                <a:gd name="connsiteY20" fmla="*/ 113861 h 513016"/>
                <a:gd name="connsiteX21" fmla="*/ 56779 w 517255"/>
                <a:gd name="connsiteY21" fmla="*/ 342317 h 513016"/>
                <a:gd name="connsiteX22" fmla="*/ 56779 w 517255"/>
                <a:gd name="connsiteY22" fmla="*/ 342133 h 513016"/>
                <a:gd name="connsiteX23" fmla="*/ 551 w 517255"/>
                <a:gd name="connsiteY23" fmla="*/ 342133 h 513016"/>
                <a:gd name="connsiteX24" fmla="*/ 551 w 517255"/>
                <a:gd name="connsiteY24" fmla="*/ 394444 h 513016"/>
                <a:gd name="connsiteX25" fmla="*/ 17193 w 517255"/>
                <a:gd name="connsiteY25" fmla="*/ 434580 h 513016"/>
                <a:gd name="connsiteX26" fmla="*/ 48091 w 517255"/>
                <a:gd name="connsiteY26" fmla="*/ 465477 h 513016"/>
                <a:gd name="connsiteX27" fmla="*/ 48091 w 517255"/>
                <a:gd name="connsiteY27" fmla="*/ 465477 h 513016"/>
                <a:gd name="connsiteX28" fmla="*/ 78990 w 517255"/>
                <a:gd name="connsiteY28" fmla="*/ 496375 h 513016"/>
                <a:gd name="connsiteX29" fmla="*/ 119127 w 517255"/>
                <a:gd name="connsiteY29" fmla="*/ 513016 h 513016"/>
                <a:gd name="connsiteX30" fmla="*/ 516522 w 517255"/>
                <a:gd name="connsiteY30" fmla="*/ 513016 h 513016"/>
                <a:gd name="connsiteX31" fmla="*/ 516522 w 517255"/>
                <a:gd name="connsiteY31" fmla="*/ 342317 h 513016"/>
                <a:gd name="connsiteX32" fmla="*/ 56779 w 517255"/>
                <a:gd name="connsiteY32" fmla="*/ 342317 h 513016"/>
                <a:gd name="connsiteX33" fmla="*/ 56779 w 517255"/>
                <a:gd name="connsiteY33" fmla="*/ 342317 h 513016"/>
                <a:gd name="connsiteX34" fmla="*/ 459620 w 517255"/>
                <a:gd name="connsiteY34" fmla="*/ 456055 h 513016"/>
                <a:gd name="connsiteX35" fmla="*/ 184288 w 517255"/>
                <a:gd name="connsiteY35" fmla="*/ 456055 h 513016"/>
                <a:gd name="connsiteX36" fmla="*/ 184288 w 517255"/>
                <a:gd name="connsiteY36" fmla="*/ 456300 h 513016"/>
                <a:gd name="connsiteX37" fmla="*/ 65712 w 517255"/>
                <a:gd name="connsiteY37" fmla="*/ 456300 h 513016"/>
                <a:gd name="connsiteX38" fmla="*/ 59777 w 517255"/>
                <a:gd name="connsiteY38" fmla="*/ 453853 h 513016"/>
                <a:gd name="connsiteX39" fmla="*/ 59777 w 517255"/>
                <a:gd name="connsiteY39" fmla="*/ 453853 h 513016"/>
                <a:gd name="connsiteX40" fmla="*/ 57330 w 517255"/>
                <a:gd name="connsiteY40" fmla="*/ 447918 h 513016"/>
                <a:gd name="connsiteX41" fmla="*/ 57330 w 517255"/>
                <a:gd name="connsiteY41" fmla="*/ 399278 h 513016"/>
                <a:gd name="connsiteX42" fmla="*/ 459681 w 517255"/>
                <a:gd name="connsiteY42" fmla="*/ 399278 h 513016"/>
                <a:gd name="connsiteX43" fmla="*/ 459681 w 517255"/>
                <a:gd name="connsiteY43" fmla="*/ 456178 h 513016"/>
                <a:gd name="connsiteX44" fmla="*/ 459681 w 517255"/>
                <a:gd name="connsiteY44" fmla="*/ 456055 h 513016"/>
                <a:gd name="connsiteX45" fmla="*/ 517256 w 517255"/>
                <a:gd name="connsiteY45" fmla="*/ 283704 h 513016"/>
                <a:gd name="connsiteX46" fmla="*/ 0 w 517255"/>
                <a:gd name="connsiteY46" fmla="*/ 283704 h 513016"/>
                <a:gd name="connsiteX47" fmla="*/ 0 w 517255"/>
                <a:gd name="connsiteY47" fmla="*/ 226804 h 513016"/>
                <a:gd name="connsiteX48" fmla="*/ 517256 w 517255"/>
                <a:gd name="connsiteY48" fmla="*/ 226804 h 513016"/>
                <a:gd name="connsiteX49" fmla="*/ 517256 w 517255"/>
                <a:gd name="connsiteY49" fmla="*/ 283704 h 513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17255" h="513016">
                  <a:moveTo>
                    <a:pt x="499390" y="78436"/>
                  </a:moveTo>
                  <a:lnTo>
                    <a:pt x="468492" y="47539"/>
                  </a:lnTo>
                  <a:lnTo>
                    <a:pt x="468492" y="47539"/>
                  </a:lnTo>
                  <a:lnTo>
                    <a:pt x="437593" y="16641"/>
                  </a:lnTo>
                  <a:cubicBezTo>
                    <a:pt x="426947" y="5996"/>
                    <a:pt x="412507" y="0"/>
                    <a:pt x="397456" y="0"/>
                  </a:cubicBezTo>
                  <a:lnTo>
                    <a:pt x="61" y="0"/>
                  </a:lnTo>
                  <a:lnTo>
                    <a:pt x="61" y="170699"/>
                  </a:lnTo>
                  <a:lnTo>
                    <a:pt x="516032" y="170699"/>
                  </a:lnTo>
                  <a:lnTo>
                    <a:pt x="516032" y="118511"/>
                  </a:lnTo>
                  <a:cubicBezTo>
                    <a:pt x="516032" y="103460"/>
                    <a:pt x="510036" y="89021"/>
                    <a:pt x="499390" y="78375"/>
                  </a:cubicBezTo>
                  <a:lnTo>
                    <a:pt x="499390" y="78375"/>
                  </a:lnTo>
                  <a:close/>
                  <a:moveTo>
                    <a:pt x="459253" y="113861"/>
                  </a:moveTo>
                  <a:lnTo>
                    <a:pt x="56902" y="113861"/>
                  </a:lnTo>
                  <a:lnTo>
                    <a:pt x="56902" y="56961"/>
                  </a:lnTo>
                  <a:lnTo>
                    <a:pt x="332233" y="56961"/>
                  </a:lnTo>
                  <a:lnTo>
                    <a:pt x="332233" y="56716"/>
                  </a:lnTo>
                  <a:lnTo>
                    <a:pt x="450809" y="56716"/>
                  </a:lnTo>
                  <a:cubicBezTo>
                    <a:pt x="453134" y="56716"/>
                    <a:pt x="455215" y="57634"/>
                    <a:pt x="456744" y="59163"/>
                  </a:cubicBezTo>
                  <a:lnTo>
                    <a:pt x="456744" y="59163"/>
                  </a:lnTo>
                  <a:cubicBezTo>
                    <a:pt x="458274" y="60693"/>
                    <a:pt x="459191" y="62773"/>
                    <a:pt x="459191" y="65098"/>
                  </a:cubicBezTo>
                  <a:lnTo>
                    <a:pt x="459191" y="113861"/>
                  </a:lnTo>
                  <a:close/>
                  <a:moveTo>
                    <a:pt x="56779" y="342317"/>
                  </a:moveTo>
                  <a:lnTo>
                    <a:pt x="56779" y="342133"/>
                  </a:lnTo>
                  <a:lnTo>
                    <a:pt x="551" y="342133"/>
                  </a:lnTo>
                  <a:lnTo>
                    <a:pt x="551" y="394444"/>
                  </a:lnTo>
                  <a:cubicBezTo>
                    <a:pt x="551" y="409495"/>
                    <a:pt x="6547" y="423934"/>
                    <a:pt x="17193" y="434580"/>
                  </a:cubicBezTo>
                  <a:lnTo>
                    <a:pt x="48091" y="465477"/>
                  </a:lnTo>
                  <a:lnTo>
                    <a:pt x="48091" y="465477"/>
                  </a:lnTo>
                  <a:lnTo>
                    <a:pt x="78990" y="496375"/>
                  </a:lnTo>
                  <a:cubicBezTo>
                    <a:pt x="89636" y="507020"/>
                    <a:pt x="104075" y="513016"/>
                    <a:pt x="119127" y="513016"/>
                  </a:cubicBezTo>
                  <a:lnTo>
                    <a:pt x="516522" y="513016"/>
                  </a:lnTo>
                  <a:lnTo>
                    <a:pt x="516522" y="342317"/>
                  </a:lnTo>
                  <a:lnTo>
                    <a:pt x="56779" y="342317"/>
                  </a:lnTo>
                  <a:lnTo>
                    <a:pt x="56779" y="342317"/>
                  </a:lnTo>
                  <a:close/>
                  <a:moveTo>
                    <a:pt x="459620" y="456055"/>
                  </a:moveTo>
                  <a:lnTo>
                    <a:pt x="184288" y="456055"/>
                  </a:lnTo>
                  <a:lnTo>
                    <a:pt x="184288" y="456300"/>
                  </a:lnTo>
                  <a:lnTo>
                    <a:pt x="65712" y="456300"/>
                  </a:lnTo>
                  <a:cubicBezTo>
                    <a:pt x="63387" y="456300"/>
                    <a:pt x="61307" y="455382"/>
                    <a:pt x="59777" y="453853"/>
                  </a:cubicBezTo>
                  <a:lnTo>
                    <a:pt x="59777" y="453853"/>
                  </a:lnTo>
                  <a:cubicBezTo>
                    <a:pt x="58248" y="452323"/>
                    <a:pt x="57330" y="450243"/>
                    <a:pt x="57330" y="447918"/>
                  </a:cubicBezTo>
                  <a:lnTo>
                    <a:pt x="57330" y="399278"/>
                  </a:lnTo>
                  <a:lnTo>
                    <a:pt x="459681" y="399278"/>
                  </a:lnTo>
                  <a:lnTo>
                    <a:pt x="459681" y="456178"/>
                  </a:lnTo>
                  <a:lnTo>
                    <a:pt x="459681" y="456055"/>
                  </a:lnTo>
                  <a:close/>
                  <a:moveTo>
                    <a:pt x="517256" y="283704"/>
                  </a:moveTo>
                  <a:lnTo>
                    <a:pt x="0" y="283704"/>
                  </a:lnTo>
                  <a:lnTo>
                    <a:pt x="0" y="226804"/>
                  </a:lnTo>
                  <a:lnTo>
                    <a:pt x="517256" y="226804"/>
                  </a:lnTo>
                  <a:lnTo>
                    <a:pt x="517256" y="283704"/>
                  </a:lnTo>
                  <a:close/>
                </a:path>
              </a:pathLst>
            </a:custGeom>
            <a:solidFill>
              <a:schemeClr val="tx1"/>
            </a:solidFill>
            <a:ln w="0" cap="flat">
              <a:noFill/>
              <a:prstDash val="solid"/>
              <a:miter/>
            </a:ln>
          </p:spPr>
          <p:txBody>
            <a:bodyPr rtlCol="0" anchor="ctr"/>
            <a:lstStyle/>
            <a:p>
              <a:endParaRPr lang="en-US"/>
            </a:p>
          </p:txBody>
        </p:sp>
        <p:sp>
          <p:nvSpPr>
            <p:cNvPr id="223" name="Rounded Rectangle 222">
              <a:extLst>
                <a:ext uri="{FF2B5EF4-FFF2-40B4-BE49-F238E27FC236}">
                  <a16:creationId xmlns:a16="http://schemas.microsoft.com/office/drawing/2014/main" id="{F0A32A38-9BD6-0AA1-CC4D-413E8706B7E6}"/>
                </a:ext>
              </a:extLst>
            </p:cNvPr>
            <p:cNvSpPr/>
            <p:nvPr/>
          </p:nvSpPr>
          <p:spPr>
            <a:xfrm>
              <a:off x="6665120" y="2553735"/>
              <a:ext cx="2357527" cy="2334996"/>
            </a:xfrm>
            <a:prstGeom prst="roundRect">
              <a:avLst>
                <a:gd name="adj" fmla="val 3124"/>
              </a:avLst>
            </a:prstGeom>
            <a:solidFill>
              <a:schemeClr val="bg1"/>
            </a:solidFill>
            <a:ln w="12700">
              <a:noFill/>
              <a:headEnd type="none" w="med" len="med"/>
              <a:tailEnd type="none" w="med" len="med"/>
            </a:ln>
            <a:effectLst>
              <a:outerShdw blurRad="381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182880" rIns="365760" bIns="121920" numCol="1" spcCol="0" rtlCol="0" fromWordArt="0" anchor="t" anchorCtr="0" forceAA="0" compatLnSpc="1">
              <a:prstTxWarp prst="textNoShape">
                <a:avLst/>
              </a:prstTxWarp>
              <a:noAutofit/>
            </a:bodyPr>
            <a:lstStyle/>
            <a:p>
              <a:pPr defTabSz="914377">
                <a:spcAft>
                  <a:spcPts val="800"/>
                </a:spcAft>
              </a:pPr>
              <a:endParaRPr lang="en-US" sz="2400">
                <a:solidFill>
                  <a:schemeClr val="tx1"/>
                </a:solidFill>
                <a:latin typeface="ES Build Neutral"/>
              </a:endParaRPr>
            </a:p>
          </p:txBody>
        </p:sp>
        <p:sp>
          <p:nvSpPr>
            <p:cNvPr id="238" name="TextBox 237">
              <a:extLst>
                <a:ext uri="{FF2B5EF4-FFF2-40B4-BE49-F238E27FC236}">
                  <a16:creationId xmlns:a16="http://schemas.microsoft.com/office/drawing/2014/main" id="{95B3BF39-983A-DEF3-C903-37A04592CC1B}"/>
                </a:ext>
              </a:extLst>
            </p:cNvPr>
            <p:cNvSpPr txBox="1"/>
            <p:nvPr/>
          </p:nvSpPr>
          <p:spPr>
            <a:xfrm>
              <a:off x="6741436" y="3542994"/>
              <a:ext cx="1056596" cy="400110"/>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effectLst/>
                  <a:uLnTx/>
                  <a:uFillTx/>
                  <a:latin typeface="+mj-lt"/>
                  <a:ea typeface="+mn-ea"/>
                  <a:cs typeface="+mn-cs"/>
                </a:rPr>
                <a:t>Service Provider</a:t>
              </a:r>
            </a:p>
          </p:txBody>
        </p:sp>
        <p:sp>
          <p:nvSpPr>
            <p:cNvPr id="246" name="TextBox 245">
              <a:extLst>
                <a:ext uri="{FF2B5EF4-FFF2-40B4-BE49-F238E27FC236}">
                  <a16:creationId xmlns:a16="http://schemas.microsoft.com/office/drawing/2014/main" id="{83E1E2D1-0C9B-1064-6BF2-997B3750C2AF}"/>
                </a:ext>
              </a:extLst>
            </p:cNvPr>
            <p:cNvSpPr txBox="1"/>
            <p:nvPr/>
          </p:nvSpPr>
          <p:spPr>
            <a:xfrm>
              <a:off x="6741436" y="2826045"/>
              <a:ext cx="771172" cy="400110"/>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effectLst/>
                  <a:uLnTx/>
                  <a:uFillTx/>
                  <a:latin typeface="+mj-lt"/>
                  <a:ea typeface="+mn-ea"/>
                  <a:cs typeface="+mn-cs"/>
                </a:rPr>
                <a:t>Public Cloud</a:t>
              </a:r>
            </a:p>
          </p:txBody>
        </p:sp>
        <p:sp>
          <p:nvSpPr>
            <p:cNvPr id="265" name="Freeform 264">
              <a:extLst>
                <a:ext uri="{FF2B5EF4-FFF2-40B4-BE49-F238E27FC236}">
                  <a16:creationId xmlns:a16="http://schemas.microsoft.com/office/drawing/2014/main" id="{9DFF8407-FEEA-D36B-BCCC-DC25994B5153}"/>
                </a:ext>
              </a:extLst>
            </p:cNvPr>
            <p:cNvSpPr/>
            <p:nvPr/>
          </p:nvSpPr>
          <p:spPr>
            <a:xfrm>
              <a:off x="8055194" y="3609066"/>
              <a:ext cx="956979" cy="303714"/>
            </a:xfrm>
            <a:custGeom>
              <a:avLst/>
              <a:gdLst>
                <a:gd name="connsiteX0" fmla="*/ 0 w 881161"/>
                <a:gd name="connsiteY0" fmla="*/ 0 h 306391"/>
                <a:gd name="connsiteX1" fmla="*/ 881161 w 881161"/>
                <a:gd name="connsiteY1" fmla="*/ 0 h 306391"/>
                <a:gd name="connsiteX2" fmla="*/ 881161 w 881161"/>
                <a:gd name="connsiteY2" fmla="*/ 271966 h 306391"/>
                <a:gd name="connsiteX3" fmla="*/ 811567 w 881161"/>
                <a:gd name="connsiteY3" fmla="*/ 271966 h 306391"/>
                <a:gd name="connsiteX4" fmla="*/ 811567 w 881161"/>
                <a:gd name="connsiteY4" fmla="*/ 305545 h 306391"/>
                <a:gd name="connsiteX5" fmla="*/ 646482 w 881161"/>
                <a:gd name="connsiteY5" fmla="*/ 305545 h 306391"/>
                <a:gd name="connsiteX6" fmla="*/ 646482 w 881161"/>
                <a:gd name="connsiteY6" fmla="*/ 271966 h 306391"/>
                <a:gd name="connsiteX7" fmla="*/ 220402 w 881161"/>
                <a:gd name="connsiteY7" fmla="*/ 271966 h 306391"/>
                <a:gd name="connsiteX8" fmla="*/ 220402 w 881161"/>
                <a:gd name="connsiteY8" fmla="*/ 306391 h 306391"/>
                <a:gd name="connsiteX9" fmla="*/ 55317 w 881161"/>
                <a:gd name="connsiteY9" fmla="*/ 306391 h 306391"/>
                <a:gd name="connsiteX10" fmla="*/ 55317 w 881161"/>
                <a:gd name="connsiteY10" fmla="*/ 271966 h 306391"/>
                <a:gd name="connsiteX11" fmla="*/ 0 w 881161"/>
                <a:gd name="connsiteY11" fmla="*/ 271966 h 306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1161" h="306391">
                  <a:moveTo>
                    <a:pt x="0" y="0"/>
                  </a:moveTo>
                  <a:lnTo>
                    <a:pt x="881161" y="0"/>
                  </a:lnTo>
                  <a:lnTo>
                    <a:pt x="881161" y="271966"/>
                  </a:lnTo>
                  <a:lnTo>
                    <a:pt x="811567" y="271966"/>
                  </a:lnTo>
                  <a:lnTo>
                    <a:pt x="811567" y="305545"/>
                  </a:lnTo>
                  <a:lnTo>
                    <a:pt x="646482" y="305545"/>
                  </a:lnTo>
                  <a:lnTo>
                    <a:pt x="646482" y="271966"/>
                  </a:lnTo>
                  <a:lnTo>
                    <a:pt x="220402" y="271966"/>
                  </a:lnTo>
                  <a:lnTo>
                    <a:pt x="220402" y="306391"/>
                  </a:lnTo>
                  <a:lnTo>
                    <a:pt x="55317" y="306391"/>
                  </a:lnTo>
                  <a:lnTo>
                    <a:pt x="55317" y="271966"/>
                  </a:lnTo>
                  <a:lnTo>
                    <a:pt x="0" y="271966"/>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1"/>
                  </a:solidFill>
                  <a:effectLst/>
                  <a:uLnTx/>
                  <a:uFillTx/>
                  <a:latin typeface="+mj-lt"/>
                  <a:ea typeface="+mn-ea"/>
                  <a:cs typeface="+mn-cs"/>
                </a:rPr>
                <a:t>Target storage</a:t>
              </a:r>
            </a:p>
          </p:txBody>
        </p:sp>
        <p:sp>
          <p:nvSpPr>
            <p:cNvPr id="266" name="Freeform 265">
              <a:extLst>
                <a:ext uri="{FF2B5EF4-FFF2-40B4-BE49-F238E27FC236}">
                  <a16:creationId xmlns:a16="http://schemas.microsoft.com/office/drawing/2014/main" id="{2B3A8B4C-7B3D-911C-AF02-FCAEC30BC5BA}"/>
                </a:ext>
              </a:extLst>
            </p:cNvPr>
            <p:cNvSpPr/>
            <p:nvPr/>
          </p:nvSpPr>
          <p:spPr>
            <a:xfrm>
              <a:off x="8056584" y="4327187"/>
              <a:ext cx="955589" cy="303714"/>
            </a:xfrm>
            <a:custGeom>
              <a:avLst/>
              <a:gdLst>
                <a:gd name="connsiteX0" fmla="*/ 0 w 881161"/>
                <a:gd name="connsiteY0" fmla="*/ 0 h 306391"/>
                <a:gd name="connsiteX1" fmla="*/ 881161 w 881161"/>
                <a:gd name="connsiteY1" fmla="*/ 0 h 306391"/>
                <a:gd name="connsiteX2" fmla="*/ 881161 w 881161"/>
                <a:gd name="connsiteY2" fmla="*/ 271966 h 306391"/>
                <a:gd name="connsiteX3" fmla="*/ 811567 w 881161"/>
                <a:gd name="connsiteY3" fmla="*/ 271966 h 306391"/>
                <a:gd name="connsiteX4" fmla="*/ 811567 w 881161"/>
                <a:gd name="connsiteY4" fmla="*/ 305545 h 306391"/>
                <a:gd name="connsiteX5" fmla="*/ 646482 w 881161"/>
                <a:gd name="connsiteY5" fmla="*/ 305545 h 306391"/>
                <a:gd name="connsiteX6" fmla="*/ 646482 w 881161"/>
                <a:gd name="connsiteY6" fmla="*/ 271966 h 306391"/>
                <a:gd name="connsiteX7" fmla="*/ 220402 w 881161"/>
                <a:gd name="connsiteY7" fmla="*/ 271966 h 306391"/>
                <a:gd name="connsiteX8" fmla="*/ 220402 w 881161"/>
                <a:gd name="connsiteY8" fmla="*/ 306391 h 306391"/>
                <a:gd name="connsiteX9" fmla="*/ 55317 w 881161"/>
                <a:gd name="connsiteY9" fmla="*/ 306391 h 306391"/>
                <a:gd name="connsiteX10" fmla="*/ 55317 w 881161"/>
                <a:gd name="connsiteY10" fmla="*/ 271966 h 306391"/>
                <a:gd name="connsiteX11" fmla="*/ 0 w 881161"/>
                <a:gd name="connsiteY11" fmla="*/ 271966 h 306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1161" h="306391">
                  <a:moveTo>
                    <a:pt x="0" y="0"/>
                  </a:moveTo>
                  <a:lnTo>
                    <a:pt x="881161" y="0"/>
                  </a:lnTo>
                  <a:lnTo>
                    <a:pt x="881161" y="271966"/>
                  </a:lnTo>
                  <a:lnTo>
                    <a:pt x="811567" y="271966"/>
                  </a:lnTo>
                  <a:lnTo>
                    <a:pt x="811567" y="305545"/>
                  </a:lnTo>
                  <a:lnTo>
                    <a:pt x="646482" y="305545"/>
                  </a:lnTo>
                  <a:lnTo>
                    <a:pt x="646482" y="271966"/>
                  </a:lnTo>
                  <a:lnTo>
                    <a:pt x="220402" y="271966"/>
                  </a:lnTo>
                  <a:lnTo>
                    <a:pt x="220402" y="306391"/>
                  </a:lnTo>
                  <a:lnTo>
                    <a:pt x="55317" y="306391"/>
                  </a:lnTo>
                  <a:lnTo>
                    <a:pt x="55317" y="271966"/>
                  </a:lnTo>
                  <a:lnTo>
                    <a:pt x="0" y="271966"/>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1"/>
                  </a:solidFill>
                  <a:effectLst/>
                  <a:uLnTx/>
                  <a:uFillTx/>
                  <a:latin typeface="+mj-lt"/>
                  <a:ea typeface="+mn-ea"/>
                  <a:cs typeface="+mn-cs"/>
                </a:rPr>
                <a:t>Target storage</a:t>
              </a:r>
            </a:p>
          </p:txBody>
        </p:sp>
        <p:pic>
          <p:nvPicPr>
            <p:cNvPr id="282" name="Graphic 281">
              <a:extLst>
                <a:ext uri="{FF2B5EF4-FFF2-40B4-BE49-F238E27FC236}">
                  <a16:creationId xmlns:a16="http://schemas.microsoft.com/office/drawing/2014/main" id="{BF7945C7-56DA-8A0F-4572-7730D0C521EA}"/>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730173" y="2596391"/>
              <a:ext cx="226730" cy="226730"/>
            </a:xfrm>
            <a:prstGeom prst="rect">
              <a:avLst/>
            </a:prstGeom>
          </p:spPr>
        </p:pic>
        <p:sp>
          <p:nvSpPr>
            <p:cNvPr id="43" name="Freeform 42">
              <a:extLst>
                <a:ext uri="{FF2B5EF4-FFF2-40B4-BE49-F238E27FC236}">
                  <a16:creationId xmlns:a16="http://schemas.microsoft.com/office/drawing/2014/main" id="{CC8E30FA-D465-B889-3A81-41D8D6C9CB51}"/>
                </a:ext>
              </a:extLst>
            </p:cNvPr>
            <p:cNvSpPr/>
            <p:nvPr/>
          </p:nvSpPr>
          <p:spPr>
            <a:xfrm>
              <a:off x="7724143" y="3584982"/>
              <a:ext cx="332441" cy="329184"/>
            </a:xfrm>
            <a:custGeom>
              <a:avLst/>
              <a:gdLst>
                <a:gd name="connsiteX0" fmla="*/ 499390 w 517255"/>
                <a:gd name="connsiteY0" fmla="*/ 78436 h 513016"/>
                <a:gd name="connsiteX1" fmla="*/ 468492 w 517255"/>
                <a:gd name="connsiteY1" fmla="*/ 47539 h 513016"/>
                <a:gd name="connsiteX2" fmla="*/ 468492 w 517255"/>
                <a:gd name="connsiteY2" fmla="*/ 47539 h 513016"/>
                <a:gd name="connsiteX3" fmla="*/ 437593 w 517255"/>
                <a:gd name="connsiteY3" fmla="*/ 16641 h 513016"/>
                <a:gd name="connsiteX4" fmla="*/ 397456 w 517255"/>
                <a:gd name="connsiteY4" fmla="*/ 0 h 513016"/>
                <a:gd name="connsiteX5" fmla="*/ 61 w 517255"/>
                <a:gd name="connsiteY5" fmla="*/ 0 h 513016"/>
                <a:gd name="connsiteX6" fmla="*/ 61 w 517255"/>
                <a:gd name="connsiteY6" fmla="*/ 170699 h 513016"/>
                <a:gd name="connsiteX7" fmla="*/ 516032 w 517255"/>
                <a:gd name="connsiteY7" fmla="*/ 170699 h 513016"/>
                <a:gd name="connsiteX8" fmla="*/ 516032 w 517255"/>
                <a:gd name="connsiteY8" fmla="*/ 118511 h 513016"/>
                <a:gd name="connsiteX9" fmla="*/ 499390 w 517255"/>
                <a:gd name="connsiteY9" fmla="*/ 78375 h 513016"/>
                <a:gd name="connsiteX10" fmla="*/ 499390 w 517255"/>
                <a:gd name="connsiteY10" fmla="*/ 78375 h 513016"/>
                <a:gd name="connsiteX11" fmla="*/ 459253 w 517255"/>
                <a:gd name="connsiteY11" fmla="*/ 113861 h 513016"/>
                <a:gd name="connsiteX12" fmla="*/ 56902 w 517255"/>
                <a:gd name="connsiteY12" fmla="*/ 113861 h 513016"/>
                <a:gd name="connsiteX13" fmla="*/ 56902 w 517255"/>
                <a:gd name="connsiteY13" fmla="*/ 56961 h 513016"/>
                <a:gd name="connsiteX14" fmla="*/ 332233 w 517255"/>
                <a:gd name="connsiteY14" fmla="*/ 56961 h 513016"/>
                <a:gd name="connsiteX15" fmla="*/ 332233 w 517255"/>
                <a:gd name="connsiteY15" fmla="*/ 56716 h 513016"/>
                <a:gd name="connsiteX16" fmla="*/ 450809 w 517255"/>
                <a:gd name="connsiteY16" fmla="*/ 56716 h 513016"/>
                <a:gd name="connsiteX17" fmla="*/ 456744 w 517255"/>
                <a:gd name="connsiteY17" fmla="*/ 59163 h 513016"/>
                <a:gd name="connsiteX18" fmla="*/ 456744 w 517255"/>
                <a:gd name="connsiteY18" fmla="*/ 59163 h 513016"/>
                <a:gd name="connsiteX19" fmla="*/ 459191 w 517255"/>
                <a:gd name="connsiteY19" fmla="*/ 65098 h 513016"/>
                <a:gd name="connsiteX20" fmla="*/ 459191 w 517255"/>
                <a:gd name="connsiteY20" fmla="*/ 113861 h 513016"/>
                <a:gd name="connsiteX21" fmla="*/ 56779 w 517255"/>
                <a:gd name="connsiteY21" fmla="*/ 342317 h 513016"/>
                <a:gd name="connsiteX22" fmla="*/ 56779 w 517255"/>
                <a:gd name="connsiteY22" fmla="*/ 342133 h 513016"/>
                <a:gd name="connsiteX23" fmla="*/ 551 w 517255"/>
                <a:gd name="connsiteY23" fmla="*/ 342133 h 513016"/>
                <a:gd name="connsiteX24" fmla="*/ 551 w 517255"/>
                <a:gd name="connsiteY24" fmla="*/ 394444 h 513016"/>
                <a:gd name="connsiteX25" fmla="*/ 17193 w 517255"/>
                <a:gd name="connsiteY25" fmla="*/ 434580 h 513016"/>
                <a:gd name="connsiteX26" fmla="*/ 48091 w 517255"/>
                <a:gd name="connsiteY26" fmla="*/ 465477 h 513016"/>
                <a:gd name="connsiteX27" fmla="*/ 48091 w 517255"/>
                <a:gd name="connsiteY27" fmla="*/ 465477 h 513016"/>
                <a:gd name="connsiteX28" fmla="*/ 78990 w 517255"/>
                <a:gd name="connsiteY28" fmla="*/ 496375 h 513016"/>
                <a:gd name="connsiteX29" fmla="*/ 119127 w 517255"/>
                <a:gd name="connsiteY29" fmla="*/ 513016 h 513016"/>
                <a:gd name="connsiteX30" fmla="*/ 516522 w 517255"/>
                <a:gd name="connsiteY30" fmla="*/ 513016 h 513016"/>
                <a:gd name="connsiteX31" fmla="*/ 516522 w 517255"/>
                <a:gd name="connsiteY31" fmla="*/ 342317 h 513016"/>
                <a:gd name="connsiteX32" fmla="*/ 56779 w 517255"/>
                <a:gd name="connsiteY32" fmla="*/ 342317 h 513016"/>
                <a:gd name="connsiteX33" fmla="*/ 56779 w 517255"/>
                <a:gd name="connsiteY33" fmla="*/ 342317 h 513016"/>
                <a:gd name="connsiteX34" fmla="*/ 459620 w 517255"/>
                <a:gd name="connsiteY34" fmla="*/ 456055 h 513016"/>
                <a:gd name="connsiteX35" fmla="*/ 184288 w 517255"/>
                <a:gd name="connsiteY35" fmla="*/ 456055 h 513016"/>
                <a:gd name="connsiteX36" fmla="*/ 184288 w 517255"/>
                <a:gd name="connsiteY36" fmla="*/ 456300 h 513016"/>
                <a:gd name="connsiteX37" fmla="*/ 65712 w 517255"/>
                <a:gd name="connsiteY37" fmla="*/ 456300 h 513016"/>
                <a:gd name="connsiteX38" fmla="*/ 59777 w 517255"/>
                <a:gd name="connsiteY38" fmla="*/ 453853 h 513016"/>
                <a:gd name="connsiteX39" fmla="*/ 59777 w 517255"/>
                <a:gd name="connsiteY39" fmla="*/ 453853 h 513016"/>
                <a:gd name="connsiteX40" fmla="*/ 57330 w 517255"/>
                <a:gd name="connsiteY40" fmla="*/ 447918 h 513016"/>
                <a:gd name="connsiteX41" fmla="*/ 57330 w 517255"/>
                <a:gd name="connsiteY41" fmla="*/ 399278 h 513016"/>
                <a:gd name="connsiteX42" fmla="*/ 459681 w 517255"/>
                <a:gd name="connsiteY42" fmla="*/ 399278 h 513016"/>
                <a:gd name="connsiteX43" fmla="*/ 459681 w 517255"/>
                <a:gd name="connsiteY43" fmla="*/ 456178 h 513016"/>
                <a:gd name="connsiteX44" fmla="*/ 459681 w 517255"/>
                <a:gd name="connsiteY44" fmla="*/ 456055 h 513016"/>
                <a:gd name="connsiteX45" fmla="*/ 517256 w 517255"/>
                <a:gd name="connsiteY45" fmla="*/ 283704 h 513016"/>
                <a:gd name="connsiteX46" fmla="*/ 0 w 517255"/>
                <a:gd name="connsiteY46" fmla="*/ 283704 h 513016"/>
                <a:gd name="connsiteX47" fmla="*/ 0 w 517255"/>
                <a:gd name="connsiteY47" fmla="*/ 226804 h 513016"/>
                <a:gd name="connsiteX48" fmla="*/ 517256 w 517255"/>
                <a:gd name="connsiteY48" fmla="*/ 226804 h 513016"/>
                <a:gd name="connsiteX49" fmla="*/ 517256 w 517255"/>
                <a:gd name="connsiteY49" fmla="*/ 283704 h 513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17255" h="513016">
                  <a:moveTo>
                    <a:pt x="499390" y="78436"/>
                  </a:moveTo>
                  <a:lnTo>
                    <a:pt x="468492" y="47539"/>
                  </a:lnTo>
                  <a:lnTo>
                    <a:pt x="468492" y="47539"/>
                  </a:lnTo>
                  <a:lnTo>
                    <a:pt x="437593" y="16641"/>
                  </a:lnTo>
                  <a:cubicBezTo>
                    <a:pt x="426947" y="5996"/>
                    <a:pt x="412507" y="0"/>
                    <a:pt x="397456" y="0"/>
                  </a:cubicBezTo>
                  <a:lnTo>
                    <a:pt x="61" y="0"/>
                  </a:lnTo>
                  <a:lnTo>
                    <a:pt x="61" y="170699"/>
                  </a:lnTo>
                  <a:lnTo>
                    <a:pt x="516032" y="170699"/>
                  </a:lnTo>
                  <a:lnTo>
                    <a:pt x="516032" y="118511"/>
                  </a:lnTo>
                  <a:cubicBezTo>
                    <a:pt x="516032" y="103460"/>
                    <a:pt x="510036" y="89021"/>
                    <a:pt x="499390" y="78375"/>
                  </a:cubicBezTo>
                  <a:lnTo>
                    <a:pt x="499390" y="78375"/>
                  </a:lnTo>
                  <a:close/>
                  <a:moveTo>
                    <a:pt x="459253" y="113861"/>
                  </a:moveTo>
                  <a:lnTo>
                    <a:pt x="56902" y="113861"/>
                  </a:lnTo>
                  <a:lnTo>
                    <a:pt x="56902" y="56961"/>
                  </a:lnTo>
                  <a:lnTo>
                    <a:pt x="332233" y="56961"/>
                  </a:lnTo>
                  <a:lnTo>
                    <a:pt x="332233" y="56716"/>
                  </a:lnTo>
                  <a:lnTo>
                    <a:pt x="450809" y="56716"/>
                  </a:lnTo>
                  <a:cubicBezTo>
                    <a:pt x="453134" y="56716"/>
                    <a:pt x="455215" y="57634"/>
                    <a:pt x="456744" y="59163"/>
                  </a:cubicBezTo>
                  <a:lnTo>
                    <a:pt x="456744" y="59163"/>
                  </a:lnTo>
                  <a:cubicBezTo>
                    <a:pt x="458274" y="60693"/>
                    <a:pt x="459191" y="62773"/>
                    <a:pt x="459191" y="65098"/>
                  </a:cubicBezTo>
                  <a:lnTo>
                    <a:pt x="459191" y="113861"/>
                  </a:lnTo>
                  <a:close/>
                  <a:moveTo>
                    <a:pt x="56779" y="342317"/>
                  </a:moveTo>
                  <a:lnTo>
                    <a:pt x="56779" y="342133"/>
                  </a:lnTo>
                  <a:lnTo>
                    <a:pt x="551" y="342133"/>
                  </a:lnTo>
                  <a:lnTo>
                    <a:pt x="551" y="394444"/>
                  </a:lnTo>
                  <a:cubicBezTo>
                    <a:pt x="551" y="409495"/>
                    <a:pt x="6547" y="423934"/>
                    <a:pt x="17193" y="434580"/>
                  </a:cubicBezTo>
                  <a:lnTo>
                    <a:pt x="48091" y="465477"/>
                  </a:lnTo>
                  <a:lnTo>
                    <a:pt x="48091" y="465477"/>
                  </a:lnTo>
                  <a:lnTo>
                    <a:pt x="78990" y="496375"/>
                  </a:lnTo>
                  <a:cubicBezTo>
                    <a:pt x="89636" y="507020"/>
                    <a:pt x="104075" y="513016"/>
                    <a:pt x="119127" y="513016"/>
                  </a:cubicBezTo>
                  <a:lnTo>
                    <a:pt x="516522" y="513016"/>
                  </a:lnTo>
                  <a:lnTo>
                    <a:pt x="516522" y="342317"/>
                  </a:lnTo>
                  <a:lnTo>
                    <a:pt x="56779" y="342317"/>
                  </a:lnTo>
                  <a:lnTo>
                    <a:pt x="56779" y="342317"/>
                  </a:lnTo>
                  <a:close/>
                  <a:moveTo>
                    <a:pt x="459620" y="456055"/>
                  </a:moveTo>
                  <a:lnTo>
                    <a:pt x="184288" y="456055"/>
                  </a:lnTo>
                  <a:lnTo>
                    <a:pt x="184288" y="456300"/>
                  </a:lnTo>
                  <a:lnTo>
                    <a:pt x="65712" y="456300"/>
                  </a:lnTo>
                  <a:cubicBezTo>
                    <a:pt x="63387" y="456300"/>
                    <a:pt x="61307" y="455382"/>
                    <a:pt x="59777" y="453853"/>
                  </a:cubicBezTo>
                  <a:lnTo>
                    <a:pt x="59777" y="453853"/>
                  </a:lnTo>
                  <a:cubicBezTo>
                    <a:pt x="58248" y="452323"/>
                    <a:pt x="57330" y="450243"/>
                    <a:pt x="57330" y="447918"/>
                  </a:cubicBezTo>
                  <a:lnTo>
                    <a:pt x="57330" y="399278"/>
                  </a:lnTo>
                  <a:lnTo>
                    <a:pt x="459681" y="399278"/>
                  </a:lnTo>
                  <a:lnTo>
                    <a:pt x="459681" y="456178"/>
                  </a:lnTo>
                  <a:lnTo>
                    <a:pt x="459681" y="456055"/>
                  </a:lnTo>
                  <a:close/>
                  <a:moveTo>
                    <a:pt x="517256" y="283704"/>
                  </a:moveTo>
                  <a:lnTo>
                    <a:pt x="0" y="283704"/>
                  </a:lnTo>
                  <a:lnTo>
                    <a:pt x="0" y="226804"/>
                  </a:lnTo>
                  <a:lnTo>
                    <a:pt x="517256" y="226804"/>
                  </a:lnTo>
                  <a:lnTo>
                    <a:pt x="517256" y="283704"/>
                  </a:lnTo>
                  <a:close/>
                </a:path>
              </a:pathLst>
            </a:custGeom>
            <a:solidFill>
              <a:schemeClr val="tx1"/>
            </a:solidFill>
            <a:ln w="0" cap="flat">
              <a:noFill/>
              <a:prstDash val="solid"/>
              <a:miter/>
            </a:ln>
          </p:spPr>
          <p:txBody>
            <a:bodyPr rtlCol="0" anchor="ctr"/>
            <a:lstStyle/>
            <a:p>
              <a:endParaRPr lang="en-US"/>
            </a:p>
          </p:txBody>
        </p:sp>
        <p:sp>
          <p:nvSpPr>
            <p:cNvPr id="45" name="Freeform 44">
              <a:extLst>
                <a:ext uri="{FF2B5EF4-FFF2-40B4-BE49-F238E27FC236}">
                  <a16:creationId xmlns:a16="http://schemas.microsoft.com/office/drawing/2014/main" id="{C1031F8C-BC32-DA2F-0B76-C033107A5D37}"/>
                </a:ext>
              </a:extLst>
            </p:cNvPr>
            <p:cNvSpPr/>
            <p:nvPr/>
          </p:nvSpPr>
          <p:spPr>
            <a:xfrm>
              <a:off x="7724143" y="4289649"/>
              <a:ext cx="332441" cy="329184"/>
            </a:xfrm>
            <a:custGeom>
              <a:avLst/>
              <a:gdLst>
                <a:gd name="connsiteX0" fmla="*/ 499390 w 517255"/>
                <a:gd name="connsiteY0" fmla="*/ 78436 h 513016"/>
                <a:gd name="connsiteX1" fmla="*/ 468492 w 517255"/>
                <a:gd name="connsiteY1" fmla="*/ 47539 h 513016"/>
                <a:gd name="connsiteX2" fmla="*/ 468492 w 517255"/>
                <a:gd name="connsiteY2" fmla="*/ 47539 h 513016"/>
                <a:gd name="connsiteX3" fmla="*/ 437593 w 517255"/>
                <a:gd name="connsiteY3" fmla="*/ 16641 h 513016"/>
                <a:gd name="connsiteX4" fmla="*/ 397456 w 517255"/>
                <a:gd name="connsiteY4" fmla="*/ 0 h 513016"/>
                <a:gd name="connsiteX5" fmla="*/ 61 w 517255"/>
                <a:gd name="connsiteY5" fmla="*/ 0 h 513016"/>
                <a:gd name="connsiteX6" fmla="*/ 61 w 517255"/>
                <a:gd name="connsiteY6" fmla="*/ 170699 h 513016"/>
                <a:gd name="connsiteX7" fmla="*/ 516032 w 517255"/>
                <a:gd name="connsiteY7" fmla="*/ 170699 h 513016"/>
                <a:gd name="connsiteX8" fmla="*/ 516032 w 517255"/>
                <a:gd name="connsiteY8" fmla="*/ 118511 h 513016"/>
                <a:gd name="connsiteX9" fmla="*/ 499390 w 517255"/>
                <a:gd name="connsiteY9" fmla="*/ 78375 h 513016"/>
                <a:gd name="connsiteX10" fmla="*/ 499390 w 517255"/>
                <a:gd name="connsiteY10" fmla="*/ 78375 h 513016"/>
                <a:gd name="connsiteX11" fmla="*/ 459253 w 517255"/>
                <a:gd name="connsiteY11" fmla="*/ 113861 h 513016"/>
                <a:gd name="connsiteX12" fmla="*/ 56902 w 517255"/>
                <a:gd name="connsiteY12" fmla="*/ 113861 h 513016"/>
                <a:gd name="connsiteX13" fmla="*/ 56902 w 517255"/>
                <a:gd name="connsiteY13" fmla="*/ 56961 h 513016"/>
                <a:gd name="connsiteX14" fmla="*/ 332233 w 517255"/>
                <a:gd name="connsiteY14" fmla="*/ 56961 h 513016"/>
                <a:gd name="connsiteX15" fmla="*/ 332233 w 517255"/>
                <a:gd name="connsiteY15" fmla="*/ 56716 h 513016"/>
                <a:gd name="connsiteX16" fmla="*/ 450809 w 517255"/>
                <a:gd name="connsiteY16" fmla="*/ 56716 h 513016"/>
                <a:gd name="connsiteX17" fmla="*/ 456744 w 517255"/>
                <a:gd name="connsiteY17" fmla="*/ 59163 h 513016"/>
                <a:gd name="connsiteX18" fmla="*/ 456744 w 517255"/>
                <a:gd name="connsiteY18" fmla="*/ 59163 h 513016"/>
                <a:gd name="connsiteX19" fmla="*/ 459191 w 517255"/>
                <a:gd name="connsiteY19" fmla="*/ 65098 h 513016"/>
                <a:gd name="connsiteX20" fmla="*/ 459191 w 517255"/>
                <a:gd name="connsiteY20" fmla="*/ 113861 h 513016"/>
                <a:gd name="connsiteX21" fmla="*/ 56779 w 517255"/>
                <a:gd name="connsiteY21" fmla="*/ 342317 h 513016"/>
                <a:gd name="connsiteX22" fmla="*/ 56779 w 517255"/>
                <a:gd name="connsiteY22" fmla="*/ 342133 h 513016"/>
                <a:gd name="connsiteX23" fmla="*/ 551 w 517255"/>
                <a:gd name="connsiteY23" fmla="*/ 342133 h 513016"/>
                <a:gd name="connsiteX24" fmla="*/ 551 w 517255"/>
                <a:gd name="connsiteY24" fmla="*/ 394444 h 513016"/>
                <a:gd name="connsiteX25" fmla="*/ 17193 w 517255"/>
                <a:gd name="connsiteY25" fmla="*/ 434580 h 513016"/>
                <a:gd name="connsiteX26" fmla="*/ 48091 w 517255"/>
                <a:gd name="connsiteY26" fmla="*/ 465477 h 513016"/>
                <a:gd name="connsiteX27" fmla="*/ 48091 w 517255"/>
                <a:gd name="connsiteY27" fmla="*/ 465477 h 513016"/>
                <a:gd name="connsiteX28" fmla="*/ 78990 w 517255"/>
                <a:gd name="connsiteY28" fmla="*/ 496375 h 513016"/>
                <a:gd name="connsiteX29" fmla="*/ 119127 w 517255"/>
                <a:gd name="connsiteY29" fmla="*/ 513016 h 513016"/>
                <a:gd name="connsiteX30" fmla="*/ 516522 w 517255"/>
                <a:gd name="connsiteY30" fmla="*/ 513016 h 513016"/>
                <a:gd name="connsiteX31" fmla="*/ 516522 w 517255"/>
                <a:gd name="connsiteY31" fmla="*/ 342317 h 513016"/>
                <a:gd name="connsiteX32" fmla="*/ 56779 w 517255"/>
                <a:gd name="connsiteY32" fmla="*/ 342317 h 513016"/>
                <a:gd name="connsiteX33" fmla="*/ 56779 w 517255"/>
                <a:gd name="connsiteY33" fmla="*/ 342317 h 513016"/>
                <a:gd name="connsiteX34" fmla="*/ 459620 w 517255"/>
                <a:gd name="connsiteY34" fmla="*/ 456055 h 513016"/>
                <a:gd name="connsiteX35" fmla="*/ 184288 w 517255"/>
                <a:gd name="connsiteY35" fmla="*/ 456055 h 513016"/>
                <a:gd name="connsiteX36" fmla="*/ 184288 w 517255"/>
                <a:gd name="connsiteY36" fmla="*/ 456300 h 513016"/>
                <a:gd name="connsiteX37" fmla="*/ 65712 w 517255"/>
                <a:gd name="connsiteY37" fmla="*/ 456300 h 513016"/>
                <a:gd name="connsiteX38" fmla="*/ 59777 w 517255"/>
                <a:gd name="connsiteY38" fmla="*/ 453853 h 513016"/>
                <a:gd name="connsiteX39" fmla="*/ 59777 w 517255"/>
                <a:gd name="connsiteY39" fmla="*/ 453853 h 513016"/>
                <a:gd name="connsiteX40" fmla="*/ 57330 w 517255"/>
                <a:gd name="connsiteY40" fmla="*/ 447918 h 513016"/>
                <a:gd name="connsiteX41" fmla="*/ 57330 w 517255"/>
                <a:gd name="connsiteY41" fmla="*/ 399278 h 513016"/>
                <a:gd name="connsiteX42" fmla="*/ 459681 w 517255"/>
                <a:gd name="connsiteY42" fmla="*/ 399278 h 513016"/>
                <a:gd name="connsiteX43" fmla="*/ 459681 w 517255"/>
                <a:gd name="connsiteY43" fmla="*/ 456178 h 513016"/>
                <a:gd name="connsiteX44" fmla="*/ 459681 w 517255"/>
                <a:gd name="connsiteY44" fmla="*/ 456055 h 513016"/>
                <a:gd name="connsiteX45" fmla="*/ 517256 w 517255"/>
                <a:gd name="connsiteY45" fmla="*/ 283704 h 513016"/>
                <a:gd name="connsiteX46" fmla="*/ 0 w 517255"/>
                <a:gd name="connsiteY46" fmla="*/ 283704 h 513016"/>
                <a:gd name="connsiteX47" fmla="*/ 0 w 517255"/>
                <a:gd name="connsiteY47" fmla="*/ 226804 h 513016"/>
                <a:gd name="connsiteX48" fmla="*/ 517256 w 517255"/>
                <a:gd name="connsiteY48" fmla="*/ 226804 h 513016"/>
                <a:gd name="connsiteX49" fmla="*/ 517256 w 517255"/>
                <a:gd name="connsiteY49" fmla="*/ 283704 h 513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17255" h="513016">
                  <a:moveTo>
                    <a:pt x="499390" y="78436"/>
                  </a:moveTo>
                  <a:lnTo>
                    <a:pt x="468492" y="47539"/>
                  </a:lnTo>
                  <a:lnTo>
                    <a:pt x="468492" y="47539"/>
                  </a:lnTo>
                  <a:lnTo>
                    <a:pt x="437593" y="16641"/>
                  </a:lnTo>
                  <a:cubicBezTo>
                    <a:pt x="426947" y="5996"/>
                    <a:pt x="412507" y="0"/>
                    <a:pt x="397456" y="0"/>
                  </a:cubicBezTo>
                  <a:lnTo>
                    <a:pt x="61" y="0"/>
                  </a:lnTo>
                  <a:lnTo>
                    <a:pt x="61" y="170699"/>
                  </a:lnTo>
                  <a:lnTo>
                    <a:pt x="516032" y="170699"/>
                  </a:lnTo>
                  <a:lnTo>
                    <a:pt x="516032" y="118511"/>
                  </a:lnTo>
                  <a:cubicBezTo>
                    <a:pt x="516032" y="103460"/>
                    <a:pt x="510036" y="89021"/>
                    <a:pt x="499390" y="78375"/>
                  </a:cubicBezTo>
                  <a:lnTo>
                    <a:pt x="499390" y="78375"/>
                  </a:lnTo>
                  <a:close/>
                  <a:moveTo>
                    <a:pt x="459253" y="113861"/>
                  </a:moveTo>
                  <a:lnTo>
                    <a:pt x="56902" y="113861"/>
                  </a:lnTo>
                  <a:lnTo>
                    <a:pt x="56902" y="56961"/>
                  </a:lnTo>
                  <a:lnTo>
                    <a:pt x="332233" y="56961"/>
                  </a:lnTo>
                  <a:lnTo>
                    <a:pt x="332233" y="56716"/>
                  </a:lnTo>
                  <a:lnTo>
                    <a:pt x="450809" y="56716"/>
                  </a:lnTo>
                  <a:cubicBezTo>
                    <a:pt x="453134" y="56716"/>
                    <a:pt x="455215" y="57634"/>
                    <a:pt x="456744" y="59163"/>
                  </a:cubicBezTo>
                  <a:lnTo>
                    <a:pt x="456744" y="59163"/>
                  </a:lnTo>
                  <a:cubicBezTo>
                    <a:pt x="458274" y="60693"/>
                    <a:pt x="459191" y="62773"/>
                    <a:pt x="459191" y="65098"/>
                  </a:cubicBezTo>
                  <a:lnTo>
                    <a:pt x="459191" y="113861"/>
                  </a:lnTo>
                  <a:close/>
                  <a:moveTo>
                    <a:pt x="56779" y="342317"/>
                  </a:moveTo>
                  <a:lnTo>
                    <a:pt x="56779" y="342133"/>
                  </a:lnTo>
                  <a:lnTo>
                    <a:pt x="551" y="342133"/>
                  </a:lnTo>
                  <a:lnTo>
                    <a:pt x="551" y="394444"/>
                  </a:lnTo>
                  <a:cubicBezTo>
                    <a:pt x="551" y="409495"/>
                    <a:pt x="6547" y="423934"/>
                    <a:pt x="17193" y="434580"/>
                  </a:cubicBezTo>
                  <a:lnTo>
                    <a:pt x="48091" y="465477"/>
                  </a:lnTo>
                  <a:lnTo>
                    <a:pt x="48091" y="465477"/>
                  </a:lnTo>
                  <a:lnTo>
                    <a:pt x="78990" y="496375"/>
                  </a:lnTo>
                  <a:cubicBezTo>
                    <a:pt x="89636" y="507020"/>
                    <a:pt x="104075" y="513016"/>
                    <a:pt x="119127" y="513016"/>
                  </a:cubicBezTo>
                  <a:lnTo>
                    <a:pt x="516522" y="513016"/>
                  </a:lnTo>
                  <a:lnTo>
                    <a:pt x="516522" y="342317"/>
                  </a:lnTo>
                  <a:lnTo>
                    <a:pt x="56779" y="342317"/>
                  </a:lnTo>
                  <a:lnTo>
                    <a:pt x="56779" y="342317"/>
                  </a:lnTo>
                  <a:close/>
                  <a:moveTo>
                    <a:pt x="459620" y="456055"/>
                  </a:moveTo>
                  <a:lnTo>
                    <a:pt x="184288" y="456055"/>
                  </a:lnTo>
                  <a:lnTo>
                    <a:pt x="184288" y="456300"/>
                  </a:lnTo>
                  <a:lnTo>
                    <a:pt x="65712" y="456300"/>
                  </a:lnTo>
                  <a:cubicBezTo>
                    <a:pt x="63387" y="456300"/>
                    <a:pt x="61307" y="455382"/>
                    <a:pt x="59777" y="453853"/>
                  </a:cubicBezTo>
                  <a:lnTo>
                    <a:pt x="59777" y="453853"/>
                  </a:lnTo>
                  <a:cubicBezTo>
                    <a:pt x="58248" y="452323"/>
                    <a:pt x="57330" y="450243"/>
                    <a:pt x="57330" y="447918"/>
                  </a:cubicBezTo>
                  <a:lnTo>
                    <a:pt x="57330" y="399278"/>
                  </a:lnTo>
                  <a:lnTo>
                    <a:pt x="459681" y="399278"/>
                  </a:lnTo>
                  <a:lnTo>
                    <a:pt x="459681" y="456178"/>
                  </a:lnTo>
                  <a:lnTo>
                    <a:pt x="459681" y="456055"/>
                  </a:lnTo>
                  <a:close/>
                  <a:moveTo>
                    <a:pt x="517256" y="283704"/>
                  </a:moveTo>
                  <a:lnTo>
                    <a:pt x="0" y="283704"/>
                  </a:lnTo>
                  <a:lnTo>
                    <a:pt x="0" y="226804"/>
                  </a:lnTo>
                  <a:lnTo>
                    <a:pt x="517256" y="226804"/>
                  </a:lnTo>
                  <a:lnTo>
                    <a:pt x="517256" y="283704"/>
                  </a:lnTo>
                  <a:close/>
                </a:path>
              </a:pathLst>
            </a:custGeom>
            <a:solidFill>
              <a:schemeClr val="tx1"/>
            </a:solidFill>
            <a:ln w="0" cap="flat">
              <a:noFill/>
              <a:prstDash val="solid"/>
              <a:miter/>
            </a:ln>
          </p:spPr>
          <p:txBody>
            <a:bodyPr rtlCol="0" anchor="ctr"/>
            <a:lstStyle/>
            <a:p>
              <a:endParaRPr lang="en-US"/>
            </a:p>
          </p:txBody>
        </p:sp>
        <p:grpSp>
          <p:nvGrpSpPr>
            <p:cNvPr id="39" name="Group 38">
              <a:extLst>
                <a:ext uri="{FF2B5EF4-FFF2-40B4-BE49-F238E27FC236}">
                  <a16:creationId xmlns:a16="http://schemas.microsoft.com/office/drawing/2014/main" id="{DC7EE747-C38B-9572-7AE5-C7B91B66DD86}"/>
                </a:ext>
              </a:extLst>
            </p:cNvPr>
            <p:cNvGrpSpPr/>
            <p:nvPr/>
          </p:nvGrpSpPr>
          <p:grpSpPr>
            <a:xfrm>
              <a:off x="7485602" y="2649777"/>
              <a:ext cx="506492" cy="595577"/>
              <a:chOff x="6880232" y="2606886"/>
              <a:chExt cx="506492" cy="595577"/>
            </a:xfrm>
          </p:grpSpPr>
          <p:grpSp>
            <p:nvGrpSpPr>
              <p:cNvPr id="284" name="Graphic 3">
                <a:extLst>
                  <a:ext uri="{FF2B5EF4-FFF2-40B4-BE49-F238E27FC236}">
                    <a16:creationId xmlns:a16="http://schemas.microsoft.com/office/drawing/2014/main" id="{BDAF9F67-0033-9967-DA65-A0A45DDE84C8}"/>
                  </a:ext>
                </a:extLst>
              </p:cNvPr>
              <p:cNvGrpSpPr>
                <a:grpSpLocks noChangeAspect="1"/>
              </p:cNvGrpSpPr>
              <p:nvPr/>
            </p:nvGrpSpPr>
            <p:grpSpPr>
              <a:xfrm>
                <a:off x="7038701" y="3106796"/>
                <a:ext cx="159796" cy="95667"/>
                <a:chOff x="5482225" y="4888484"/>
                <a:chExt cx="194354" cy="116353"/>
              </a:xfrm>
              <a:solidFill>
                <a:schemeClr val="tx1"/>
              </a:solidFill>
            </p:grpSpPr>
            <p:sp>
              <p:nvSpPr>
                <p:cNvPr id="291" name="Freeform 290">
                  <a:extLst>
                    <a:ext uri="{FF2B5EF4-FFF2-40B4-BE49-F238E27FC236}">
                      <a16:creationId xmlns:a16="http://schemas.microsoft.com/office/drawing/2014/main" id="{9CF7B8A5-3244-4C27-123C-12A350FC1752}"/>
                    </a:ext>
                  </a:extLst>
                </p:cNvPr>
                <p:cNvSpPr/>
                <p:nvPr/>
              </p:nvSpPr>
              <p:spPr>
                <a:xfrm>
                  <a:off x="5482225" y="4964643"/>
                  <a:ext cx="176522" cy="40194"/>
                </a:xfrm>
                <a:custGeom>
                  <a:avLst/>
                  <a:gdLst>
                    <a:gd name="connsiteX0" fmla="*/ 96158 w 176522"/>
                    <a:gd name="connsiteY0" fmla="*/ 40115 h 40194"/>
                    <a:gd name="connsiteX1" fmla="*/ 5972 w 176522"/>
                    <a:gd name="connsiteY1" fmla="*/ 7444 h 40194"/>
                    <a:gd name="connsiteX2" fmla="*/ 1260 w 176522"/>
                    <a:gd name="connsiteY2" fmla="*/ 3283 h 40194"/>
                    <a:gd name="connsiteX3" fmla="*/ 343 w 176522"/>
                    <a:gd name="connsiteY3" fmla="*/ 591 h 40194"/>
                    <a:gd name="connsiteX4" fmla="*/ 3218 w 176522"/>
                    <a:gd name="connsiteY4" fmla="*/ 714 h 40194"/>
                    <a:gd name="connsiteX5" fmla="*/ 41214 w 176522"/>
                    <a:gd name="connsiteY5" fmla="*/ 17539 h 40194"/>
                    <a:gd name="connsiteX6" fmla="*/ 72846 w 176522"/>
                    <a:gd name="connsiteY6" fmla="*/ 24636 h 40194"/>
                    <a:gd name="connsiteX7" fmla="*/ 101359 w 176522"/>
                    <a:gd name="connsiteY7" fmla="*/ 26472 h 40194"/>
                    <a:gd name="connsiteX8" fmla="*/ 170314 w 176522"/>
                    <a:gd name="connsiteY8" fmla="*/ 11910 h 40194"/>
                    <a:gd name="connsiteX9" fmla="*/ 172516 w 176522"/>
                    <a:gd name="connsiteY9" fmla="*/ 10992 h 40194"/>
                    <a:gd name="connsiteX10" fmla="*/ 174597 w 176522"/>
                    <a:gd name="connsiteY10" fmla="*/ 10870 h 40194"/>
                    <a:gd name="connsiteX11" fmla="*/ 176249 w 176522"/>
                    <a:gd name="connsiteY11" fmla="*/ 12094 h 40194"/>
                    <a:gd name="connsiteX12" fmla="*/ 176371 w 176522"/>
                    <a:gd name="connsiteY12" fmla="*/ 14174 h 40194"/>
                    <a:gd name="connsiteX13" fmla="*/ 175025 w 176522"/>
                    <a:gd name="connsiteY13" fmla="*/ 15765 h 40194"/>
                    <a:gd name="connsiteX14" fmla="*/ 159545 w 176522"/>
                    <a:gd name="connsiteY14" fmla="*/ 25309 h 40194"/>
                    <a:gd name="connsiteX15" fmla="*/ 117878 w 176522"/>
                    <a:gd name="connsiteY15" fmla="*/ 38586 h 40194"/>
                    <a:gd name="connsiteX16" fmla="*/ 96035 w 176522"/>
                    <a:gd name="connsiteY16" fmla="*/ 40177 h 40194"/>
                    <a:gd name="connsiteX17" fmla="*/ 96158 w 176522"/>
                    <a:gd name="connsiteY17" fmla="*/ 40177 h 40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6522" h="40194">
                      <a:moveTo>
                        <a:pt x="96158" y="40115"/>
                      </a:moveTo>
                      <a:cubicBezTo>
                        <a:pt x="63179" y="40299"/>
                        <a:pt x="31180" y="28674"/>
                        <a:pt x="5972" y="7444"/>
                      </a:cubicBezTo>
                      <a:cubicBezTo>
                        <a:pt x="4381" y="6098"/>
                        <a:pt x="2851" y="4691"/>
                        <a:pt x="1260" y="3283"/>
                      </a:cubicBezTo>
                      <a:cubicBezTo>
                        <a:pt x="404" y="2549"/>
                        <a:pt x="-514" y="1632"/>
                        <a:pt x="343" y="591"/>
                      </a:cubicBezTo>
                      <a:cubicBezTo>
                        <a:pt x="1199" y="-510"/>
                        <a:pt x="2300" y="163"/>
                        <a:pt x="3218" y="714"/>
                      </a:cubicBezTo>
                      <a:cubicBezTo>
                        <a:pt x="15210" y="7750"/>
                        <a:pt x="27998" y="13440"/>
                        <a:pt x="41214" y="17539"/>
                      </a:cubicBezTo>
                      <a:cubicBezTo>
                        <a:pt x="51554" y="20782"/>
                        <a:pt x="62139" y="23168"/>
                        <a:pt x="72846" y="24636"/>
                      </a:cubicBezTo>
                      <a:cubicBezTo>
                        <a:pt x="82269" y="25982"/>
                        <a:pt x="91814" y="26594"/>
                        <a:pt x="101359" y="26472"/>
                      </a:cubicBezTo>
                      <a:cubicBezTo>
                        <a:pt x="125037" y="25982"/>
                        <a:pt x="148471" y="21026"/>
                        <a:pt x="170314" y="11910"/>
                      </a:cubicBezTo>
                      <a:cubicBezTo>
                        <a:pt x="171048" y="11604"/>
                        <a:pt x="171782" y="11298"/>
                        <a:pt x="172516" y="10992"/>
                      </a:cubicBezTo>
                      <a:cubicBezTo>
                        <a:pt x="173128" y="10687"/>
                        <a:pt x="173862" y="10625"/>
                        <a:pt x="174597" y="10870"/>
                      </a:cubicBezTo>
                      <a:cubicBezTo>
                        <a:pt x="175331" y="11115"/>
                        <a:pt x="175820" y="11482"/>
                        <a:pt x="176249" y="12094"/>
                      </a:cubicBezTo>
                      <a:cubicBezTo>
                        <a:pt x="176555" y="12767"/>
                        <a:pt x="176616" y="13501"/>
                        <a:pt x="176371" y="14174"/>
                      </a:cubicBezTo>
                      <a:cubicBezTo>
                        <a:pt x="176187" y="14847"/>
                        <a:pt x="175698" y="15398"/>
                        <a:pt x="175025" y="15765"/>
                      </a:cubicBezTo>
                      <a:cubicBezTo>
                        <a:pt x="169885" y="19007"/>
                        <a:pt x="164929" y="22495"/>
                        <a:pt x="159545" y="25309"/>
                      </a:cubicBezTo>
                      <a:cubicBezTo>
                        <a:pt x="146513" y="31978"/>
                        <a:pt x="132440" y="36506"/>
                        <a:pt x="117878" y="38586"/>
                      </a:cubicBezTo>
                      <a:cubicBezTo>
                        <a:pt x="110659" y="39810"/>
                        <a:pt x="103378" y="40299"/>
                        <a:pt x="96035" y="40177"/>
                      </a:cubicBezTo>
                      <a:lnTo>
                        <a:pt x="96158" y="40177"/>
                      </a:lnTo>
                      <a:close/>
                    </a:path>
                  </a:pathLst>
                </a:custGeom>
                <a:grpFill/>
                <a:ln w="0" cap="flat">
                  <a:noFill/>
                  <a:prstDash val="solid"/>
                  <a:miter/>
                </a:ln>
              </p:spPr>
              <p:txBody>
                <a:bodyPr rtlCol="0" anchor="ctr"/>
                <a:lstStyle/>
                <a:p>
                  <a:endParaRPr lang="en-US"/>
                </a:p>
              </p:txBody>
            </p:sp>
            <p:sp>
              <p:nvSpPr>
                <p:cNvPr id="292" name="Freeform 291">
                  <a:extLst>
                    <a:ext uri="{FF2B5EF4-FFF2-40B4-BE49-F238E27FC236}">
                      <a16:creationId xmlns:a16="http://schemas.microsoft.com/office/drawing/2014/main" id="{4EC02E20-F0EA-1F07-4FFE-B3F449A19E42}"/>
                    </a:ext>
                  </a:extLst>
                </p:cNvPr>
                <p:cNvSpPr/>
                <p:nvPr/>
              </p:nvSpPr>
              <p:spPr>
                <a:xfrm>
                  <a:off x="5542786" y="4890286"/>
                  <a:ext cx="78282" cy="57205"/>
                </a:xfrm>
                <a:custGeom>
                  <a:avLst/>
                  <a:gdLst>
                    <a:gd name="connsiteX0" fmla="*/ 55910 w 78282"/>
                    <a:gd name="connsiteY0" fmla="*/ 45704 h 57205"/>
                    <a:gd name="connsiteX1" fmla="*/ 58297 w 78282"/>
                    <a:gd name="connsiteY1" fmla="*/ 36771 h 57205"/>
                    <a:gd name="connsiteX2" fmla="*/ 66740 w 78282"/>
                    <a:gd name="connsiteY2" fmla="*/ 4100 h 57205"/>
                    <a:gd name="connsiteX3" fmla="*/ 72063 w 78282"/>
                    <a:gd name="connsiteY3" fmla="*/ 0 h 57205"/>
                    <a:gd name="connsiteX4" fmla="*/ 76407 w 78282"/>
                    <a:gd name="connsiteY4" fmla="*/ 0 h 57205"/>
                    <a:gd name="connsiteX5" fmla="*/ 78243 w 78282"/>
                    <a:gd name="connsiteY5" fmla="*/ 2142 h 57205"/>
                    <a:gd name="connsiteX6" fmla="*/ 77815 w 78282"/>
                    <a:gd name="connsiteY6" fmla="*/ 3855 h 57205"/>
                    <a:gd name="connsiteX7" fmla="*/ 62212 w 78282"/>
                    <a:gd name="connsiteY7" fmla="*/ 53719 h 57205"/>
                    <a:gd name="connsiteX8" fmla="*/ 57624 w 78282"/>
                    <a:gd name="connsiteY8" fmla="*/ 57145 h 57205"/>
                    <a:gd name="connsiteX9" fmla="*/ 53096 w 78282"/>
                    <a:gd name="connsiteY9" fmla="*/ 57145 h 57205"/>
                    <a:gd name="connsiteX10" fmla="*/ 48997 w 78282"/>
                    <a:gd name="connsiteY10" fmla="*/ 53841 h 57205"/>
                    <a:gd name="connsiteX11" fmla="*/ 40002 w 78282"/>
                    <a:gd name="connsiteY11" fmla="*/ 16825 h 57205"/>
                    <a:gd name="connsiteX12" fmla="*/ 38718 w 78282"/>
                    <a:gd name="connsiteY12" fmla="*/ 12849 h 57205"/>
                    <a:gd name="connsiteX13" fmla="*/ 34802 w 78282"/>
                    <a:gd name="connsiteY13" fmla="*/ 29123 h 57205"/>
                    <a:gd name="connsiteX14" fmla="*/ 28928 w 78282"/>
                    <a:gd name="connsiteY14" fmla="*/ 53657 h 57205"/>
                    <a:gd name="connsiteX15" fmla="*/ 24461 w 78282"/>
                    <a:gd name="connsiteY15" fmla="*/ 57206 h 57205"/>
                    <a:gd name="connsiteX16" fmla="*/ 20423 w 78282"/>
                    <a:gd name="connsiteY16" fmla="*/ 57206 h 57205"/>
                    <a:gd name="connsiteX17" fmla="*/ 15529 w 78282"/>
                    <a:gd name="connsiteY17" fmla="*/ 53535 h 57205"/>
                    <a:gd name="connsiteX18" fmla="*/ 2313 w 78282"/>
                    <a:gd name="connsiteY18" fmla="*/ 9973 h 57205"/>
                    <a:gd name="connsiteX19" fmla="*/ 232 w 78282"/>
                    <a:gd name="connsiteY19" fmla="*/ 2876 h 57205"/>
                    <a:gd name="connsiteX20" fmla="*/ 2435 w 78282"/>
                    <a:gd name="connsiteY20" fmla="*/ 0 h 57205"/>
                    <a:gd name="connsiteX21" fmla="*/ 7085 w 78282"/>
                    <a:gd name="connsiteY21" fmla="*/ 0 h 57205"/>
                    <a:gd name="connsiteX22" fmla="*/ 11796 w 78282"/>
                    <a:gd name="connsiteY22" fmla="*/ 3794 h 57205"/>
                    <a:gd name="connsiteX23" fmla="*/ 16691 w 78282"/>
                    <a:gd name="connsiteY23" fmla="*/ 23127 h 57205"/>
                    <a:gd name="connsiteX24" fmla="*/ 22626 w 78282"/>
                    <a:gd name="connsiteY24" fmla="*/ 45153 h 57205"/>
                    <a:gd name="connsiteX25" fmla="*/ 23115 w 78282"/>
                    <a:gd name="connsiteY25" fmla="*/ 43317 h 57205"/>
                    <a:gd name="connsiteX26" fmla="*/ 32477 w 78282"/>
                    <a:gd name="connsiteY26" fmla="*/ 3732 h 57205"/>
                    <a:gd name="connsiteX27" fmla="*/ 37066 w 78282"/>
                    <a:gd name="connsiteY27" fmla="*/ 61 h 57205"/>
                    <a:gd name="connsiteX28" fmla="*/ 41716 w 78282"/>
                    <a:gd name="connsiteY28" fmla="*/ 61 h 57205"/>
                    <a:gd name="connsiteX29" fmla="*/ 45325 w 78282"/>
                    <a:gd name="connsiteY29" fmla="*/ 2998 h 57205"/>
                    <a:gd name="connsiteX30" fmla="*/ 48874 w 78282"/>
                    <a:gd name="connsiteY30" fmla="*/ 17866 h 57205"/>
                    <a:gd name="connsiteX31" fmla="*/ 55421 w 78282"/>
                    <a:gd name="connsiteY31" fmla="*/ 45704 h 57205"/>
                    <a:gd name="connsiteX32" fmla="*/ 55788 w 78282"/>
                    <a:gd name="connsiteY32" fmla="*/ 45826 h 57205"/>
                    <a:gd name="connsiteX33" fmla="*/ 55910 w 78282"/>
                    <a:gd name="connsiteY33" fmla="*/ 45826 h 57205"/>
                    <a:gd name="connsiteX34" fmla="*/ 55910 w 78282"/>
                    <a:gd name="connsiteY34" fmla="*/ 45704 h 57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78282" h="57205">
                      <a:moveTo>
                        <a:pt x="55910" y="45704"/>
                      </a:moveTo>
                      <a:cubicBezTo>
                        <a:pt x="56706" y="42706"/>
                        <a:pt x="57501" y="39769"/>
                        <a:pt x="58297" y="36771"/>
                      </a:cubicBezTo>
                      <a:cubicBezTo>
                        <a:pt x="61111" y="25881"/>
                        <a:pt x="63926" y="14990"/>
                        <a:pt x="66740" y="4100"/>
                      </a:cubicBezTo>
                      <a:cubicBezTo>
                        <a:pt x="67719" y="428"/>
                        <a:pt x="68209" y="0"/>
                        <a:pt x="72063" y="0"/>
                      </a:cubicBezTo>
                      <a:lnTo>
                        <a:pt x="76407" y="0"/>
                      </a:lnTo>
                      <a:cubicBezTo>
                        <a:pt x="77998" y="0"/>
                        <a:pt x="78426" y="612"/>
                        <a:pt x="78243" y="2142"/>
                      </a:cubicBezTo>
                      <a:cubicBezTo>
                        <a:pt x="78182" y="2753"/>
                        <a:pt x="78059" y="3304"/>
                        <a:pt x="77815" y="3855"/>
                      </a:cubicBezTo>
                      <a:cubicBezTo>
                        <a:pt x="72614" y="20435"/>
                        <a:pt x="67413" y="37077"/>
                        <a:pt x="62212" y="53719"/>
                      </a:cubicBezTo>
                      <a:cubicBezTo>
                        <a:pt x="61295" y="56655"/>
                        <a:pt x="60683" y="57145"/>
                        <a:pt x="57624" y="57145"/>
                      </a:cubicBezTo>
                      <a:lnTo>
                        <a:pt x="53096" y="57145"/>
                      </a:lnTo>
                      <a:cubicBezTo>
                        <a:pt x="50343" y="57145"/>
                        <a:pt x="49670" y="56533"/>
                        <a:pt x="48997" y="53841"/>
                      </a:cubicBezTo>
                      <a:cubicBezTo>
                        <a:pt x="45937" y="41482"/>
                        <a:pt x="43000" y="29184"/>
                        <a:pt x="40002" y="16825"/>
                      </a:cubicBezTo>
                      <a:cubicBezTo>
                        <a:pt x="39696" y="15479"/>
                        <a:pt x="39268" y="14133"/>
                        <a:pt x="38718" y="12849"/>
                      </a:cubicBezTo>
                      <a:cubicBezTo>
                        <a:pt x="37433" y="18294"/>
                        <a:pt x="36087" y="23678"/>
                        <a:pt x="34802" y="29123"/>
                      </a:cubicBezTo>
                      <a:cubicBezTo>
                        <a:pt x="32844" y="37322"/>
                        <a:pt x="30886" y="45459"/>
                        <a:pt x="28928" y="53657"/>
                      </a:cubicBezTo>
                      <a:cubicBezTo>
                        <a:pt x="28255" y="56594"/>
                        <a:pt x="27521" y="57145"/>
                        <a:pt x="24461" y="57206"/>
                      </a:cubicBezTo>
                      <a:lnTo>
                        <a:pt x="20423" y="57206"/>
                      </a:lnTo>
                      <a:cubicBezTo>
                        <a:pt x="17058" y="57206"/>
                        <a:pt x="16507" y="56778"/>
                        <a:pt x="15529" y="53535"/>
                      </a:cubicBezTo>
                      <a:cubicBezTo>
                        <a:pt x="11123" y="39035"/>
                        <a:pt x="6718" y="24473"/>
                        <a:pt x="2313" y="9973"/>
                      </a:cubicBezTo>
                      <a:cubicBezTo>
                        <a:pt x="1578" y="7587"/>
                        <a:pt x="844" y="5262"/>
                        <a:pt x="232" y="2876"/>
                      </a:cubicBezTo>
                      <a:cubicBezTo>
                        <a:pt x="-380" y="673"/>
                        <a:pt x="171" y="0"/>
                        <a:pt x="2435" y="0"/>
                      </a:cubicBezTo>
                      <a:lnTo>
                        <a:pt x="7085" y="0"/>
                      </a:lnTo>
                      <a:cubicBezTo>
                        <a:pt x="10328" y="0"/>
                        <a:pt x="11001" y="551"/>
                        <a:pt x="11796" y="3794"/>
                      </a:cubicBezTo>
                      <a:cubicBezTo>
                        <a:pt x="13448" y="10218"/>
                        <a:pt x="15039" y="16703"/>
                        <a:pt x="16691" y="23127"/>
                      </a:cubicBezTo>
                      <a:cubicBezTo>
                        <a:pt x="18588" y="30408"/>
                        <a:pt x="20423" y="37750"/>
                        <a:pt x="22626" y="45153"/>
                      </a:cubicBezTo>
                      <a:cubicBezTo>
                        <a:pt x="22809" y="44541"/>
                        <a:pt x="22993" y="43929"/>
                        <a:pt x="23115" y="43317"/>
                      </a:cubicBezTo>
                      <a:cubicBezTo>
                        <a:pt x="26236" y="30102"/>
                        <a:pt x="29356" y="16948"/>
                        <a:pt x="32477" y="3732"/>
                      </a:cubicBezTo>
                      <a:cubicBezTo>
                        <a:pt x="33272" y="551"/>
                        <a:pt x="33823" y="61"/>
                        <a:pt x="37066" y="61"/>
                      </a:cubicBezTo>
                      <a:lnTo>
                        <a:pt x="41716" y="61"/>
                      </a:lnTo>
                      <a:cubicBezTo>
                        <a:pt x="44041" y="184"/>
                        <a:pt x="44775" y="673"/>
                        <a:pt x="45325" y="2998"/>
                      </a:cubicBezTo>
                      <a:cubicBezTo>
                        <a:pt x="46549" y="7954"/>
                        <a:pt x="47712" y="12910"/>
                        <a:pt x="48874" y="17866"/>
                      </a:cubicBezTo>
                      <a:cubicBezTo>
                        <a:pt x="51077" y="27104"/>
                        <a:pt x="53279" y="36404"/>
                        <a:pt x="55421" y="45704"/>
                      </a:cubicBezTo>
                      <a:lnTo>
                        <a:pt x="55788" y="45826"/>
                      </a:lnTo>
                      <a:lnTo>
                        <a:pt x="55910" y="45826"/>
                      </a:lnTo>
                      <a:lnTo>
                        <a:pt x="55910" y="45704"/>
                      </a:lnTo>
                      <a:close/>
                    </a:path>
                  </a:pathLst>
                </a:custGeom>
                <a:grpFill/>
                <a:ln w="0" cap="flat">
                  <a:noFill/>
                  <a:prstDash val="solid"/>
                  <a:miter/>
                </a:ln>
              </p:spPr>
              <p:txBody>
                <a:bodyPr rtlCol="0" anchor="ctr"/>
                <a:lstStyle/>
                <a:p>
                  <a:endParaRPr lang="en-US"/>
                </a:p>
              </p:txBody>
            </p:sp>
            <p:sp>
              <p:nvSpPr>
                <p:cNvPr id="293" name="Freeform 292">
                  <a:extLst>
                    <a:ext uri="{FF2B5EF4-FFF2-40B4-BE49-F238E27FC236}">
                      <a16:creationId xmlns:a16="http://schemas.microsoft.com/office/drawing/2014/main" id="{00F6E380-EE3C-6A72-A509-87877DEAC19D}"/>
                    </a:ext>
                  </a:extLst>
                </p:cNvPr>
                <p:cNvSpPr/>
                <p:nvPr/>
              </p:nvSpPr>
              <p:spPr>
                <a:xfrm>
                  <a:off x="5489734" y="4888709"/>
                  <a:ext cx="49966" cy="60229"/>
                </a:xfrm>
                <a:custGeom>
                  <a:avLst/>
                  <a:gdLst>
                    <a:gd name="connsiteX0" fmla="*/ 36765 w 49966"/>
                    <a:gd name="connsiteY0" fmla="*/ 51196 h 60229"/>
                    <a:gd name="connsiteX1" fmla="*/ 34073 w 49966"/>
                    <a:gd name="connsiteY1" fmla="*/ 54010 h 60229"/>
                    <a:gd name="connsiteX2" fmla="*/ 24100 w 49966"/>
                    <a:gd name="connsiteY2" fmla="*/ 59455 h 60229"/>
                    <a:gd name="connsiteX3" fmla="*/ 12780 w 49966"/>
                    <a:gd name="connsiteY3" fmla="*/ 59578 h 60229"/>
                    <a:gd name="connsiteX4" fmla="*/ 7090 w 49966"/>
                    <a:gd name="connsiteY4" fmla="*/ 57253 h 60229"/>
                    <a:gd name="connsiteX5" fmla="*/ 2685 w 49966"/>
                    <a:gd name="connsiteY5" fmla="*/ 52909 h 60229"/>
                    <a:gd name="connsiteX6" fmla="*/ 299 w 49966"/>
                    <a:gd name="connsiteY6" fmla="*/ 47219 h 60229"/>
                    <a:gd name="connsiteX7" fmla="*/ 299 w 49966"/>
                    <a:gd name="connsiteY7" fmla="*/ 41039 h 60229"/>
                    <a:gd name="connsiteX8" fmla="*/ 5683 w 49966"/>
                    <a:gd name="connsiteY8" fmla="*/ 30271 h 60229"/>
                    <a:gd name="connsiteX9" fmla="*/ 16757 w 49966"/>
                    <a:gd name="connsiteY9" fmla="*/ 25376 h 60229"/>
                    <a:gd name="connsiteX10" fmla="*/ 34134 w 49966"/>
                    <a:gd name="connsiteY10" fmla="*/ 26478 h 60229"/>
                    <a:gd name="connsiteX11" fmla="*/ 36092 w 49966"/>
                    <a:gd name="connsiteY11" fmla="*/ 26845 h 60229"/>
                    <a:gd name="connsiteX12" fmla="*/ 34256 w 49966"/>
                    <a:gd name="connsiteY12" fmla="*/ 13385 h 60229"/>
                    <a:gd name="connsiteX13" fmla="*/ 30463 w 49966"/>
                    <a:gd name="connsiteY13" fmla="*/ 9959 h 60229"/>
                    <a:gd name="connsiteX14" fmla="*/ 25507 w 49966"/>
                    <a:gd name="connsiteY14" fmla="*/ 8857 h 60229"/>
                    <a:gd name="connsiteX15" fmla="*/ 8253 w 49966"/>
                    <a:gd name="connsiteY15" fmla="*/ 11916 h 60229"/>
                    <a:gd name="connsiteX16" fmla="*/ 3909 w 49966"/>
                    <a:gd name="connsiteY16" fmla="*/ 9041 h 60229"/>
                    <a:gd name="connsiteX17" fmla="*/ 4704 w 49966"/>
                    <a:gd name="connsiteY17" fmla="*/ 5553 h 60229"/>
                    <a:gd name="connsiteX18" fmla="*/ 7580 w 49966"/>
                    <a:gd name="connsiteY18" fmla="*/ 3473 h 60229"/>
                    <a:gd name="connsiteX19" fmla="*/ 31381 w 49966"/>
                    <a:gd name="connsiteY19" fmla="*/ 536 h 60229"/>
                    <a:gd name="connsiteX20" fmla="*/ 42088 w 49966"/>
                    <a:gd name="connsiteY20" fmla="*/ 5982 h 60229"/>
                    <a:gd name="connsiteX21" fmla="*/ 46432 w 49966"/>
                    <a:gd name="connsiteY21" fmla="*/ 17178 h 60229"/>
                    <a:gd name="connsiteX22" fmla="*/ 46677 w 49966"/>
                    <a:gd name="connsiteY22" fmla="*/ 40550 h 60229"/>
                    <a:gd name="connsiteX23" fmla="*/ 49430 w 49966"/>
                    <a:gd name="connsiteY23" fmla="*/ 52297 h 60229"/>
                    <a:gd name="connsiteX24" fmla="*/ 48573 w 49966"/>
                    <a:gd name="connsiteY24" fmla="*/ 55846 h 60229"/>
                    <a:gd name="connsiteX25" fmla="*/ 44719 w 49966"/>
                    <a:gd name="connsiteY25" fmla="*/ 58415 h 60229"/>
                    <a:gd name="connsiteX26" fmla="*/ 43801 w 49966"/>
                    <a:gd name="connsiteY26" fmla="*/ 58905 h 60229"/>
                    <a:gd name="connsiteX27" fmla="*/ 42761 w 49966"/>
                    <a:gd name="connsiteY27" fmla="*/ 58966 h 60229"/>
                    <a:gd name="connsiteX28" fmla="*/ 41782 w 49966"/>
                    <a:gd name="connsiteY28" fmla="*/ 58599 h 60229"/>
                    <a:gd name="connsiteX29" fmla="*/ 40987 w 49966"/>
                    <a:gd name="connsiteY29" fmla="*/ 57926 h 60229"/>
                    <a:gd name="connsiteX30" fmla="*/ 37805 w 49966"/>
                    <a:gd name="connsiteY30" fmla="*/ 53276 h 60229"/>
                    <a:gd name="connsiteX31" fmla="*/ 36642 w 49966"/>
                    <a:gd name="connsiteY31" fmla="*/ 51318 h 60229"/>
                    <a:gd name="connsiteX32" fmla="*/ 36765 w 49966"/>
                    <a:gd name="connsiteY32" fmla="*/ 51196 h 60229"/>
                    <a:gd name="connsiteX33" fmla="*/ 36765 w 49966"/>
                    <a:gd name="connsiteY33" fmla="*/ 51196 h 60229"/>
                    <a:gd name="connsiteX34" fmla="*/ 24956 w 49966"/>
                    <a:gd name="connsiteY34" fmla="*/ 32290 h 60229"/>
                    <a:gd name="connsiteX35" fmla="*/ 24956 w 49966"/>
                    <a:gd name="connsiteY35" fmla="*/ 32413 h 60229"/>
                    <a:gd name="connsiteX36" fmla="*/ 20734 w 49966"/>
                    <a:gd name="connsiteY36" fmla="*/ 32718 h 60229"/>
                    <a:gd name="connsiteX37" fmla="*/ 16329 w 49966"/>
                    <a:gd name="connsiteY37" fmla="*/ 33881 h 60229"/>
                    <a:gd name="connsiteX38" fmla="*/ 12903 w 49966"/>
                    <a:gd name="connsiteY38" fmla="*/ 36940 h 60229"/>
                    <a:gd name="connsiteX39" fmla="*/ 11251 w 49966"/>
                    <a:gd name="connsiteY39" fmla="*/ 41223 h 60229"/>
                    <a:gd name="connsiteX40" fmla="*/ 11679 w 49966"/>
                    <a:gd name="connsiteY40" fmla="*/ 45812 h 60229"/>
                    <a:gd name="connsiteX41" fmla="*/ 13637 w 49966"/>
                    <a:gd name="connsiteY41" fmla="*/ 49544 h 60229"/>
                    <a:gd name="connsiteX42" fmla="*/ 17369 w 49966"/>
                    <a:gd name="connsiteY42" fmla="*/ 51440 h 60229"/>
                    <a:gd name="connsiteX43" fmla="*/ 24773 w 49966"/>
                    <a:gd name="connsiteY43" fmla="*/ 51440 h 60229"/>
                    <a:gd name="connsiteX44" fmla="*/ 31503 w 49966"/>
                    <a:gd name="connsiteY44" fmla="*/ 48259 h 60229"/>
                    <a:gd name="connsiteX45" fmla="*/ 34501 w 49966"/>
                    <a:gd name="connsiteY45" fmla="*/ 44894 h 60229"/>
                    <a:gd name="connsiteX46" fmla="*/ 35847 w 49966"/>
                    <a:gd name="connsiteY46" fmla="*/ 40611 h 60229"/>
                    <a:gd name="connsiteX47" fmla="*/ 36214 w 49966"/>
                    <a:gd name="connsiteY47" fmla="*/ 35472 h 60229"/>
                    <a:gd name="connsiteX48" fmla="*/ 34746 w 49966"/>
                    <a:gd name="connsiteY48" fmla="*/ 33697 h 60229"/>
                    <a:gd name="connsiteX49" fmla="*/ 24895 w 49966"/>
                    <a:gd name="connsiteY49" fmla="*/ 32351 h 60229"/>
                    <a:gd name="connsiteX50" fmla="*/ 24895 w 49966"/>
                    <a:gd name="connsiteY50" fmla="*/ 32351 h 60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9966" h="60229">
                      <a:moveTo>
                        <a:pt x="36765" y="51196"/>
                      </a:moveTo>
                      <a:cubicBezTo>
                        <a:pt x="35786" y="52236"/>
                        <a:pt x="34990" y="53154"/>
                        <a:pt x="34073" y="54010"/>
                      </a:cubicBezTo>
                      <a:cubicBezTo>
                        <a:pt x="31258" y="56641"/>
                        <a:pt x="27832" y="58476"/>
                        <a:pt x="24100" y="59455"/>
                      </a:cubicBezTo>
                      <a:cubicBezTo>
                        <a:pt x="20367" y="60434"/>
                        <a:pt x="16513" y="60495"/>
                        <a:pt x="12780" y="59578"/>
                      </a:cubicBezTo>
                      <a:cubicBezTo>
                        <a:pt x="10700" y="59211"/>
                        <a:pt x="8803" y="58415"/>
                        <a:pt x="7090" y="57253"/>
                      </a:cubicBezTo>
                      <a:cubicBezTo>
                        <a:pt x="5377" y="56090"/>
                        <a:pt x="3847" y="54622"/>
                        <a:pt x="2685" y="52909"/>
                      </a:cubicBezTo>
                      <a:cubicBezTo>
                        <a:pt x="1522" y="51196"/>
                        <a:pt x="727" y="49238"/>
                        <a:pt x="299" y="47219"/>
                      </a:cubicBezTo>
                      <a:cubicBezTo>
                        <a:pt x="-130" y="45139"/>
                        <a:pt x="-68" y="43058"/>
                        <a:pt x="299" y="41039"/>
                      </a:cubicBezTo>
                      <a:cubicBezTo>
                        <a:pt x="788" y="36940"/>
                        <a:pt x="2685" y="33086"/>
                        <a:pt x="5683" y="30271"/>
                      </a:cubicBezTo>
                      <a:cubicBezTo>
                        <a:pt x="8681" y="27396"/>
                        <a:pt x="12597" y="25682"/>
                        <a:pt x="16757" y="25376"/>
                      </a:cubicBezTo>
                      <a:cubicBezTo>
                        <a:pt x="22570" y="24765"/>
                        <a:pt x="28444" y="25132"/>
                        <a:pt x="34134" y="26478"/>
                      </a:cubicBezTo>
                      <a:lnTo>
                        <a:pt x="36092" y="26845"/>
                      </a:lnTo>
                      <a:cubicBezTo>
                        <a:pt x="36704" y="22256"/>
                        <a:pt x="36092" y="17667"/>
                        <a:pt x="34256" y="13385"/>
                      </a:cubicBezTo>
                      <a:cubicBezTo>
                        <a:pt x="33277" y="11977"/>
                        <a:pt x="31992" y="10754"/>
                        <a:pt x="30463" y="9959"/>
                      </a:cubicBezTo>
                      <a:cubicBezTo>
                        <a:pt x="28933" y="9163"/>
                        <a:pt x="27220" y="8796"/>
                        <a:pt x="25507" y="8857"/>
                      </a:cubicBezTo>
                      <a:cubicBezTo>
                        <a:pt x="19572" y="8429"/>
                        <a:pt x="13698" y="9469"/>
                        <a:pt x="8253" y="11916"/>
                      </a:cubicBezTo>
                      <a:cubicBezTo>
                        <a:pt x="4337" y="13507"/>
                        <a:pt x="4153" y="13201"/>
                        <a:pt x="3909" y="9041"/>
                      </a:cubicBezTo>
                      <a:cubicBezTo>
                        <a:pt x="3725" y="7817"/>
                        <a:pt x="4031" y="6593"/>
                        <a:pt x="4704" y="5553"/>
                      </a:cubicBezTo>
                      <a:cubicBezTo>
                        <a:pt x="5377" y="4513"/>
                        <a:pt x="6417" y="3779"/>
                        <a:pt x="7580" y="3473"/>
                      </a:cubicBezTo>
                      <a:cubicBezTo>
                        <a:pt x="15044" y="292"/>
                        <a:pt x="23304" y="-748"/>
                        <a:pt x="31381" y="536"/>
                      </a:cubicBezTo>
                      <a:cubicBezTo>
                        <a:pt x="35480" y="965"/>
                        <a:pt x="39335" y="2861"/>
                        <a:pt x="42088" y="5982"/>
                      </a:cubicBezTo>
                      <a:cubicBezTo>
                        <a:pt x="44902" y="9041"/>
                        <a:pt x="46432" y="13079"/>
                        <a:pt x="46432" y="17178"/>
                      </a:cubicBezTo>
                      <a:cubicBezTo>
                        <a:pt x="46799" y="24948"/>
                        <a:pt x="46738" y="32718"/>
                        <a:pt x="46677" y="40550"/>
                      </a:cubicBezTo>
                      <a:cubicBezTo>
                        <a:pt x="46493" y="44649"/>
                        <a:pt x="47472" y="48687"/>
                        <a:pt x="49430" y="52297"/>
                      </a:cubicBezTo>
                      <a:cubicBezTo>
                        <a:pt x="50348" y="53949"/>
                        <a:pt x="50103" y="54744"/>
                        <a:pt x="48573" y="55846"/>
                      </a:cubicBezTo>
                      <a:cubicBezTo>
                        <a:pt x="47289" y="56763"/>
                        <a:pt x="46004" y="57559"/>
                        <a:pt x="44719" y="58415"/>
                      </a:cubicBezTo>
                      <a:cubicBezTo>
                        <a:pt x="44413" y="58599"/>
                        <a:pt x="44107" y="58782"/>
                        <a:pt x="43801" y="58905"/>
                      </a:cubicBezTo>
                      <a:cubicBezTo>
                        <a:pt x="43434" y="59027"/>
                        <a:pt x="43128" y="59027"/>
                        <a:pt x="42761" y="58966"/>
                      </a:cubicBezTo>
                      <a:cubicBezTo>
                        <a:pt x="42394" y="58905"/>
                        <a:pt x="42088" y="58782"/>
                        <a:pt x="41782" y="58599"/>
                      </a:cubicBezTo>
                      <a:cubicBezTo>
                        <a:pt x="41476" y="58415"/>
                        <a:pt x="41231" y="58170"/>
                        <a:pt x="40987" y="57926"/>
                      </a:cubicBezTo>
                      <a:cubicBezTo>
                        <a:pt x="39824" y="56457"/>
                        <a:pt x="38845" y="54867"/>
                        <a:pt x="37805" y="53276"/>
                      </a:cubicBezTo>
                      <a:cubicBezTo>
                        <a:pt x="37438" y="52725"/>
                        <a:pt x="37132" y="52113"/>
                        <a:pt x="36642" y="51318"/>
                      </a:cubicBezTo>
                      <a:lnTo>
                        <a:pt x="36765" y="51196"/>
                      </a:lnTo>
                      <a:lnTo>
                        <a:pt x="36765" y="51196"/>
                      </a:lnTo>
                      <a:close/>
                      <a:moveTo>
                        <a:pt x="24956" y="32290"/>
                      </a:moveTo>
                      <a:lnTo>
                        <a:pt x="24956" y="32413"/>
                      </a:lnTo>
                      <a:cubicBezTo>
                        <a:pt x="23549" y="32535"/>
                        <a:pt x="22142" y="32535"/>
                        <a:pt x="20734" y="32718"/>
                      </a:cubicBezTo>
                      <a:cubicBezTo>
                        <a:pt x="19205" y="32718"/>
                        <a:pt x="17675" y="33147"/>
                        <a:pt x="16329" y="33881"/>
                      </a:cubicBezTo>
                      <a:cubicBezTo>
                        <a:pt x="14983" y="34615"/>
                        <a:pt x="13759" y="35655"/>
                        <a:pt x="12903" y="36940"/>
                      </a:cubicBezTo>
                      <a:cubicBezTo>
                        <a:pt x="12046" y="38225"/>
                        <a:pt x="11434" y="39693"/>
                        <a:pt x="11251" y="41223"/>
                      </a:cubicBezTo>
                      <a:cubicBezTo>
                        <a:pt x="11067" y="42753"/>
                        <a:pt x="11251" y="44343"/>
                        <a:pt x="11679" y="45812"/>
                      </a:cubicBezTo>
                      <a:cubicBezTo>
                        <a:pt x="11985" y="47219"/>
                        <a:pt x="12658" y="48504"/>
                        <a:pt x="13637" y="49544"/>
                      </a:cubicBezTo>
                      <a:cubicBezTo>
                        <a:pt x="14616" y="50584"/>
                        <a:pt x="15962" y="51196"/>
                        <a:pt x="17369" y="51440"/>
                      </a:cubicBezTo>
                      <a:cubicBezTo>
                        <a:pt x="19817" y="51991"/>
                        <a:pt x="22325" y="51991"/>
                        <a:pt x="24773" y="51440"/>
                      </a:cubicBezTo>
                      <a:cubicBezTo>
                        <a:pt x="27220" y="50890"/>
                        <a:pt x="29484" y="49788"/>
                        <a:pt x="31503" y="48259"/>
                      </a:cubicBezTo>
                      <a:cubicBezTo>
                        <a:pt x="32727" y="47341"/>
                        <a:pt x="33706" y="46240"/>
                        <a:pt x="34501" y="44894"/>
                      </a:cubicBezTo>
                      <a:cubicBezTo>
                        <a:pt x="35296" y="43548"/>
                        <a:pt x="35725" y="42140"/>
                        <a:pt x="35847" y="40611"/>
                      </a:cubicBezTo>
                      <a:cubicBezTo>
                        <a:pt x="36031" y="38898"/>
                        <a:pt x="36031" y="37185"/>
                        <a:pt x="36214" y="35472"/>
                      </a:cubicBezTo>
                      <a:cubicBezTo>
                        <a:pt x="36337" y="34309"/>
                        <a:pt x="35847" y="33820"/>
                        <a:pt x="34746" y="33697"/>
                      </a:cubicBezTo>
                      <a:cubicBezTo>
                        <a:pt x="31503" y="33269"/>
                        <a:pt x="28138" y="32780"/>
                        <a:pt x="24895" y="32351"/>
                      </a:cubicBezTo>
                      <a:lnTo>
                        <a:pt x="24895" y="32351"/>
                      </a:lnTo>
                      <a:close/>
                    </a:path>
                  </a:pathLst>
                </a:custGeom>
                <a:grpFill/>
                <a:ln w="0" cap="flat">
                  <a:noFill/>
                  <a:prstDash val="solid"/>
                  <a:miter/>
                </a:ln>
              </p:spPr>
              <p:txBody>
                <a:bodyPr rtlCol="0" anchor="ctr"/>
                <a:lstStyle/>
                <a:p>
                  <a:endParaRPr lang="en-US"/>
                </a:p>
              </p:txBody>
            </p:sp>
            <p:sp>
              <p:nvSpPr>
                <p:cNvPr id="294" name="Freeform 293">
                  <a:extLst>
                    <a:ext uri="{FF2B5EF4-FFF2-40B4-BE49-F238E27FC236}">
                      <a16:creationId xmlns:a16="http://schemas.microsoft.com/office/drawing/2014/main" id="{088062A4-E2C5-E0F3-D1DB-30F58A352526}"/>
                    </a:ext>
                  </a:extLst>
                </p:cNvPr>
                <p:cNvSpPr/>
                <p:nvPr/>
              </p:nvSpPr>
              <p:spPr>
                <a:xfrm>
                  <a:off x="5625251" y="4888484"/>
                  <a:ext cx="43089" cy="60676"/>
                </a:xfrm>
                <a:custGeom>
                  <a:avLst/>
                  <a:gdLst>
                    <a:gd name="connsiteX0" fmla="*/ 19946 w 43089"/>
                    <a:gd name="connsiteY0" fmla="*/ 60598 h 60676"/>
                    <a:gd name="connsiteX1" fmla="*/ 4222 w 43089"/>
                    <a:gd name="connsiteY1" fmla="*/ 57539 h 60676"/>
                    <a:gd name="connsiteX2" fmla="*/ 2019 w 43089"/>
                    <a:gd name="connsiteY2" fmla="*/ 56193 h 60676"/>
                    <a:gd name="connsiteX3" fmla="*/ 551 w 43089"/>
                    <a:gd name="connsiteY3" fmla="*/ 54113 h 60676"/>
                    <a:gd name="connsiteX4" fmla="*/ 0 w 43089"/>
                    <a:gd name="connsiteY4" fmla="*/ 51604 h 60676"/>
                    <a:gd name="connsiteX5" fmla="*/ 489 w 43089"/>
                    <a:gd name="connsiteY5" fmla="*/ 49096 h 60676"/>
                    <a:gd name="connsiteX6" fmla="*/ 795 w 43089"/>
                    <a:gd name="connsiteY6" fmla="*/ 48545 h 60676"/>
                    <a:gd name="connsiteX7" fmla="*/ 1346 w 43089"/>
                    <a:gd name="connsiteY7" fmla="*/ 48178 h 60676"/>
                    <a:gd name="connsiteX8" fmla="*/ 1958 w 43089"/>
                    <a:gd name="connsiteY8" fmla="*/ 48055 h 60676"/>
                    <a:gd name="connsiteX9" fmla="*/ 2570 w 43089"/>
                    <a:gd name="connsiteY9" fmla="*/ 48178 h 60676"/>
                    <a:gd name="connsiteX10" fmla="*/ 5874 w 43089"/>
                    <a:gd name="connsiteY10" fmla="*/ 49463 h 60676"/>
                    <a:gd name="connsiteX11" fmla="*/ 25453 w 43089"/>
                    <a:gd name="connsiteY11" fmla="*/ 51298 h 60676"/>
                    <a:gd name="connsiteX12" fmla="*/ 29613 w 43089"/>
                    <a:gd name="connsiteY12" fmla="*/ 49463 h 60676"/>
                    <a:gd name="connsiteX13" fmla="*/ 32061 w 43089"/>
                    <a:gd name="connsiteY13" fmla="*/ 45608 h 60676"/>
                    <a:gd name="connsiteX14" fmla="*/ 31938 w 43089"/>
                    <a:gd name="connsiteY14" fmla="*/ 41325 h 60676"/>
                    <a:gd name="connsiteX15" fmla="*/ 29124 w 43089"/>
                    <a:gd name="connsiteY15" fmla="*/ 38083 h 60676"/>
                    <a:gd name="connsiteX16" fmla="*/ 23128 w 43089"/>
                    <a:gd name="connsiteY16" fmla="*/ 35452 h 60676"/>
                    <a:gd name="connsiteX17" fmla="*/ 13032 w 43089"/>
                    <a:gd name="connsiteY17" fmla="*/ 32209 h 60676"/>
                    <a:gd name="connsiteX18" fmla="*/ 4161 w 43089"/>
                    <a:gd name="connsiteY18" fmla="*/ 26091 h 60676"/>
                    <a:gd name="connsiteX19" fmla="*/ 1530 w 43089"/>
                    <a:gd name="connsiteY19" fmla="*/ 20585 h 60676"/>
                    <a:gd name="connsiteX20" fmla="*/ 1285 w 43089"/>
                    <a:gd name="connsiteY20" fmla="*/ 14466 h 60676"/>
                    <a:gd name="connsiteX21" fmla="*/ 3488 w 43089"/>
                    <a:gd name="connsiteY21" fmla="*/ 8776 h 60676"/>
                    <a:gd name="connsiteX22" fmla="*/ 7770 w 43089"/>
                    <a:gd name="connsiteY22" fmla="*/ 4371 h 60676"/>
                    <a:gd name="connsiteX23" fmla="*/ 24780 w 43089"/>
                    <a:gd name="connsiteY23" fmla="*/ 211 h 60676"/>
                    <a:gd name="connsiteX24" fmla="*/ 36221 w 43089"/>
                    <a:gd name="connsiteY24" fmla="*/ 2781 h 60676"/>
                    <a:gd name="connsiteX25" fmla="*/ 38363 w 43089"/>
                    <a:gd name="connsiteY25" fmla="*/ 4065 h 60676"/>
                    <a:gd name="connsiteX26" fmla="*/ 39770 w 43089"/>
                    <a:gd name="connsiteY26" fmla="*/ 6145 h 60676"/>
                    <a:gd name="connsiteX27" fmla="*/ 40198 w 43089"/>
                    <a:gd name="connsiteY27" fmla="*/ 8593 h 60676"/>
                    <a:gd name="connsiteX28" fmla="*/ 39648 w 43089"/>
                    <a:gd name="connsiteY28" fmla="*/ 10979 h 60676"/>
                    <a:gd name="connsiteX29" fmla="*/ 37200 w 43089"/>
                    <a:gd name="connsiteY29" fmla="*/ 11652 h 60676"/>
                    <a:gd name="connsiteX30" fmla="*/ 29430 w 43089"/>
                    <a:gd name="connsiteY30" fmla="*/ 9205 h 60676"/>
                    <a:gd name="connsiteX31" fmla="*/ 17438 w 43089"/>
                    <a:gd name="connsiteY31" fmla="*/ 9327 h 60676"/>
                    <a:gd name="connsiteX32" fmla="*/ 13216 w 43089"/>
                    <a:gd name="connsiteY32" fmla="*/ 11774 h 60676"/>
                    <a:gd name="connsiteX33" fmla="*/ 11809 w 43089"/>
                    <a:gd name="connsiteY33" fmla="*/ 16424 h 60676"/>
                    <a:gd name="connsiteX34" fmla="*/ 12665 w 43089"/>
                    <a:gd name="connsiteY34" fmla="*/ 19545 h 60676"/>
                    <a:gd name="connsiteX35" fmla="*/ 14990 w 43089"/>
                    <a:gd name="connsiteY35" fmla="*/ 21747 h 60676"/>
                    <a:gd name="connsiteX36" fmla="*/ 21292 w 43089"/>
                    <a:gd name="connsiteY36" fmla="*/ 24500 h 60676"/>
                    <a:gd name="connsiteX37" fmla="*/ 32734 w 43089"/>
                    <a:gd name="connsiteY37" fmla="*/ 28355 h 60676"/>
                    <a:gd name="connsiteX38" fmla="*/ 39892 w 43089"/>
                    <a:gd name="connsiteY38" fmla="*/ 33249 h 60676"/>
                    <a:gd name="connsiteX39" fmla="*/ 43013 w 43089"/>
                    <a:gd name="connsiteY39" fmla="*/ 41387 h 60676"/>
                    <a:gd name="connsiteX40" fmla="*/ 41300 w 43089"/>
                    <a:gd name="connsiteY40" fmla="*/ 50380 h 60676"/>
                    <a:gd name="connsiteX41" fmla="*/ 34936 w 43089"/>
                    <a:gd name="connsiteY41" fmla="*/ 56988 h 60676"/>
                    <a:gd name="connsiteX42" fmla="*/ 20130 w 43089"/>
                    <a:gd name="connsiteY42" fmla="*/ 60659 h 60676"/>
                    <a:gd name="connsiteX43" fmla="*/ 19946 w 43089"/>
                    <a:gd name="connsiteY43" fmla="*/ 60659 h 60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3089" h="60676">
                      <a:moveTo>
                        <a:pt x="19946" y="60598"/>
                      </a:moveTo>
                      <a:cubicBezTo>
                        <a:pt x="14562" y="60598"/>
                        <a:pt x="9239" y="59497"/>
                        <a:pt x="4222" y="57539"/>
                      </a:cubicBezTo>
                      <a:cubicBezTo>
                        <a:pt x="3426" y="57233"/>
                        <a:pt x="2631" y="56744"/>
                        <a:pt x="2019" y="56193"/>
                      </a:cubicBezTo>
                      <a:cubicBezTo>
                        <a:pt x="1407" y="55642"/>
                        <a:pt x="918" y="54908"/>
                        <a:pt x="551" y="54113"/>
                      </a:cubicBezTo>
                      <a:cubicBezTo>
                        <a:pt x="184" y="53317"/>
                        <a:pt x="0" y="52461"/>
                        <a:pt x="0" y="51604"/>
                      </a:cubicBezTo>
                      <a:cubicBezTo>
                        <a:pt x="0" y="50747"/>
                        <a:pt x="184" y="49891"/>
                        <a:pt x="489" y="49096"/>
                      </a:cubicBezTo>
                      <a:cubicBezTo>
                        <a:pt x="551" y="48912"/>
                        <a:pt x="673" y="48667"/>
                        <a:pt x="795" y="48545"/>
                      </a:cubicBezTo>
                      <a:cubicBezTo>
                        <a:pt x="918" y="48362"/>
                        <a:pt x="1101" y="48239"/>
                        <a:pt x="1346" y="48178"/>
                      </a:cubicBezTo>
                      <a:cubicBezTo>
                        <a:pt x="1530" y="48055"/>
                        <a:pt x="1774" y="48055"/>
                        <a:pt x="1958" y="48055"/>
                      </a:cubicBezTo>
                      <a:cubicBezTo>
                        <a:pt x="2141" y="48055"/>
                        <a:pt x="2386" y="48117"/>
                        <a:pt x="2570" y="48178"/>
                      </a:cubicBezTo>
                      <a:cubicBezTo>
                        <a:pt x="3671" y="48545"/>
                        <a:pt x="4772" y="49035"/>
                        <a:pt x="5874" y="49463"/>
                      </a:cubicBezTo>
                      <a:cubicBezTo>
                        <a:pt x="12053" y="52032"/>
                        <a:pt x="18906" y="52644"/>
                        <a:pt x="25453" y="51298"/>
                      </a:cubicBezTo>
                      <a:cubicBezTo>
                        <a:pt x="26982" y="51115"/>
                        <a:pt x="28451" y="50442"/>
                        <a:pt x="29613" y="49463"/>
                      </a:cubicBezTo>
                      <a:cubicBezTo>
                        <a:pt x="30776" y="48423"/>
                        <a:pt x="31633" y="47138"/>
                        <a:pt x="32061" y="45608"/>
                      </a:cubicBezTo>
                      <a:cubicBezTo>
                        <a:pt x="32489" y="44201"/>
                        <a:pt x="32489" y="42672"/>
                        <a:pt x="31938" y="41325"/>
                      </a:cubicBezTo>
                      <a:cubicBezTo>
                        <a:pt x="31388" y="39980"/>
                        <a:pt x="30409" y="38817"/>
                        <a:pt x="29124" y="38083"/>
                      </a:cubicBezTo>
                      <a:cubicBezTo>
                        <a:pt x="27227" y="37043"/>
                        <a:pt x="25208" y="36186"/>
                        <a:pt x="23128" y="35452"/>
                      </a:cubicBezTo>
                      <a:cubicBezTo>
                        <a:pt x="19763" y="34289"/>
                        <a:pt x="16398" y="33372"/>
                        <a:pt x="13032" y="32209"/>
                      </a:cubicBezTo>
                      <a:cubicBezTo>
                        <a:pt x="9545" y="31108"/>
                        <a:pt x="6424" y="28966"/>
                        <a:pt x="4161" y="26091"/>
                      </a:cubicBezTo>
                      <a:cubicBezTo>
                        <a:pt x="2937" y="24439"/>
                        <a:pt x="2019" y="22604"/>
                        <a:pt x="1530" y="20585"/>
                      </a:cubicBezTo>
                      <a:cubicBezTo>
                        <a:pt x="1040" y="18627"/>
                        <a:pt x="918" y="16485"/>
                        <a:pt x="1285" y="14466"/>
                      </a:cubicBezTo>
                      <a:cubicBezTo>
                        <a:pt x="1652" y="12447"/>
                        <a:pt x="2386" y="10490"/>
                        <a:pt x="3488" y="8776"/>
                      </a:cubicBezTo>
                      <a:cubicBezTo>
                        <a:pt x="4589" y="7063"/>
                        <a:pt x="6057" y="5534"/>
                        <a:pt x="7770" y="4371"/>
                      </a:cubicBezTo>
                      <a:cubicBezTo>
                        <a:pt x="12726" y="884"/>
                        <a:pt x="18784" y="-584"/>
                        <a:pt x="24780" y="211"/>
                      </a:cubicBezTo>
                      <a:cubicBezTo>
                        <a:pt x="28634" y="700"/>
                        <a:pt x="32489" y="1557"/>
                        <a:pt x="36221" y="2781"/>
                      </a:cubicBezTo>
                      <a:cubicBezTo>
                        <a:pt x="37017" y="3086"/>
                        <a:pt x="37690" y="3515"/>
                        <a:pt x="38363" y="4065"/>
                      </a:cubicBezTo>
                      <a:cubicBezTo>
                        <a:pt x="38975" y="4677"/>
                        <a:pt x="39464" y="5289"/>
                        <a:pt x="39770" y="6145"/>
                      </a:cubicBezTo>
                      <a:cubicBezTo>
                        <a:pt x="40076" y="6941"/>
                        <a:pt x="40260" y="7736"/>
                        <a:pt x="40198" y="8593"/>
                      </a:cubicBezTo>
                      <a:cubicBezTo>
                        <a:pt x="40198" y="9449"/>
                        <a:pt x="40015" y="10245"/>
                        <a:pt x="39648" y="10979"/>
                      </a:cubicBezTo>
                      <a:cubicBezTo>
                        <a:pt x="39158" y="12203"/>
                        <a:pt x="38240" y="12019"/>
                        <a:pt x="37200" y="11652"/>
                      </a:cubicBezTo>
                      <a:cubicBezTo>
                        <a:pt x="34631" y="10734"/>
                        <a:pt x="32061" y="9878"/>
                        <a:pt x="29430" y="9205"/>
                      </a:cubicBezTo>
                      <a:cubicBezTo>
                        <a:pt x="25514" y="8287"/>
                        <a:pt x="21415" y="8348"/>
                        <a:pt x="17438" y="9327"/>
                      </a:cubicBezTo>
                      <a:cubicBezTo>
                        <a:pt x="15786" y="9572"/>
                        <a:pt x="14256" y="10428"/>
                        <a:pt x="13216" y="11774"/>
                      </a:cubicBezTo>
                      <a:cubicBezTo>
                        <a:pt x="12176" y="13120"/>
                        <a:pt x="11625" y="14772"/>
                        <a:pt x="11809" y="16424"/>
                      </a:cubicBezTo>
                      <a:cubicBezTo>
                        <a:pt x="11809" y="17525"/>
                        <a:pt x="12115" y="18566"/>
                        <a:pt x="12665" y="19545"/>
                      </a:cubicBezTo>
                      <a:cubicBezTo>
                        <a:pt x="13216" y="20523"/>
                        <a:pt x="14011" y="21258"/>
                        <a:pt x="14990" y="21747"/>
                      </a:cubicBezTo>
                      <a:cubicBezTo>
                        <a:pt x="17009" y="22848"/>
                        <a:pt x="19151" y="23705"/>
                        <a:pt x="21292" y="24500"/>
                      </a:cubicBezTo>
                      <a:cubicBezTo>
                        <a:pt x="25086" y="25846"/>
                        <a:pt x="28940" y="26948"/>
                        <a:pt x="32734" y="28355"/>
                      </a:cubicBezTo>
                      <a:cubicBezTo>
                        <a:pt x="35548" y="29211"/>
                        <a:pt x="38057" y="30924"/>
                        <a:pt x="39892" y="33249"/>
                      </a:cubicBezTo>
                      <a:cubicBezTo>
                        <a:pt x="41728" y="35574"/>
                        <a:pt x="42829" y="38389"/>
                        <a:pt x="43013" y="41387"/>
                      </a:cubicBezTo>
                      <a:cubicBezTo>
                        <a:pt x="43319" y="44507"/>
                        <a:pt x="42707" y="47627"/>
                        <a:pt x="41300" y="50380"/>
                      </a:cubicBezTo>
                      <a:cubicBezTo>
                        <a:pt x="39892" y="53134"/>
                        <a:pt x="37629" y="55459"/>
                        <a:pt x="34936" y="56988"/>
                      </a:cubicBezTo>
                      <a:cubicBezTo>
                        <a:pt x="30470" y="59558"/>
                        <a:pt x="25330" y="60843"/>
                        <a:pt x="20130" y="60659"/>
                      </a:cubicBezTo>
                      <a:lnTo>
                        <a:pt x="19946" y="60659"/>
                      </a:lnTo>
                      <a:close/>
                    </a:path>
                  </a:pathLst>
                </a:custGeom>
                <a:grpFill/>
                <a:ln w="0" cap="flat">
                  <a:noFill/>
                  <a:prstDash val="solid"/>
                  <a:miter/>
                </a:ln>
              </p:spPr>
              <p:txBody>
                <a:bodyPr rtlCol="0" anchor="ctr"/>
                <a:lstStyle/>
                <a:p>
                  <a:endParaRPr lang="en-US"/>
                </a:p>
              </p:txBody>
            </p:sp>
            <p:sp>
              <p:nvSpPr>
                <p:cNvPr id="295" name="Freeform 294">
                  <a:extLst>
                    <a:ext uri="{FF2B5EF4-FFF2-40B4-BE49-F238E27FC236}">
                      <a16:creationId xmlns:a16="http://schemas.microsoft.com/office/drawing/2014/main" id="{613E0DF1-A6E9-51E4-D033-AC37B957DAB7}"/>
                    </a:ext>
                  </a:extLst>
                </p:cNvPr>
                <p:cNvSpPr/>
                <p:nvPr/>
              </p:nvSpPr>
              <p:spPr>
                <a:xfrm>
                  <a:off x="5640669" y="4961616"/>
                  <a:ext cx="35910" cy="35066"/>
                </a:xfrm>
                <a:custGeom>
                  <a:avLst/>
                  <a:gdLst>
                    <a:gd name="connsiteX0" fmla="*/ 15969 w 35910"/>
                    <a:gd name="connsiteY0" fmla="*/ 6861 h 35066"/>
                    <a:gd name="connsiteX1" fmla="*/ 1897 w 35910"/>
                    <a:gd name="connsiteY1" fmla="*/ 8146 h 35066"/>
                    <a:gd name="connsiteX2" fmla="*/ 0 w 35910"/>
                    <a:gd name="connsiteY2" fmla="*/ 7779 h 35066"/>
                    <a:gd name="connsiteX3" fmla="*/ 918 w 35910"/>
                    <a:gd name="connsiteY3" fmla="*/ 5943 h 35066"/>
                    <a:gd name="connsiteX4" fmla="*/ 12726 w 35910"/>
                    <a:gd name="connsiteY4" fmla="*/ 1049 h 35066"/>
                    <a:gd name="connsiteX5" fmla="*/ 30959 w 35910"/>
                    <a:gd name="connsiteY5" fmla="*/ 926 h 35066"/>
                    <a:gd name="connsiteX6" fmla="*/ 35793 w 35910"/>
                    <a:gd name="connsiteY6" fmla="*/ 8146 h 35066"/>
                    <a:gd name="connsiteX7" fmla="*/ 28023 w 35910"/>
                    <a:gd name="connsiteY7" fmla="*/ 29315 h 35066"/>
                    <a:gd name="connsiteX8" fmla="*/ 23373 w 35910"/>
                    <a:gd name="connsiteY8" fmla="*/ 34393 h 35066"/>
                    <a:gd name="connsiteX9" fmla="*/ 21231 w 35910"/>
                    <a:gd name="connsiteY9" fmla="*/ 35066 h 35066"/>
                    <a:gd name="connsiteX10" fmla="*/ 21353 w 35910"/>
                    <a:gd name="connsiteY10" fmla="*/ 32925 h 35066"/>
                    <a:gd name="connsiteX11" fmla="*/ 26860 w 35910"/>
                    <a:gd name="connsiteY11" fmla="*/ 16345 h 35066"/>
                    <a:gd name="connsiteX12" fmla="*/ 27350 w 35910"/>
                    <a:gd name="connsiteY12" fmla="*/ 13652 h 35066"/>
                    <a:gd name="connsiteX13" fmla="*/ 22271 w 35910"/>
                    <a:gd name="connsiteY13" fmla="*/ 7412 h 35066"/>
                    <a:gd name="connsiteX14" fmla="*/ 16030 w 35910"/>
                    <a:gd name="connsiteY14" fmla="*/ 6861 h 35066"/>
                    <a:gd name="connsiteX15" fmla="*/ 15969 w 35910"/>
                    <a:gd name="connsiteY15" fmla="*/ 6861 h 35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910" h="35066">
                      <a:moveTo>
                        <a:pt x="15969" y="6861"/>
                      </a:moveTo>
                      <a:cubicBezTo>
                        <a:pt x="11625" y="7290"/>
                        <a:pt x="6730" y="7718"/>
                        <a:pt x="1897" y="8146"/>
                      </a:cubicBezTo>
                      <a:cubicBezTo>
                        <a:pt x="1224" y="8146"/>
                        <a:pt x="612" y="7963"/>
                        <a:pt x="0" y="7779"/>
                      </a:cubicBezTo>
                      <a:cubicBezTo>
                        <a:pt x="306" y="7167"/>
                        <a:pt x="428" y="6310"/>
                        <a:pt x="918" y="5943"/>
                      </a:cubicBezTo>
                      <a:cubicBezTo>
                        <a:pt x="4466" y="3496"/>
                        <a:pt x="8505" y="1844"/>
                        <a:pt x="12726" y="1049"/>
                      </a:cubicBezTo>
                      <a:cubicBezTo>
                        <a:pt x="18723" y="-297"/>
                        <a:pt x="24902" y="-358"/>
                        <a:pt x="30959" y="926"/>
                      </a:cubicBezTo>
                      <a:cubicBezTo>
                        <a:pt x="34998" y="1844"/>
                        <a:pt x="36344" y="1844"/>
                        <a:pt x="35793" y="8146"/>
                      </a:cubicBezTo>
                      <a:cubicBezTo>
                        <a:pt x="35181" y="15794"/>
                        <a:pt x="32428" y="23075"/>
                        <a:pt x="28023" y="29315"/>
                      </a:cubicBezTo>
                      <a:cubicBezTo>
                        <a:pt x="26615" y="31151"/>
                        <a:pt x="25086" y="32803"/>
                        <a:pt x="23373" y="34393"/>
                      </a:cubicBezTo>
                      <a:cubicBezTo>
                        <a:pt x="22883" y="34822"/>
                        <a:pt x="21965" y="34822"/>
                        <a:pt x="21231" y="35066"/>
                      </a:cubicBezTo>
                      <a:cubicBezTo>
                        <a:pt x="21170" y="34393"/>
                        <a:pt x="21231" y="33659"/>
                        <a:pt x="21353" y="32925"/>
                      </a:cubicBezTo>
                      <a:cubicBezTo>
                        <a:pt x="23189" y="27419"/>
                        <a:pt x="25025" y="21851"/>
                        <a:pt x="26860" y="16345"/>
                      </a:cubicBezTo>
                      <a:cubicBezTo>
                        <a:pt x="27105" y="15488"/>
                        <a:pt x="27288" y="14570"/>
                        <a:pt x="27350" y="13652"/>
                      </a:cubicBezTo>
                      <a:cubicBezTo>
                        <a:pt x="27900" y="9798"/>
                        <a:pt x="26371" y="7901"/>
                        <a:pt x="22271" y="7412"/>
                      </a:cubicBezTo>
                      <a:cubicBezTo>
                        <a:pt x="20375" y="7167"/>
                        <a:pt x="18417" y="7045"/>
                        <a:pt x="16030" y="6861"/>
                      </a:cubicBezTo>
                      <a:lnTo>
                        <a:pt x="15969" y="6861"/>
                      </a:lnTo>
                      <a:close/>
                    </a:path>
                  </a:pathLst>
                </a:custGeom>
                <a:grpFill/>
                <a:ln w="0" cap="flat">
                  <a:noFill/>
                  <a:prstDash val="solid"/>
                  <a:miter/>
                </a:ln>
              </p:spPr>
              <p:txBody>
                <a:bodyPr rtlCol="0" anchor="ctr"/>
                <a:lstStyle/>
                <a:p>
                  <a:endParaRPr lang="en-US"/>
                </a:p>
              </p:txBody>
            </p:sp>
          </p:grpSp>
          <p:sp>
            <p:nvSpPr>
              <p:cNvPr id="285" name="Freeform 284">
                <a:extLst>
                  <a:ext uri="{FF2B5EF4-FFF2-40B4-BE49-F238E27FC236}">
                    <a16:creationId xmlns:a16="http://schemas.microsoft.com/office/drawing/2014/main" id="{10621FF6-414F-1FB5-1779-B48786F6E4A2}"/>
                  </a:ext>
                </a:extLst>
              </p:cNvPr>
              <p:cNvSpPr>
                <a:spLocks noChangeAspect="1"/>
              </p:cNvSpPr>
              <p:nvPr/>
            </p:nvSpPr>
            <p:spPr>
              <a:xfrm>
                <a:off x="6880232" y="3105157"/>
                <a:ext cx="102874" cy="92722"/>
              </a:xfrm>
              <a:custGeom>
                <a:avLst/>
                <a:gdLst>
                  <a:gd name="connsiteX0" fmla="*/ 97590 w 154430"/>
                  <a:gd name="connsiteY0" fmla="*/ 132216 h 139190"/>
                  <a:gd name="connsiteX1" fmla="*/ 94347 w 154430"/>
                  <a:gd name="connsiteY1" fmla="*/ 138823 h 139190"/>
                  <a:gd name="connsiteX2" fmla="*/ 92695 w 154430"/>
                  <a:gd name="connsiteY2" fmla="*/ 139129 h 139190"/>
                  <a:gd name="connsiteX3" fmla="*/ 91165 w 154430"/>
                  <a:gd name="connsiteY3" fmla="*/ 139129 h 139190"/>
                  <a:gd name="connsiteX4" fmla="*/ 87555 w 154430"/>
                  <a:gd name="connsiteY4" fmla="*/ 137722 h 139190"/>
                  <a:gd name="connsiteX5" fmla="*/ 41789 w 154430"/>
                  <a:gd name="connsiteY5" fmla="*/ 95017 h 139190"/>
                  <a:gd name="connsiteX6" fmla="*/ 41361 w 154430"/>
                  <a:gd name="connsiteY6" fmla="*/ 93976 h 139190"/>
                  <a:gd name="connsiteX7" fmla="*/ 42768 w 154430"/>
                  <a:gd name="connsiteY7" fmla="*/ 92631 h 139190"/>
                  <a:gd name="connsiteX8" fmla="*/ 84251 w 154430"/>
                  <a:gd name="connsiteY8" fmla="*/ 92631 h 139190"/>
                  <a:gd name="connsiteX9" fmla="*/ 97590 w 154430"/>
                  <a:gd name="connsiteY9" fmla="*/ 132277 h 139190"/>
                  <a:gd name="connsiteX10" fmla="*/ 97590 w 154430"/>
                  <a:gd name="connsiteY10" fmla="*/ 132277 h 139190"/>
                  <a:gd name="connsiteX11" fmla="*/ 149230 w 154430"/>
                  <a:gd name="connsiteY11" fmla="*/ 139129 h 139190"/>
                  <a:gd name="connsiteX12" fmla="*/ 154430 w 154430"/>
                  <a:gd name="connsiteY12" fmla="*/ 133929 h 139190"/>
                  <a:gd name="connsiteX13" fmla="*/ 154124 w 154430"/>
                  <a:gd name="connsiteY13" fmla="*/ 132277 h 139190"/>
                  <a:gd name="connsiteX14" fmla="*/ 110683 w 154430"/>
                  <a:gd name="connsiteY14" fmla="*/ 3549 h 139190"/>
                  <a:gd name="connsiteX15" fmla="*/ 105727 w 154430"/>
                  <a:gd name="connsiteY15" fmla="*/ 0 h 139190"/>
                  <a:gd name="connsiteX16" fmla="*/ 63081 w 154430"/>
                  <a:gd name="connsiteY16" fmla="*/ 0 h 139190"/>
                  <a:gd name="connsiteX17" fmla="*/ 64244 w 154430"/>
                  <a:gd name="connsiteY17" fmla="*/ 2325 h 139190"/>
                  <a:gd name="connsiteX18" fmla="*/ 107685 w 154430"/>
                  <a:gd name="connsiteY18" fmla="*/ 131053 h 139190"/>
                  <a:gd name="connsiteX19" fmla="*/ 106523 w 154430"/>
                  <a:gd name="connsiteY19" fmla="*/ 139190 h 139190"/>
                  <a:gd name="connsiteX20" fmla="*/ 149230 w 154430"/>
                  <a:gd name="connsiteY20" fmla="*/ 139190 h 139190"/>
                  <a:gd name="connsiteX21" fmla="*/ 54210 w 154430"/>
                  <a:gd name="connsiteY21" fmla="*/ 3549 h 139190"/>
                  <a:gd name="connsiteX22" fmla="*/ 49254 w 154430"/>
                  <a:gd name="connsiteY22" fmla="*/ 0 h 139190"/>
                  <a:gd name="connsiteX23" fmla="*/ 48703 w 154430"/>
                  <a:gd name="connsiteY23" fmla="*/ 0 h 139190"/>
                  <a:gd name="connsiteX24" fmla="*/ 43747 w 154430"/>
                  <a:gd name="connsiteY24" fmla="*/ 3549 h 139190"/>
                  <a:gd name="connsiteX25" fmla="*/ 306 w 154430"/>
                  <a:gd name="connsiteY25" fmla="*/ 132277 h 139190"/>
                  <a:gd name="connsiteX26" fmla="*/ 0 w 154430"/>
                  <a:gd name="connsiteY26" fmla="*/ 133929 h 139190"/>
                  <a:gd name="connsiteX27" fmla="*/ 5201 w 154430"/>
                  <a:gd name="connsiteY27" fmla="*/ 139129 h 139190"/>
                  <a:gd name="connsiteX28" fmla="*/ 40137 w 154430"/>
                  <a:gd name="connsiteY28" fmla="*/ 139129 h 139190"/>
                  <a:gd name="connsiteX29" fmla="*/ 45093 w 154430"/>
                  <a:gd name="connsiteY29" fmla="*/ 135581 h 139190"/>
                  <a:gd name="connsiteX30" fmla="*/ 50906 w 154430"/>
                  <a:gd name="connsiteY30" fmla="*/ 118388 h 139190"/>
                  <a:gd name="connsiteX31" fmla="*/ 34386 w 154430"/>
                  <a:gd name="connsiteY31" fmla="*/ 102970 h 139190"/>
                  <a:gd name="connsiteX32" fmla="*/ 30470 w 154430"/>
                  <a:gd name="connsiteY32" fmla="*/ 94038 h 139190"/>
                  <a:gd name="connsiteX33" fmla="*/ 42646 w 154430"/>
                  <a:gd name="connsiteY33" fmla="*/ 81862 h 139190"/>
                  <a:gd name="connsiteX34" fmla="*/ 63204 w 154430"/>
                  <a:gd name="connsiteY34" fmla="*/ 81862 h 139190"/>
                  <a:gd name="connsiteX35" fmla="*/ 71831 w 154430"/>
                  <a:gd name="connsiteY35" fmla="*/ 56227 h 139190"/>
                  <a:gd name="connsiteX36" fmla="*/ 54087 w 154430"/>
                  <a:gd name="connsiteY36" fmla="*/ 3610 h 139190"/>
                  <a:gd name="connsiteX37" fmla="*/ 54210 w 154430"/>
                  <a:gd name="connsiteY37" fmla="*/ 3610 h 139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4430" h="139190">
                    <a:moveTo>
                      <a:pt x="97590" y="132216"/>
                    </a:moveTo>
                    <a:cubicBezTo>
                      <a:pt x="98507" y="134908"/>
                      <a:pt x="97039" y="137906"/>
                      <a:pt x="94347" y="138823"/>
                    </a:cubicBezTo>
                    <a:cubicBezTo>
                      <a:pt x="93796" y="139007"/>
                      <a:pt x="93246" y="139129"/>
                      <a:pt x="92695" y="139129"/>
                    </a:cubicBezTo>
                    <a:lnTo>
                      <a:pt x="91165" y="139129"/>
                    </a:lnTo>
                    <a:cubicBezTo>
                      <a:pt x="89819" y="139129"/>
                      <a:pt x="88534" y="138640"/>
                      <a:pt x="87555" y="137722"/>
                    </a:cubicBezTo>
                    <a:lnTo>
                      <a:pt x="41789" y="95017"/>
                    </a:lnTo>
                    <a:cubicBezTo>
                      <a:pt x="41789" y="95017"/>
                      <a:pt x="41361" y="94405"/>
                      <a:pt x="41361" y="93976"/>
                    </a:cubicBezTo>
                    <a:cubicBezTo>
                      <a:pt x="41361" y="93181"/>
                      <a:pt x="41973" y="92631"/>
                      <a:pt x="42768" y="92631"/>
                    </a:cubicBezTo>
                    <a:lnTo>
                      <a:pt x="84251" y="92631"/>
                    </a:lnTo>
                    <a:lnTo>
                      <a:pt x="97590" y="132277"/>
                    </a:lnTo>
                    <a:lnTo>
                      <a:pt x="97590" y="132277"/>
                    </a:lnTo>
                    <a:close/>
                    <a:moveTo>
                      <a:pt x="149230" y="139129"/>
                    </a:moveTo>
                    <a:cubicBezTo>
                      <a:pt x="152105" y="139129"/>
                      <a:pt x="154430" y="136804"/>
                      <a:pt x="154430" y="133929"/>
                    </a:cubicBezTo>
                    <a:cubicBezTo>
                      <a:pt x="154430" y="133378"/>
                      <a:pt x="154308" y="132766"/>
                      <a:pt x="154124" y="132277"/>
                    </a:cubicBezTo>
                    <a:lnTo>
                      <a:pt x="110683" y="3549"/>
                    </a:lnTo>
                    <a:cubicBezTo>
                      <a:pt x="109949" y="1407"/>
                      <a:pt x="107991" y="0"/>
                      <a:pt x="105727" y="0"/>
                    </a:cubicBezTo>
                    <a:lnTo>
                      <a:pt x="63081" y="0"/>
                    </a:lnTo>
                    <a:cubicBezTo>
                      <a:pt x="63571" y="673"/>
                      <a:pt x="63999" y="1468"/>
                      <a:pt x="64244" y="2325"/>
                    </a:cubicBezTo>
                    <a:lnTo>
                      <a:pt x="107685" y="131053"/>
                    </a:lnTo>
                    <a:cubicBezTo>
                      <a:pt x="108664" y="133929"/>
                      <a:pt x="108113" y="136927"/>
                      <a:pt x="106523" y="139190"/>
                    </a:cubicBezTo>
                    <a:lnTo>
                      <a:pt x="149230" y="139190"/>
                    </a:lnTo>
                    <a:close/>
                    <a:moveTo>
                      <a:pt x="54210" y="3549"/>
                    </a:moveTo>
                    <a:cubicBezTo>
                      <a:pt x="53475" y="1407"/>
                      <a:pt x="51518" y="0"/>
                      <a:pt x="49254" y="0"/>
                    </a:cubicBezTo>
                    <a:lnTo>
                      <a:pt x="48703" y="0"/>
                    </a:lnTo>
                    <a:cubicBezTo>
                      <a:pt x="46439" y="0"/>
                      <a:pt x="44481" y="1407"/>
                      <a:pt x="43747" y="3549"/>
                    </a:cubicBezTo>
                    <a:lnTo>
                      <a:pt x="306" y="132277"/>
                    </a:lnTo>
                    <a:cubicBezTo>
                      <a:pt x="122" y="132828"/>
                      <a:pt x="0" y="133378"/>
                      <a:pt x="0" y="133929"/>
                    </a:cubicBezTo>
                    <a:cubicBezTo>
                      <a:pt x="0" y="136804"/>
                      <a:pt x="2325" y="139129"/>
                      <a:pt x="5201" y="139129"/>
                    </a:cubicBezTo>
                    <a:lnTo>
                      <a:pt x="40137" y="139129"/>
                    </a:lnTo>
                    <a:cubicBezTo>
                      <a:pt x="42401" y="139129"/>
                      <a:pt x="44359" y="137722"/>
                      <a:pt x="45093" y="135581"/>
                    </a:cubicBezTo>
                    <a:lnTo>
                      <a:pt x="50906" y="118388"/>
                    </a:lnTo>
                    <a:lnTo>
                      <a:pt x="34386" y="102970"/>
                    </a:lnTo>
                    <a:cubicBezTo>
                      <a:pt x="31938" y="100645"/>
                      <a:pt x="30470" y="97464"/>
                      <a:pt x="30470" y="94038"/>
                    </a:cubicBezTo>
                    <a:cubicBezTo>
                      <a:pt x="30470" y="87308"/>
                      <a:pt x="35915" y="81862"/>
                      <a:pt x="42646" y="81862"/>
                    </a:cubicBezTo>
                    <a:lnTo>
                      <a:pt x="63204" y="81862"/>
                    </a:lnTo>
                    <a:lnTo>
                      <a:pt x="71831" y="56227"/>
                    </a:lnTo>
                    <a:lnTo>
                      <a:pt x="54087" y="3610"/>
                    </a:lnTo>
                    <a:lnTo>
                      <a:pt x="54210" y="3610"/>
                    </a:lnTo>
                    <a:close/>
                  </a:path>
                </a:pathLst>
              </a:custGeom>
              <a:solidFill>
                <a:schemeClr val="tx1"/>
              </a:solidFill>
              <a:ln w="0" cap="flat">
                <a:noFill/>
                <a:prstDash val="solid"/>
                <a:miter/>
              </a:ln>
            </p:spPr>
            <p:txBody>
              <a:bodyPr rtlCol="0" anchor="ctr"/>
              <a:lstStyle/>
              <a:p>
                <a:endParaRPr lang="en-US"/>
              </a:p>
            </p:txBody>
          </p:sp>
          <p:grpSp>
            <p:nvGrpSpPr>
              <p:cNvPr id="286" name="Graphic 3">
                <a:extLst>
                  <a:ext uri="{FF2B5EF4-FFF2-40B4-BE49-F238E27FC236}">
                    <a16:creationId xmlns:a16="http://schemas.microsoft.com/office/drawing/2014/main" id="{381D2D08-C16B-30BC-1B3F-52947132A31E}"/>
                  </a:ext>
                </a:extLst>
              </p:cNvPr>
              <p:cNvGrpSpPr>
                <a:grpSpLocks noChangeAspect="1"/>
              </p:cNvGrpSpPr>
              <p:nvPr/>
            </p:nvGrpSpPr>
            <p:grpSpPr>
              <a:xfrm>
                <a:off x="7254177" y="3107692"/>
                <a:ext cx="112062" cy="90181"/>
                <a:chOff x="5488743" y="5280447"/>
                <a:chExt cx="181479" cy="146042"/>
              </a:xfrm>
              <a:solidFill>
                <a:schemeClr val="tx1"/>
              </a:solidFill>
            </p:grpSpPr>
            <p:sp>
              <p:nvSpPr>
                <p:cNvPr id="287" name="Freeform 286">
                  <a:extLst>
                    <a:ext uri="{FF2B5EF4-FFF2-40B4-BE49-F238E27FC236}">
                      <a16:creationId xmlns:a16="http://schemas.microsoft.com/office/drawing/2014/main" id="{FF9585B4-AEC1-752A-54BF-4475323CF61B}"/>
                    </a:ext>
                  </a:extLst>
                </p:cNvPr>
                <p:cNvSpPr/>
                <p:nvPr/>
              </p:nvSpPr>
              <p:spPr>
                <a:xfrm>
                  <a:off x="5516219" y="5280447"/>
                  <a:ext cx="101444" cy="37749"/>
                </a:xfrm>
                <a:custGeom>
                  <a:avLst/>
                  <a:gdLst>
                    <a:gd name="connsiteX0" fmla="*/ 101444 w 101444"/>
                    <a:gd name="connsiteY0" fmla="*/ 11441 h 37749"/>
                    <a:gd name="connsiteX1" fmla="*/ 80458 w 101444"/>
                    <a:gd name="connsiteY1" fmla="*/ 32488 h 37749"/>
                    <a:gd name="connsiteX2" fmla="*/ 78378 w 101444"/>
                    <a:gd name="connsiteY2" fmla="*/ 34568 h 37749"/>
                    <a:gd name="connsiteX3" fmla="*/ 62959 w 101444"/>
                    <a:gd name="connsiteY3" fmla="*/ 31325 h 37749"/>
                    <a:gd name="connsiteX4" fmla="*/ 43564 w 101444"/>
                    <a:gd name="connsiteY4" fmla="*/ 36465 h 37749"/>
                    <a:gd name="connsiteX5" fmla="*/ 23556 w 101444"/>
                    <a:gd name="connsiteY5" fmla="*/ 33039 h 37749"/>
                    <a:gd name="connsiteX6" fmla="*/ 23250 w 101444"/>
                    <a:gd name="connsiteY6" fmla="*/ 33039 h 37749"/>
                    <a:gd name="connsiteX7" fmla="*/ 0 w 101444"/>
                    <a:gd name="connsiteY7" fmla="*/ 37750 h 37749"/>
                    <a:gd name="connsiteX8" fmla="*/ 9484 w 101444"/>
                    <a:gd name="connsiteY8" fmla="*/ 23923 h 37749"/>
                    <a:gd name="connsiteX9" fmla="*/ 62714 w 101444"/>
                    <a:gd name="connsiteY9" fmla="*/ 0 h 37749"/>
                    <a:gd name="connsiteX10" fmla="*/ 101383 w 101444"/>
                    <a:gd name="connsiteY10" fmla="*/ 11564 h 37749"/>
                    <a:gd name="connsiteX11" fmla="*/ 101444 w 101444"/>
                    <a:gd name="connsiteY11" fmla="*/ 11564 h 37749"/>
                    <a:gd name="connsiteX12" fmla="*/ 101444 w 101444"/>
                    <a:gd name="connsiteY12" fmla="*/ 11441 h 37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1444" h="37749">
                      <a:moveTo>
                        <a:pt x="101444" y="11441"/>
                      </a:moveTo>
                      <a:lnTo>
                        <a:pt x="80458" y="32488"/>
                      </a:lnTo>
                      <a:lnTo>
                        <a:pt x="78378" y="34568"/>
                      </a:lnTo>
                      <a:cubicBezTo>
                        <a:pt x="73483" y="32365"/>
                        <a:pt x="68160" y="31325"/>
                        <a:pt x="62959" y="31325"/>
                      </a:cubicBezTo>
                      <a:cubicBezTo>
                        <a:pt x="56290" y="31325"/>
                        <a:pt x="49498" y="32978"/>
                        <a:pt x="43564" y="36465"/>
                      </a:cubicBezTo>
                      <a:cubicBezTo>
                        <a:pt x="37200" y="34140"/>
                        <a:pt x="30409" y="33039"/>
                        <a:pt x="23556" y="33039"/>
                      </a:cubicBezTo>
                      <a:lnTo>
                        <a:pt x="23250" y="33039"/>
                      </a:lnTo>
                      <a:cubicBezTo>
                        <a:pt x="15051" y="33039"/>
                        <a:pt x="7220" y="34690"/>
                        <a:pt x="0" y="37750"/>
                      </a:cubicBezTo>
                      <a:cubicBezTo>
                        <a:pt x="2631" y="32855"/>
                        <a:pt x="5751" y="28205"/>
                        <a:pt x="9484" y="23923"/>
                      </a:cubicBezTo>
                      <a:cubicBezTo>
                        <a:pt x="23556" y="8076"/>
                        <a:pt x="43135" y="0"/>
                        <a:pt x="62714" y="0"/>
                      </a:cubicBezTo>
                      <a:cubicBezTo>
                        <a:pt x="76175" y="0"/>
                        <a:pt x="89574" y="3732"/>
                        <a:pt x="101383" y="11564"/>
                      </a:cubicBezTo>
                      <a:lnTo>
                        <a:pt x="101444" y="11564"/>
                      </a:lnTo>
                      <a:lnTo>
                        <a:pt x="101444" y="11441"/>
                      </a:lnTo>
                      <a:close/>
                    </a:path>
                  </a:pathLst>
                </a:custGeom>
                <a:grpFill/>
                <a:ln w="0" cap="flat">
                  <a:noFill/>
                  <a:prstDash val="solid"/>
                  <a:miter/>
                </a:ln>
              </p:spPr>
              <p:txBody>
                <a:bodyPr rtlCol="0" anchor="ctr"/>
                <a:lstStyle/>
                <a:p>
                  <a:endParaRPr lang="en-US"/>
                </a:p>
              </p:txBody>
            </p:sp>
            <p:sp>
              <p:nvSpPr>
                <p:cNvPr id="288" name="Freeform 287">
                  <a:extLst>
                    <a:ext uri="{FF2B5EF4-FFF2-40B4-BE49-F238E27FC236}">
                      <a16:creationId xmlns:a16="http://schemas.microsoft.com/office/drawing/2014/main" id="{6F518337-625B-DDAA-10D5-3C1603135AD0}"/>
                    </a:ext>
                  </a:extLst>
                </p:cNvPr>
                <p:cNvSpPr/>
                <p:nvPr/>
              </p:nvSpPr>
              <p:spPr>
                <a:xfrm>
                  <a:off x="5589457" y="5298190"/>
                  <a:ext cx="80765" cy="128299"/>
                </a:xfrm>
                <a:custGeom>
                  <a:avLst/>
                  <a:gdLst>
                    <a:gd name="connsiteX0" fmla="*/ 80703 w 80765"/>
                    <a:gd name="connsiteY0" fmla="*/ 77396 h 128299"/>
                    <a:gd name="connsiteX1" fmla="*/ 57942 w 80765"/>
                    <a:gd name="connsiteY1" fmla="*/ 119612 h 128299"/>
                    <a:gd name="connsiteX2" fmla="*/ 49315 w 80765"/>
                    <a:gd name="connsiteY2" fmla="*/ 124323 h 128299"/>
                    <a:gd name="connsiteX3" fmla="*/ 39770 w 80765"/>
                    <a:gd name="connsiteY3" fmla="*/ 127260 h 128299"/>
                    <a:gd name="connsiteX4" fmla="*/ 29491 w 80765"/>
                    <a:gd name="connsiteY4" fmla="*/ 128300 h 128299"/>
                    <a:gd name="connsiteX5" fmla="*/ 0 w 80765"/>
                    <a:gd name="connsiteY5" fmla="*/ 128300 h 128299"/>
                    <a:gd name="connsiteX6" fmla="*/ 0 w 80765"/>
                    <a:gd name="connsiteY6" fmla="*/ 96730 h 128299"/>
                    <a:gd name="connsiteX7" fmla="*/ 29063 w 80765"/>
                    <a:gd name="connsiteY7" fmla="*/ 96730 h 128299"/>
                    <a:gd name="connsiteX8" fmla="*/ 48764 w 80765"/>
                    <a:gd name="connsiteY8" fmla="*/ 77029 h 128299"/>
                    <a:gd name="connsiteX9" fmla="*/ 29063 w 80765"/>
                    <a:gd name="connsiteY9" fmla="*/ 57328 h 128299"/>
                    <a:gd name="connsiteX10" fmla="*/ 29063 w 80765"/>
                    <a:gd name="connsiteY10" fmla="*/ 53351 h 128299"/>
                    <a:gd name="connsiteX11" fmla="*/ 23617 w 80765"/>
                    <a:gd name="connsiteY11" fmla="*/ 32794 h 128299"/>
                    <a:gd name="connsiteX12" fmla="*/ 14746 w 80765"/>
                    <a:gd name="connsiteY12" fmla="*/ 22393 h 128299"/>
                    <a:gd name="connsiteX13" fmla="*/ 14562 w 80765"/>
                    <a:gd name="connsiteY13" fmla="*/ 22209 h 128299"/>
                    <a:gd name="connsiteX14" fmla="*/ 36466 w 80765"/>
                    <a:gd name="connsiteY14" fmla="*/ 306 h 128299"/>
                    <a:gd name="connsiteX15" fmla="*/ 36772 w 80765"/>
                    <a:gd name="connsiteY15" fmla="*/ 0 h 128299"/>
                    <a:gd name="connsiteX16" fmla="*/ 45827 w 80765"/>
                    <a:gd name="connsiteY16" fmla="*/ 9789 h 128299"/>
                    <a:gd name="connsiteX17" fmla="*/ 58126 w 80765"/>
                    <a:gd name="connsiteY17" fmla="*/ 34568 h 128299"/>
                    <a:gd name="connsiteX18" fmla="*/ 80764 w 80765"/>
                    <a:gd name="connsiteY18" fmla="*/ 77396 h 128299"/>
                    <a:gd name="connsiteX19" fmla="*/ 80764 w 80765"/>
                    <a:gd name="connsiteY19" fmla="*/ 77396 h 128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0765" h="128299">
                      <a:moveTo>
                        <a:pt x="80703" y="77396"/>
                      </a:moveTo>
                      <a:cubicBezTo>
                        <a:pt x="80580" y="95016"/>
                        <a:pt x="71525" y="110557"/>
                        <a:pt x="57942" y="119612"/>
                      </a:cubicBezTo>
                      <a:cubicBezTo>
                        <a:pt x="55250" y="121386"/>
                        <a:pt x="52313" y="122977"/>
                        <a:pt x="49315" y="124323"/>
                      </a:cubicBezTo>
                      <a:cubicBezTo>
                        <a:pt x="46194" y="125546"/>
                        <a:pt x="42952" y="126648"/>
                        <a:pt x="39770" y="127260"/>
                      </a:cubicBezTo>
                      <a:cubicBezTo>
                        <a:pt x="36405" y="127994"/>
                        <a:pt x="32979" y="128300"/>
                        <a:pt x="29491" y="128300"/>
                      </a:cubicBezTo>
                      <a:lnTo>
                        <a:pt x="0" y="128300"/>
                      </a:lnTo>
                      <a:lnTo>
                        <a:pt x="0" y="96730"/>
                      </a:lnTo>
                      <a:lnTo>
                        <a:pt x="29063" y="96730"/>
                      </a:lnTo>
                      <a:cubicBezTo>
                        <a:pt x="39892" y="96730"/>
                        <a:pt x="48764" y="87981"/>
                        <a:pt x="48764" y="77029"/>
                      </a:cubicBezTo>
                      <a:cubicBezTo>
                        <a:pt x="48764" y="66077"/>
                        <a:pt x="39892" y="57328"/>
                        <a:pt x="29063" y="57328"/>
                      </a:cubicBezTo>
                      <a:lnTo>
                        <a:pt x="29063" y="53351"/>
                      </a:lnTo>
                      <a:cubicBezTo>
                        <a:pt x="29185" y="46070"/>
                        <a:pt x="27288" y="38973"/>
                        <a:pt x="23617" y="32794"/>
                      </a:cubicBezTo>
                      <a:cubicBezTo>
                        <a:pt x="21292" y="28817"/>
                        <a:pt x="18417" y="25268"/>
                        <a:pt x="14746" y="22393"/>
                      </a:cubicBezTo>
                      <a:cubicBezTo>
                        <a:pt x="14746" y="22393"/>
                        <a:pt x="14684" y="22331"/>
                        <a:pt x="14562" y="22209"/>
                      </a:cubicBezTo>
                      <a:lnTo>
                        <a:pt x="36466" y="306"/>
                      </a:lnTo>
                      <a:lnTo>
                        <a:pt x="36772" y="0"/>
                      </a:lnTo>
                      <a:cubicBezTo>
                        <a:pt x="40137" y="2937"/>
                        <a:pt x="43135" y="6240"/>
                        <a:pt x="45827" y="9789"/>
                      </a:cubicBezTo>
                      <a:cubicBezTo>
                        <a:pt x="51579" y="17070"/>
                        <a:pt x="55739" y="25513"/>
                        <a:pt x="58126" y="34568"/>
                      </a:cubicBezTo>
                      <a:cubicBezTo>
                        <a:pt x="72382" y="44112"/>
                        <a:pt x="80886" y="60203"/>
                        <a:pt x="80764" y="77396"/>
                      </a:cubicBezTo>
                      <a:lnTo>
                        <a:pt x="80764" y="77396"/>
                      </a:lnTo>
                      <a:close/>
                    </a:path>
                  </a:pathLst>
                </a:custGeom>
                <a:grpFill/>
                <a:ln w="0" cap="flat">
                  <a:noFill/>
                  <a:prstDash val="solid"/>
                  <a:miter/>
                </a:ln>
              </p:spPr>
              <p:txBody>
                <a:bodyPr rtlCol="0" anchor="ctr"/>
                <a:lstStyle/>
                <a:p>
                  <a:endParaRPr lang="en-US"/>
                </a:p>
              </p:txBody>
            </p:sp>
            <p:sp>
              <p:nvSpPr>
                <p:cNvPr id="289" name="Freeform 288">
                  <a:extLst>
                    <a:ext uri="{FF2B5EF4-FFF2-40B4-BE49-F238E27FC236}">
                      <a16:creationId xmlns:a16="http://schemas.microsoft.com/office/drawing/2014/main" id="{B7E156AF-D78A-FE5C-97CF-0B8C3E8E0E95}"/>
                    </a:ext>
                  </a:extLst>
                </p:cNvPr>
                <p:cNvSpPr/>
                <p:nvPr/>
              </p:nvSpPr>
              <p:spPr>
                <a:xfrm>
                  <a:off x="5517810" y="5394614"/>
                  <a:ext cx="61184" cy="31570"/>
                </a:xfrm>
                <a:custGeom>
                  <a:avLst/>
                  <a:gdLst>
                    <a:gd name="connsiteX0" fmla="*/ 61185 w 61184"/>
                    <a:gd name="connsiteY0" fmla="*/ 0 h 31570"/>
                    <a:gd name="connsiteX1" fmla="*/ 61185 w 61184"/>
                    <a:gd name="connsiteY1" fmla="*/ 31570 h 31570"/>
                    <a:gd name="connsiteX2" fmla="*/ 21476 w 61184"/>
                    <a:gd name="connsiteY2" fmla="*/ 31570 h 31570"/>
                    <a:gd name="connsiteX3" fmla="*/ 8138 w 61184"/>
                    <a:gd name="connsiteY3" fmla="*/ 29796 h 31570"/>
                    <a:gd name="connsiteX4" fmla="*/ 5323 w 61184"/>
                    <a:gd name="connsiteY4" fmla="*/ 28878 h 31570"/>
                    <a:gd name="connsiteX5" fmla="*/ 1468 w 61184"/>
                    <a:gd name="connsiteY5" fmla="*/ 27410 h 31570"/>
                    <a:gd name="connsiteX6" fmla="*/ 0 w 61184"/>
                    <a:gd name="connsiteY6" fmla="*/ 26676 h 31570"/>
                    <a:gd name="connsiteX7" fmla="*/ 21048 w 61184"/>
                    <a:gd name="connsiteY7" fmla="*/ 5629 h 31570"/>
                    <a:gd name="connsiteX8" fmla="*/ 26677 w 61184"/>
                    <a:gd name="connsiteY8" fmla="*/ 0 h 31570"/>
                    <a:gd name="connsiteX9" fmla="*/ 61185 w 61184"/>
                    <a:gd name="connsiteY9" fmla="*/ 0 h 31570"/>
                    <a:gd name="connsiteX10" fmla="*/ 61185 w 61184"/>
                    <a:gd name="connsiteY10" fmla="*/ 0 h 31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184" h="31570">
                      <a:moveTo>
                        <a:pt x="61185" y="0"/>
                      </a:moveTo>
                      <a:lnTo>
                        <a:pt x="61185" y="31570"/>
                      </a:lnTo>
                      <a:lnTo>
                        <a:pt x="21476" y="31570"/>
                      </a:lnTo>
                      <a:cubicBezTo>
                        <a:pt x="16887" y="31570"/>
                        <a:pt x="12421" y="30958"/>
                        <a:pt x="8138" y="29796"/>
                      </a:cubicBezTo>
                      <a:cubicBezTo>
                        <a:pt x="7220" y="29490"/>
                        <a:pt x="6241" y="29184"/>
                        <a:pt x="5323" y="28878"/>
                      </a:cubicBezTo>
                      <a:cubicBezTo>
                        <a:pt x="4099" y="28450"/>
                        <a:pt x="2692" y="28021"/>
                        <a:pt x="1468" y="27410"/>
                      </a:cubicBezTo>
                      <a:cubicBezTo>
                        <a:pt x="1040" y="27226"/>
                        <a:pt x="551" y="26981"/>
                        <a:pt x="0" y="26676"/>
                      </a:cubicBezTo>
                      <a:lnTo>
                        <a:pt x="21048" y="5629"/>
                      </a:lnTo>
                      <a:lnTo>
                        <a:pt x="26677" y="0"/>
                      </a:lnTo>
                      <a:lnTo>
                        <a:pt x="61185" y="0"/>
                      </a:lnTo>
                      <a:lnTo>
                        <a:pt x="61185" y="0"/>
                      </a:lnTo>
                      <a:close/>
                    </a:path>
                  </a:pathLst>
                </a:custGeom>
                <a:grpFill/>
                <a:ln w="0" cap="flat">
                  <a:noFill/>
                  <a:prstDash val="solid"/>
                  <a:miter/>
                </a:ln>
              </p:spPr>
              <p:txBody>
                <a:bodyPr rtlCol="0" anchor="ctr"/>
                <a:lstStyle/>
                <a:p>
                  <a:endParaRPr lang="en-US"/>
                </a:p>
              </p:txBody>
            </p:sp>
            <p:sp>
              <p:nvSpPr>
                <p:cNvPr id="290" name="Freeform 289">
                  <a:extLst>
                    <a:ext uri="{FF2B5EF4-FFF2-40B4-BE49-F238E27FC236}">
                      <a16:creationId xmlns:a16="http://schemas.microsoft.com/office/drawing/2014/main" id="{1936C7F5-01F5-1FB0-6C03-7A9A96133F40}"/>
                    </a:ext>
                  </a:extLst>
                </p:cNvPr>
                <p:cNvSpPr/>
                <p:nvPr/>
              </p:nvSpPr>
              <p:spPr>
                <a:xfrm>
                  <a:off x="5488743" y="5323826"/>
                  <a:ext cx="91720" cy="91896"/>
                </a:xfrm>
                <a:custGeom>
                  <a:avLst/>
                  <a:gdLst>
                    <a:gd name="connsiteX0" fmla="*/ 72325 w 91720"/>
                    <a:gd name="connsiteY0" fmla="*/ 4711 h 91896"/>
                    <a:gd name="connsiteX1" fmla="*/ 62780 w 91720"/>
                    <a:gd name="connsiteY1" fmla="*/ 1346 h 91896"/>
                    <a:gd name="connsiteX2" fmla="*/ 60822 w 91720"/>
                    <a:gd name="connsiteY2" fmla="*/ 1040 h 91896"/>
                    <a:gd name="connsiteX3" fmla="*/ 60516 w 91720"/>
                    <a:gd name="connsiteY3" fmla="*/ 1223 h 91896"/>
                    <a:gd name="connsiteX4" fmla="*/ 60700 w 91720"/>
                    <a:gd name="connsiteY4" fmla="*/ 918 h 91896"/>
                    <a:gd name="connsiteX5" fmla="*/ 51155 w 91720"/>
                    <a:gd name="connsiteY5" fmla="*/ 0 h 91896"/>
                    <a:gd name="connsiteX6" fmla="*/ 50971 w 91720"/>
                    <a:gd name="connsiteY6" fmla="*/ 0 h 91896"/>
                    <a:gd name="connsiteX7" fmla="*/ 23071 w 91720"/>
                    <a:gd name="connsiteY7" fmla="*/ 8443 h 91896"/>
                    <a:gd name="connsiteX8" fmla="*/ 22949 w 91720"/>
                    <a:gd name="connsiteY8" fmla="*/ 8565 h 91896"/>
                    <a:gd name="connsiteX9" fmla="*/ 6490 w 91720"/>
                    <a:gd name="connsiteY9" fmla="*/ 26370 h 91896"/>
                    <a:gd name="connsiteX10" fmla="*/ 4 w 91720"/>
                    <a:gd name="connsiteY10" fmla="*/ 51577 h 91896"/>
                    <a:gd name="connsiteX11" fmla="*/ 11324 w 91720"/>
                    <a:gd name="connsiteY11" fmla="*/ 83453 h 91896"/>
                    <a:gd name="connsiteX12" fmla="*/ 19951 w 91720"/>
                    <a:gd name="connsiteY12" fmla="*/ 91896 h 91896"/>
                    <a:gd name="connsiteX13" fmla="*/ 42773 w 91720"/>
                    <a:gd name="connsiteY13" fmla="*/ 68953 h 91896"/>
                    <a:gd name="connsiteX14" fmla="*/ 33840 w 91720"/>
                    <a:gd name="connsiteY14" fmla="*/ 60816 h 91896"/>
                    <a:gd name="connsiteX15" fmla="*/ 32983 w 91720"/>
                    <a:gd name="connsiteY15" fmla="*/ 42889 h 91896"/>
                    <a:gd name="connsiteX16" fmla="*/ 36103 w 91720"/>
                    <a:gd name="connsiteY16" fmla="*/ 37994 h 91896"/>
                    <a:gd name="connsiteX17" fmla="*/ 46015 w 91720"/>
                    <a:gd name="connsiteY17" fmla="*/ 31937 h 91896"/>
                    <a:gd name="connsiteX18" fmla="*/ 57029 w 91720"/>
                    <a:gd name="connsiteY18" fmla="*/ 32243 h 91896"/>
                    <a:gd name="connsiteX19" fmla="*/ 58986 w 91720"/>
                    <a:gd name="connsiteY19" fmla="*/ 32977 h 91896"/>
                    <a:gd name="connsiteX20" fmla="*/ 68776 w 91720"/>
                    <a:gd name="connsiteY20" fmla="*/ 42889 h 91896"/>
                    <a:gd name="connsiteX21" fmla="*/ 91720 w 91720"/>
                    <a:gd name="connsiteY21" fmla="*/ 20068 h 91896"/>
                    <a:gd name="connsiteX22" fmla="*/ 72325 w 91720"/>
                    <a:gd name="connsiteY22" fmla="*/ 4650 h 91896"/>
                    <a:gd name="connsiteX23" fmla="*/ 72325 w 91720"/>
                    <a:gd name="connsiteY23" fmla="*/ 4772 h 91896"/>
                    <a:gd name="connsiteX24" fmla="*/ 72325 w 91720"/>
                    <a:gd name="connsiteY24" fmla="*/ 4772 h 91896"/>
                    <a:gd name="connsiteX25" fmla="*/ 25029 w 91720"/>
                    <a:gd name="connsiteY25" fmla="*/ 8137 h 91896"/>
                    <a:gd name="connsiteX26" fmla="*/ 26191 w 91720"/>
                    <a:gd name="connsiteY26" fmla="*/ 8321 h 91896"/>
                    <a:gd name="connsiteX27" fmla="*/ 23499 w 91720"/>
                    <a:gd name="connsiteY27" fmla="*/ 8321 h 91896"/>
                    <a:gd name="connsiteX28" fmla="*/ 25090 w 91720"/>
                    <a:gd name="connsiteY28" fmla="*/ 8137 h 91896"/>
                    <a:gd name="connsiteX29" fmla="*/ 25029 w 91720"/>
                    <a:gd name="connsiteY29" fmla="*/ 8137 h 91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91720" h="91896">
                      <a:moveTo>
                        <a:pt x="72325" y="4711"/>
                      </a:moveTo>
                      <a:cubicBezTo>
                        <a:pt x="69266" y="3242"/>
                        <a:pt x="66084" y="2080"/>
                        <a:pt x="62780" y="1346"/>
                      </a:cubicBezTo>
                      <a:cubicBezTo>
                        <a:pt x="62168" y="1223"/>
                        <a:pt x="61556" y="1040"/>
                        <a:pt x="60822" y="1040"/>
                      </a:cubicBezTo>
                      <a:cubicBezTo>
                        <a:pt x="60700" y="1040"/>
                        <a:pt x="60638" y="1162"/>
                        <a:pt x="60516" y="1223"/>
                      </a:cubicBezTo>
                      <a:cubicBezTo>
                        <a:pt x="60516" y="1101"/>
                        <a:pt x="60638" y="1040"/>
                        <a:pt x="60700" y="918"/>
                      </a:cubicBezTo>
                      <a:cubicBezTo>
                        <a:pt x="57579" y="306"/>
                        <a:pt x="54336" y="0"/>
                        <a:pt x="51155" y="0"/>
                      </a:cubicBezTo>
                      <a:lnTo>
                        <a:pt x="50971" y="0"/>
                      </a:lnTo>
                      <a:cubicBezTo>
                        <a:pt x="40692" y="0"/>
                        <a:pt x="31086" y="3120"/>
                        <a:pt x="23071" y="8443"/>
                      </a:cubicBezTo>
                      <a:lnTo>
                        <a:pt x="22949" y="8565"/>
                      </a:lnTo>
                      <a:cubicBezTo>
                        <a:pt x="16096" y="13032"/>
                        <a:pt x="10467" y="19211"/>
                        <a:pt x="6490" y="26370"/>
                      </a:cubicBezTo>
                      <a:cubicBezTo>
                        <a:pt x="2329" y="33773"/>
                        <a:pt x="-118" y="42400"/>
                        <a:pt x="4" y="51577"/>
                      </a:cubicBezTo>
                      <a:cubicBezTo>
                        <a:pt x="127" y="63263"/>
                        <a:pt x="4104" y="74520"/>
                        <a:pt x="11324" y="83453"/>
                      </a:cubicBezTo>
                      <a:cubicBezTo>
                        <a:pt x="13832" y="86573"/>
                        <a:pt x="16769" y="89388"/>
                        <a:pt x="19951" y="91896"/>
                      </a:cubicBezTo>
                      <a:lnTo>
                        <a:pt x="42773" y="68953"/>
                      </a:lnTo>
                      <a:cubicBezTo>
                        <a:pt x="38796" y="67178"/>
                        <a:pt x="35797" y="64242"/>
                        <a:pt x="33840" y="60816"/>
                      </a:cubicBezTo>
                      <a:cubicBezTo>
                        <a:pt x="30780" y="55493"/>
                        <a:pt x="30291" y="48824"/>
                        <a:pt x="32983" y="42889"/>
                      </a:cubicBezTo>
                      <a:cubicBezTo>
                        <a:pt x="33840" y="40992"/>
                        <a:pt x="34880" y="39462"/>
                        <a:pt x="36103" y="37994"/>
                      </a:cubicBezTo>
                      <a:cubicBezTo>
                        <a:pt x="38734" y="34935"/>
                        <a:pt x="42283" y="32855"/>
                        <a:pt x="46015" y="31937"/>
                      </a:cubicBezTo>
                      <a:cubicBezTo>
                        <a:pt x="49564" y="31020"/>
                        <a:pt x="53419" y="31020"/>
                        <a:pt x="57029" y="32243"/>
                      </a:cubicBezTo>
                      <a:cubicBezTo>
                        <a:pt x="57640" y="32427"/>
                        <a:pt x="58375" y="32671"/>
                        <a:pt x="58986" y="32977"/>
                      </a:cubicBezTo>
                      <a:cubicBezTo>
                        <a:pt x="63392" y="34935"/>
                        <a:pt x="66757" y="38484"/>
                        <a:pt x="68776" y="42889"/>
                      </a:cubicBezTo>
                      <a:lnTo>
                        <a:pt x="91720" y="20068"/>
                      </a:lnTo>
                      <a:cubicBezTo>
                        <a:pt x="86520" y="13277"/>
                        <a:pt x="79850" y="8015"/>
                        <a:pt x="72325" y="4650"/>
                      </a:cubicBezTo>
                      <a:lnTo>
                        <a:pt x="72325" y="4772"/>
                      </a:lnTo>
                      <a:lnTo>
                        <a:pt x="72325" y="4772"/>
                      </a:lnTo>
                      <a:close/>
                      <a:moveTo>
                        <a:pt x="25029" y="8137"/>
                      </a:moveTo>
                      <a:cubicBezTo>
                        <a:pt x="25029" y="8137"/>
                        <a:pt x="25763" y="8137"/>
                        <a:pt x="26191" y="8321"/>
                      </a:cubicBezTo>
                      <a:cubicBezTo>
                        <a:pt x="25335" y="8137"/>
                        <a:pt x="24417" y="8198"/>
                        <a:pt x="23499" y="8321"/>
                      </a:cubicBezTo>
                      <a:cubicBezTo>
                        <a:pt x="24050" y="8198"/>
                        <a:pt x="24539" y="8137"/>
                        <a:pt x="25090" y="8137"/>
                      </a:cubicBezTo>
                      <a:lnTo>
                        <a:pt x="25029" y="8137"/>
                      </a:lnTo>
                      <a:close/>
                    </a:path>
                  </a:pathLst>
                </a:custGeom>
                <a:grpFill/>
                <a:ln w="0" cap="flat">
                  <a:noFill/>
                  <a:prstDash val="solid"/>
                  <a:miter/>
                </a:ln>
              </p:spPr>
              <p:txBody>
                <a:bodyPr rtlCol="0" anchor="ctr"/>
                <a:lstStyle/>
                <a:p>
                  <a:endParaRPr lang="en-US"/>
                </a:p>
              </p:txBody>
            </p:sp>
          </p:grpSp>
          <p:pic>
            <p:nvPicPr>
              <p:cNvPr id="19" name="Graphic 18">
                <a:extLst>
                  <a:ext uri="{FF2B5EF4-FFF2-40B4-BE49-F238E27FC236}">
                    <a16:creationId xmlns:a16="http://schemas.microsoft.com/office/drawing/2014/main" id="{89249F2A-25B8-7981-1A8A-01164382BAC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907238" y="2606886"/>
                <a:ext cx="479486" cy="479486"/>
              </a:xfrm>
              <a:prstGeom prst="rect">
                <a:avLst/>
              </a:prstGeom>
            </p:spPr>
          </p:pic>
        </p:grpSp>
        <p:sp>
          <p:nvSpPr>
            <p:cNvPr id="33" name="TextBox 32">
              <a:extLst>
                <a:ext uri="{FF2B5EF4-FFF2-40B4-BE49-F238E27FC236}">
                  <a16:creationId xmlns:a16="http://schemas.microsoft.com/office/drawing/2014/main" id="{4221A600-5BAC-1E3F-0A5F-D68B1C95B7F1}"/>
                </a:ext>
              </a:extLst>
            </p:cNvPr>
            <p:cNvSpPr txBox="1"/>
            <p:nvPr/>
          </p:nvSpPr>
          <p:spPr>
            <a:xfrm>
              <a:off x="6741436" y="4259944"/>
              <a:ext cx="1056596" cy="400110"/>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effectLst/>
                  <a:uLnTx/>
                  <a:uFillTx/>
                  <a:latin typeface="+mj-lt"/>
                  <a:ea typeface="+mn-ea"/>
                  <a:cs typeface="+mn-cs"/>
                </a:rPr>
                <a:t>Secondary Data Center</a:t>
              </a:r>
            </a:p>
          </p:txBody>
        </p:sp>
        <p:grpSp>
          <p:nvGrpSpPr>
            <p:cNvPr id="41" name="Group 40">
              <a:extLst>
                <a:ext uri="{FF2B5EF4-FFF2-40B4-BE49-F238E27FC236}">
                  <a16:creationId xmlns:a16="http://schemas.microsoft.com/office/drawing/2014/main" id="{7170F62B-CE79-80B6-99AE-DF1695AE0E07}"/>
                </a:ext>
              </a:extLst>
            </p:cNvPr>
            <p:cNvGrpSpPr/>
            <p:nvPr/>
          </p:nvGrpSpPr>
          <p:grpSpPr>
            <a:xfrm>
              <a:off x="8016324" y="2668485"/>
              <a:ext cx="849956" cy="709810"/>
              <a:chOff x="7621869" y="2625594"/>
              <a:chExt cx="849956" cy="709810"/>
            </a:xfrm>
          </p:grpSpPr>
          <p:pic>
            <p:nvPicPr>
              <p:cNvPr id="35" name="Graphic 34">
                <a:extLst>
                  <a:ext uri="{FF2B5EF4-FFF2-40B4-BE49-F238E27FC236}">
                    <a16:creationId xmlns:a16="http://schemas.microsoft.com/office/drawing/2014/main" id="{EBFA805D-2B3C-6F12-C4FA-18F8D5600935}"/>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a:xfrm>
                <a:off x="7811109" y="2625594"/>
                <a:ext cx="471476" cy="471476"/>
              </a:xfrm>
              <a:prstGeom prst="rect">
                <a:avLst/>
              </a:prstGeom>
            </p:spPr>
          </p:pic>
          <p:sp>
            <p:nvSpPr>
              <p:cNvPr id="36" name="Freeform 35">
                <a:extLst>
                  <a:ext uri="{FF2B5EF4-FFF2-40B4-BE49-F238E27FC236}">
                    <a16:creationId xmlns:a16="http://schemas.microsoft.com/office/drawing/2014/main" id="{FC002A97-2A18-BFFB-7E3A-772C739434C3}"/>
                  </a:ext>
                </a:extLst>
              </p:cNvPr>
              <p:cNvSpPr/>
              <p:nvPr/>
            </p:nvSpPr>
            <p:spPr>
              <a:xfrm>
                <a:off x="7621869" y="3031690"/>
                <a:ext cx="849956" cy="303714"/>
              </a:xfrm>
              <a:custGeom>
                <a:avLst/>
                <a:gdLst>
                  <a:gd name="connsiteX0" fmla="*/ 0 w 881161"/>
                  <a:gd name="connsiteY0" fmla="*/ 0 h 306391"/>
                  <a:gd name="connsiteX1" fmla="*/ 881161 w 881161"/>
                  <a:gd name="connsiteY1" fmla="*/ 0 h 306391"/>
                  <a:gd name="connsiteX2" fmla="*/ 881161 w 881161"/>
                  <a:gd name="connsiteY2" fmla="*/ 271966 h 306391"/>
                  <a:gd name="connsiteX3" fmla="*/ 811567 w 881161"/>
                  <a:gd name="connsiteY3" fmla="*/ 271966 h 306391"/>
                  <a:gd name="connsiteX4" fmla="*/ 811567 w 881161"/>
                  <a:gd name="connsiteY4" fmla="*/ 305545 h 306391"/>
                  <a:gd name="connsiteX5" fmla="*/ 646482 w 881161"/>
                  <a:gd name="connsiteY5" fmla="*/ 305545 h 306391"/>
                  <a:gd name="connsiteX6" fmla="*/ 646482 w 881161"/>
                  <a:gd name="connsiteY6" fmla="*/ 271966 h 306391"/>
                  <a:gd name="connsiteX7" fmla="*/ 220402 w 881161"/>
                  <a:gd name="connsiteY7" fmla="*/ 271966 h 306391"/>
                  <a:gd name="connsiteX8" fmla="*/ 220402 w 881161"/>
                  <a:gd name="connsiteY8" fmla="*/ 306391 h 306391"/>
                  <a:gd name="connsiteX9" fmla="*/ 55317 w 881161"/>
                  <a:gd name="connsiteY9" fmla="*/ 306391 h 306391"/>
                  <a:gd name="connsiteX10" fmla="*/ 55317 w 881161"/>
                  <a:gd name="connsiteY10" fmla="*/ 271966 h 306391"/>
                  <a:gd name="connsiteX11" fmla="*/ 0 w 881161"/>
                  <a:gd name="connsiteY11" fmla="*/ 271966 h 306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1161" h="306391">
                    <a:moveTo>
                      <a:pt x="0" y="0"/>
                    </a:moveTo>
                    <a:lnTo>
                      <a:pt x="881161" y="0"/>
                    </a:lnTo>
                    <a:lnTo>
                      <a:pt x="881161" y="271966"/>
                    </a:lnTo>
                    <a:lnTo>
                      <a:pt x="811567" y="271966"/>
                    </a:lnTo>
                    <a:lnTo>
                      <a:pt x="811567" y="305545"/>
                    </a:lnTo>
                    <a:lnTo>
                      <a:pt x="646482" y="305545"/>
                    </a:lnTo>
                    <a:lnTo>
                      <a:pt x="646482" y="271966"/>
                    </a:lnTo>
                    <a:lnTo>
                      <a:pt x="220402" y="271966"/>
                    </a:lnTo>
                    <a:lnTo>
                      <a:pt x="220402" y="306391"/>
                    </a:lnTo>
                    <a:lnTo>
                      <a:pt x="55317" y="306391"/>
                    </a:lnTo>
                    <a:lnTo>
                      <a:pt x="55317" y="271966"/>
                    </a:lnTo>
                    <a:lnTo>
                      <a:pt x="0" y="271966"/>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tx1"/>
                    </a:solidFill>
                    <a:effectLst/>
                    <a:uLnTx/>
                    <a:uFillTx/>
                    <a:latin typeface="+mj-lt"/>
                    <a:ea typeface="+mn-ea"/>
                    <a:cs typeface="+mn-cs"/>
                  </a:rPr>
                  <a:t>Veeam Vault</a:t>
                </a:r>
              </a:p>
            </p:txBody>
          </p:sp>
        </p:grpSp>
      </p:grpSp>
      <p:sp>
        <p:nvSpPr>
          <p:cNvPr id="52" name="TextBox 51">
            <a:extLst>
              <a:ext uri="{FF2B5EF4-FFF2-40B4-BE49-F238E27FC236}">
                <a16:creationId xmlns:a16="http://schemas.microsoft.com/office/drawing/2014/main" id="{E8BF906B-E43F-06E1-5DDC-9B1884BF4358}"/>
              </a:ext>
            </a:extLst>
          </p:cNvPr>
          <p:cNvSpPr txBox="1"/>
          <p:nvPr/>
        </p:nvSpPr>
        <p:spPr>
          <a:xfrm>
            <a:off x="0" y="320614"/>
            <a:ext cx="12192000" cy="1009828"/>
          </a:xfrm>
          <a:prstGeom prst="rect">
            <a:avLst/>
          </a:prstGeom>
          <a:noFill/>
        </p:spPr>
        <p:txBody>
          <a:bodyPr wrap="square" lIns="0" tIns="0" rIns="0" bIns="0" rtlCol="0">
            <a:spAutoFit/>
          </a:bodyPr>
          <a:lstStyle/>
          <a:p>
            <a:pPr algn="ctr">
              <a:lnSpc>
                <a:spcPct val="96000"/>
              </a:lnSpc>
              <a:spcAft>
                <a:spcPts val="1200"/>
              </a:spcAft>
              <a:defRPr/>
            </a:pPr>
            <a:r>
              <a:rPr lang="en-US" sz="3400"/>
              <a:t>Hardware-agnostic security with </a:t>
            </a:r>
            <a:br>
              <a:rPr lang="en-US" sz="3400"/>
            </a:br>
            <a:r>
              <a:rPr lang="en-US" sz="3400"/>
              <a:t>Zero Trust Data Resilience</a:t>
            </a:r>
            <a:endParaRPr kumimoji="0" lang="en-US" sz="3400" u="none" strike="noStrike" kern="1200" cap="none" spc="-300" normalizeH="0" baseline="0" noProof="0">
              <a:ln>
                <a:noFill/>
              </a:ln>
              <a:effectLst/>
              <a:uLnTx/>
              <a:uFillTx/>
              <a:latin typeface="+mj-lt"/>
              <a:ea typeface="ES Build" pitchFamily="50" charset="0"/>
              <a:cs typeface="Microsoft Sans Serif" panose="020B0604020202020204" pitchFamily="34" charset="0"/>
            </a:endParaRPr>
          </a:p>
        </p:txBody>
      </p:sp>
    </p:spTree>
    <p:extLst>
      <p:ext uri="{BB962C8B-B14F-4D97-AF65-F5344CB8AC3E}">
        <p14:creationId xmlns:p14="http://schemas.microsoft.com/office/powerpoint/2010/main" val="128548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5" name="Straight Arrow Connector 24">
            <a:extLst>
              <a:ext uri="{FF2B5EF4-FFF2-40B4-BE49-F238E27FC236}">
                <a16:creationId xmlns:a16="http://schemas.microsoft.com/office/drawing/2014/main" id="{153339B7-76B3-1926-6C65-7869F05C3654}"/>
              </a:ext>
            </a:extLst>
          </p:cNvPr>
          <p:cNvCxnSpPr>
            <a:cxnSpLocks/>
          </p:cNvCxnSpPr>
          <p:nvPr/>
        </p:nvCxnSpPr>
        <p:spPr>
          <a:xfrm flipV="1">
            <a:off x="4084401" y="3251768"/>
            <a:ext cx="864121" cy="2386"/>
          </a:xfrm>
          <a:prstGeom prst="straightConnector1">
            <a:avLst/>
          </a:prstGeom>
          <a:ln w="12700" cap="rnd">
            <a:solidFill>
              <a:schemeClr val="tx1">
                <a:lumMod val="60000"/>
                <a:lumOff val="40000"/>
              </a:schemeClr>
            </a:solidFill>
            <a:round/>
            <a:headEnd type="none" w="med" len="sm"/>
            <a:tailEnd type="arrow" w="med" len="sm"/>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99276602-7809-2B43-B137-E5DB9D0DF5FD}"/>
              </a:ext>
            </a:extLst>
          </p:cNvPr>
          <p:cNvSpPr>
            <a:spLocks noGrp="1"/>
          </p:cNvSpPr>
          <p:nvPr>
            <p:ph type="title"/>
          </p:nvPr>
        </p:nvSpPr>
        <p:spPr>
          <a:xfrm>
            <a:off x="493712" y="231390"/>
            <a:ext cx="11202987" cy="682625"/>
          </a:xfrm>
        </p:spPr>
        <p:txBody>
          <a:bodyPr/>
          <a:lstStyle/>
          <a:p>
            <a:pPr algn="ctr"/>
            <a:r>
              <a:rPr lang="en-US" sz="3000"/>
              <a:t>Veeam provides the most complete end-to-end ransomware protection and recovery</a:t>
            </a:r>
          </a:p>
        </p:txBody>
      </p:sp>
      <p:sp>
        <p:nvSpPr>
          <p:cNvPr id="186" name="TextBox 185">
            <a:extLst>
              <a:ext uri="{FF2B5EF4-FFF2-40B4-BE49-F238E27FC236}">
                <a16:creationId xmlns:a16="http://schemas.microsoft.com/office/drawing/2014/main" id="{6BF4DF57-52F3-0AFA-38BB-1239B58100DF}"/>
              </a:ext>
            </a:extLst>
          </p:cNvPr>
          <p:cNvSpPr txBox="1"/>
          <p:nvPr/>
        </p:nvSpPr>
        <p:spPr>
          <a:xfrm>
            <a:off x="2420881" y="1239976"/>
            <a:ext cx="7430746" cy="626005"/>
          </a:xfrm>
          <a:prstGeom prst="rect">
            <a:avLst/>
          </a:prstGeom>
          <a:noFill/>
          <a:ln w="12700">
            <a:noFill/>
            <a:headEnd type="none" w="med" len="med"/>
            <a:tailEnd type="none" w="med" len="med"/>
          </a:ln>
          <a:effectLst>
            <a:glow rad="199821">
              <a:schemeClr val="accent1">
                <a:satMod val="175000"/>
                <a:alpha val="29712"/>
              </a:schemeClr>
            </a:glow>
            <a:innerShdw blurRad="430585">
              <a:schemeClr val="bg1">
                <a:alpha val="10127"/>
              </a:scheme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a:lnSpc>
                <a:spcPct val="96000"/>
              </a:lnSpc>
              <a:defRPr sz="1200">
                <a:solidFill>
                  <a:schemeClr val="bg1"/>
                </a:solidFill>
                <a:latin typeface="ES Build Neutral"/>
                <a:cs typeface="Microsoft Sans Serif"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ES Build Neutral"/>
                <a:ea typeface="+mn-ea"/>
                <a:cs typeface="Microsoft Sans Serif" panose="020B0604020202020204" pitchFamily="34" charset="0"/>
              </a:rPr>
              <a:t>Veeam Cyber Secure Program</a:t>
            </a:r>
          </a:p>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b="0" i="0" u="none" strike="noStrike" kern="1200" cap="none" spc="50" normalizeH="0" baseline="0" noProof="0">
                <a:ln>
                  <a:noFill/>
                </a:ln>
                <a:solidFill>
                  <a:schemeClr val="tx1"/>
                </a:solidFill>
                <a:effectLst/>
                <a:uLnTx/>
                <a:uFillTx/>
                <a:latin typeface="ES Build Neutral"/>
                <a:ea typeface="+mn-ea"/>
                <a:cs typeface="Microsoft Sans Serif" panose="020B0604020202020204" pitchFamily="34" charset="0"/>
              </a:rPr>
              <a:t>24/7/365 SWAT Team | Health Checks | Ransomware Warranty | Incident Response Retainer</a:t>
            </a:r>
          </a:p>
        </p:txBody>
      </p:sp>
      <p:sp>
        <p:nvSpPr>
          <p:cNvPr id="96" name="Rounded Rectangle 95">
            <a:extLst>
              <a:ext uri="{FF2B5EF4-FFF2-40B4-BE49-F238E27FC236}">
                <a16:creationId xmlns:a16="http://schemas.microsoft.com/office/drawing/2014/main" id="{293ED9CF-B74C-D7E0-A388-CC0022C0F5D6}"/>
              </a:ext>
            </a:extLst>
          </p:cNvPr>
          <p:cNvSpPr/>
          <p:nvPr/>
        </p:nvSpPr>
        <p:spPr>
          <a:xfrm>
            <a:off x="8150271" y="2438400"/>
            <a:ext cx="2646957" cy="1340038"/>
          </a:xfrm>
          <a:prstGeom prst="roundRect">
            <a:avLst>
              <a:gd name="adj" fmla="val 5017"/>
            </a:avLst>
          </a:prstGeom>
          <a:solidFill>
            <a:schemeClr val="bg1"/>
          </a:solidFill>
          <a:ln w="12700">
            <a:noFill/>
            <a:headEnd type="none" w="med" len="med"/>
            <a:tailEnd type="none" w="med" len="med"/>
          </a:ln>
          <a:effectLst>
            <a:outerShdw blurRad="381000" algn="ctr" rotWithShape="0">
              <a:schemeClr val="accent1">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ES Build Neutral"/>
              <a:ea typeface="+mn-ea"/>
              <a:cs typeface="Microsoft Sans Serif" panose="020B0604020202020204" pitchFamily="34" charset="0"/>
            </a:endParaRPr>
          </a:p>
        </p:txBody>
      </p:sp>
      <p:sp>
        <p:nvSpPr>
          <p:cNvPr id="82" name="TextBox 81">
            <a:extLst>
              <a:ext uri="{FF2B5EF4-FFF2-40B4-BE49-F238E27FC236}">
                <a16:creationId xmlns:a16="http://schemas.microsoft.com/office/drawing/2014/main" id="{10B1CBE4-242F-0757-6E10-09F949AE5A02}"/>
              </a:ext>
            </a:extLst>
          </p:cNvPr>
          <p:cNvSpPr txBox="1"/>
          <p:nvPr/>
        </p:nvSpPr>
        <p:spPr>
          <a:xfrm>
            <a:off x="5510958" y="3746299"/>
            <a:ext cx="1378904"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ES Build Neutral"/>
                <a:ea typeface="+mn-ea"/>
                <a:cs typeface="+mn-cs"/>
              </a:rPr>
              <a:t>SIEM Integrations</a:t>
            </a:r>
          </a:p>
        </p:txBody>
      </p:sp>
      <p:cxnSp>
        <p:nvCxnSpPr>
          <p:cNvPr id="83" name="Elbow Connector 34">
            <a:extLst>
              <a:ext uri="{FF2B5EF4-FFF2-40B4-BE49-F238E27FC236}">
                <a16:creationId xmlns:a16="http://schemas.microsoft.com/office/drawing/2014/main" id="{48EA073D-C286-3DFA-8469-E95BB84D9E97}"/>
              </a:ext>
            </a:extLst>
          </p:cNvPr>
          <p:cNvCxnSpPr>
            <a:cxnSpLocks/>
            <a:endCxn id="82" idx="1"/>
          </p:cNvCxnSpPr>
          <p:nvPr/>
        </p:nvCxnSpPr>
        <p:spPr>
          <a:xfrm rot="16200000" flipH="1">
            <a:off x="5198650" y="3572491"/>
            <a:ext cx="344564" cy="280052"/>
          </a:xfrm>
          <a:prstGeom prst="bentConnector2">
            <a:avLst/>
          </a:prstGeom>
          <a:ln w="0" cap="rnd">
            <a:solidFill>
              <a:schemeClr val="bg1"/>
            </a:solidFill>
            <a:round/>
            <a:headEnd type="triangle"/>
            <a:tailEnd type="triangle"/>
          </a:ln>
        </p:spPr>
        <p:style>
          <a:lnRef idx="1">
            <a:schemeClr val="accent1"/>
          </a:lnRef>
          <a:fillRef idx="0">
            <a:schemeClr val="accent1"/>
          </a:fillRef>
          <a:effectRef idx="0">
            <a:schemeClr val="accent1"/>
          </a:effectRef>
          <a:fontRef idx="minor">
            <a:schemeClr val="tx1"/>
          </a:fontRef>
        </p:style>
      </p:cxnSp>
      <p:sp>
        <p:nvSpPr>
          <p:cNvPr id="69" name="Rounded Rectangle 68">
            <a:extLst>
              <a:ext uri="{FF2B5EF4-FFF2-40B4-BE49-F238E27FC236}">
                <a16:creationId xmlns:a16="http://schemas.microsoft.com/office/drawing/2014/main" id="{9E15837C-FDF8-BAA2-A24D-97A8A1470911}"/>
              </a:ext>
            </a:extLst>
          </p:cNvPr>
          <p:cNvSpPr/>
          <p:nvPr/>
        </p:nvSpPr>
        <p:spPr>
          <a:xfrm>
            <a:off x="1035457" y="1987783"/>
            <a:ext cx="3269843" cy="2251344"/>
          </a:xfrm>
          <a:prstGeom prst="roundRect">
            <a:avLst>
              <a:gd name="adj" fmla="val 3789"/>
            </a:avLst>
          </a:prstGeom>
          <a:noFill/>
          <a:ln w="3175">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144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8E71F4"/>
                </a:solidFill>
                <a:effectLst/>
                <a:uLnTx/>
                <a:uFillTx/>
                <a:latin typeface="ES Build Neutral"/>
                <a:ea typeface="+mn-ea"/>
                <a:cs typeface="+mn-cs"/>
              </a:rPr>
              <a:t>Ransomware Prevention</a:t>
            </a:r>
          </a:p>
        </p:txBody>
      </p:sp>
      <p:sp>
        <p:nvSpPr>
          <p:cNvPr id="88" name="Rounded Rectangle 87">
            <a:extLst>
              <a:ext uri="{FF2B5EF4-FFF2-40B4-BE49-F238E27FC236}">
                <a16:creationId xmlns:a16="http://schemas.microsoft.com/office/drawing/2014/main" id="{B685B9FA-B66E-4781-DD47-E30D229CA8AE}"/>
              </a:ext>
            </a:extLst>
          </p:cNvPr>
          <p:cNvSpPr/>
          <p:nvPr/>
        </p:nvSpPr>
        <p:spPr>
          <a:xfrm>
            <a:off x="4515131" y="1987782"/>
            <a:ext cx="3207747" cy="2251344"/>
          </a:xfrm>
          <a:prstGeom prst="roundRect">
            <a:avLst>
              <a:gd name="adj" fmla="val 3294"/>
            </a:avLst>
          </a:prstGeom>
          <a:noFill/>
          <a:ln w="3175">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144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8E71F4"/>
                </a:solidFill>
                <a:effectLst/>
                <a:uLnTx/>
                <a:uFillTx/>
                <a:latin typeface="ES Build Neutral"/>
                <a:ea typeface="+mn-ea"/>
                <a:cs typeface="+mn-cs"/>
              </a:rPr>
              <a:t>Threat Detection</a:t>
            </a:r>
          </a:p>
        </p:txBody>
      </p:sp>
      <p:sp>
        <p:nvSpPr>
          <p:cNvPr id="95" name="Rounded Rectangle 94">
            <a:extLst>
              <a:ext uri="{FF2B5EF4-FFF2-40B4-BE49-F238E27FC236}">
                <a16:creationId xmlns:a16="http://schemas.microsoft.com/office/drawing/2014/main" id="{6A80E482-7A44-B7D1-2B8A-96E918F63ABA}"/>
              </a:ext>
            </a:extLst>
          </p:cNvPr>
          <p:cNvSpPr/>
          <p:nvPr/>
        </p:nvSpPr>
        <p:spPr>
          <a:xfrm>
            <a:off x="7912100" y="1987782"/>
            <a:ext cx="3144634" cy="2253166"/>
          </a:xfrm>
          <a:prstGeom prst="roundRect">
            <a:avLst>
              <a:gd name="adj" fmla="val 2809"/>
            </a:avLst>
          </a:prstGeom>
          <a:noFill/>
          <a:ln w="3175">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144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8E71F4"/>
                </a:solidFill>
                <a:effectLst/>
                <a:uLnTx/>
                <a:uFillTx/>
                <a:latin typeface="ES Build Neutral"/>
                <a:ea typeface="+mn-ea"/>
                <a:cs typeface="+mn-cs"/>
              </a:rPr>
              <a:t>Rapid, Clean Recovery</a:t>
            </a:r>
          </a:p>
        </p:txBody>
      </p:sp>
      <p:pic>
        <p:nvPicPr>
          <p:cNvPr id="97" name="Graphic 96">
            <a:extLst>
              <a:ext uri="{FF2B5EF4-FFF2-40B4-BE49-F238E27FC236}">
                <a16:creationId xmlns:a16="http://schemas.microsoft.com/office/drawing/2014/main" id="{737C9725-829C-7132-8FC9-A02B4EC6D556}"/>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228426" y="2672194"/>
            <a:ext cx="490648" cy="500495"/>
          </a:xfrm>
          <a:prstGeom prst="rect">
            <a:avLst/>
          </a:prstGeom>
        </p:spPr>
      </p:pic>
      <p:sp>
        <p:nvSpPr>
          <p:cNvPr id="100" name="TextBox 99">
            <a:extLst>
              <a:ext uri="{FF2B5EF4-FFF2-40B4-BE49-F238E27FC236}">
                <a16:creationId xmlns:a16="http://schemas.microsoft.com/office/drawing/2014/main" id="{24BEB625-CB22-D5EF-C703-24833E8BA1BC}"/>
              </a:ext>
            </a:extLst>
          </p:cNvPr>
          <p:cNvSpPr txBox="1"/>
          <p:nvPr/>
        </p:nvSpPr>
        <p:spPr>
          <a:xfrm>
            <a:off x="8066137" y="3228331"/>
            <a:ext cx="283656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ES Build Neutral"/>
                <a:ea typeface="+mn-ea"/>
                <a:cs typeface="+mn-cs"/>
              </a:rPr>
              <a:t>Recover Anywhere Pre-tested, automated clean recover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effectLst/>
              <a:uLnTx/>
              <a:uFillTx/>
              <a:latin typeface="ES Build Neutral"/>
              <a:ea typeface="+mn-ea"/>
              <a:cs typeface="+mn-cs"/>
            </a:endParaRPr>
          </a:p>
        </p:txBody>
      </p:sp>
      <p:sp>
        <p:nvSpPr>
          <p:cNvPr id="140" name="Rounded Rectangle 139">
            <a:extLst>
              <a:ext uri="{FF2B5EF4-FFF2-40B4-BE49-F238E27FC236}">
                <a16:creationId xmlns:a16="http://schemas.microsoft.com/office/drawing/2014/main" id="{06993F33-FFD3-E08C-3E8A-38D537053411}"/>
              </a:ext>
            </a:extLst>
          </p:cNvPr>
          <p:cNvSpPr/>
          <p:nvPr/>
        </p:nvSpPr>
        <p:spPr>
          <a:xfrm>
            <a:off x="1035457" y="4426606"/>
            <a:ext cx="10018577" cy="1593590"/>
          </a:xfrm>
          <a:prstGeom prst="roundRect">
            <a:avLst>
              <a:gd name="adj" fmla="val 5049"/>
            </a:avLst>
          </a:prstGeom>
          <a:noFill/>
          <a:ln w="3175">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1440" rIns="164592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8E71F4"/>
                </a:solidFill>
                <a:effectLst/>
                <a:uLnTx/>
                <a:uFillTx/>
                <a:latin typeface="ES Build Neutral"/>
                <a:ea typeface="+mn-ea"/>
                <a:cs typeface="+mn-cs"/>
              </a:rPr>
              <a:t>  Incident Response –</a:t>
            </a:r>
            <a:endParaRPr kumimoji="0" lang="en-US" sz="1300" b="0" i="0" u="none" strike="noStrike" kern="1200" cap="none" spc="0" normalizeH="0" baseline="0" noProof="0">
              <a:ln>
                <a:noFill/>
              </a:ln>
              <a:solidFill>
                <a:srgbClr val="8E71F4"/>
              </a:solidFill>
              <a:effectLst/>
              <a:uLnTx/>
              <a:uFillTx/>
              <a:latin typeface="ES Build Neutral"/>
              <a:ea typeface="+mn-ea"/>
              <a:cs typeface="+mn-cs"/>
            </a:endParaRPr>
          </a:p>
        </p:txBody>
      </p:sp>
      <p:grpSp>
        <p:nvGrpSpPr>
          <p:cNvPr id="44" name="Group 43">
            <a:extLst>
              <a:ext uri="{FF2B5EF4-FFF2-40B4-BE49-F238E27FC236}">
                <a16:creationId xmlns:a16="http://schemas.microsoft.com/office/drawing/2014/main" id="{03755C8C-DE3C-4024-D7EB-0FE28B182AC1}"/>
              </a:ext>
            </a:extLst>
          </p:cNvPr>
          <p:cNvGrpSpPr/>
          <p:nvPr/>
        </p:nvGrpSpPr>
        <p:grpSpPr>
          <a:xfrm>
            <a:off x="3088005" y="4772268"/>
            <a:ext cx="1280160" cy="926809"/>
            <a:chOff x="5750493" y="4755025"/>
            <a:chExt cx="1280160" cy="926809"/>
          </a:xfrm>
        </p:grpSpPr>
        <p:pic>
          <p:nvPicPr>
            <p:cNvPr id="158" name="Graphic 157">
              <a:extLst>
                <a:ext uri="{FF2B5EF4-FFF2-40B4-BE49-F238E27FC236}">
                  <a16:creationId xmlns:a16="http://schemas.microsoft.com/office/drawing/2014/main" id="{4647B2D1-95B3-0835-7234-224F871D3002}"/>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133796" y="4755025"/>
              <a:ext cx="513553" cy="492879"/>
            </a:xfrm>
            <a:prstGeom prst="rect">
              <a:avLst/>
            </a:prstGeom>
          </p:spPr>
        </p:pic>
        <p:sp>
          <p:nvSpPr>
            <p:cNvPr id="162" name="TextBox 41">
              <a:extLst>
                <a:ext uri="{FF2B5EF4-FFF2-40B4-BE49-F238E27FC236}">
                  <a16:creationId xmlns:a16="http://schemas.microsoft.com/office/drawing/2014/main" id="{D501F07F-04D4-253D-78A5-52B832CC5AA7}"/>
                </a:ext>
              </a:extLst>
            </p:cNvPr>
            <p:cNvSpPr txBox="1"/>
            <p:nvPr/>
          </p:nvSpPr>
          <p:spPr>
            <a:xfrm>
              <a:off x="5750493" y="5312502"/>
              <a:ext cx="1280160" cy="369332"/>
            </a:xfrm>
            <a:prstGeom prst="rect">
              <a:avLst/>
            </a:prstGeom>
          </p:spPr>
          <p:txBody>
            <a:bodyPr wrap="square" lIns="0" tIns="0" rIns="0" bIns="0" rtlCol="0" anchor="t">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ES Build Neutral" pitchFamily="2" charset="77"/>
                  <a:ea typeface="ES Build Neutral" pitchFamily="2" charset="77"/>
                  <a:cs typeface="+mn-cs"/>
                </a:rPr>
                <a:t>Negotiation</a:t>
              </a:r>
            </a:p>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ES Build Neutral" pitchFamily="2" charset="77"/>
                  <a:ea typeface="ES Build Neutral" pitchFamily="2" charset="77"/>
                  <a:cs typeface="+mn-cs"/>
                </a:rPr>
                <a:t>(if required)</a:t>
              </a:r>
            </a:p>
          </p:txBody>
        </p:sp>
      </p:grpSp>
      <p:grpSp>
        <p:nvGrpSpPr>
          <p:cNvPr id="46" name="Group 45">
            <a:extLst>
              <a:ext uri="{FF2B5EF4-FFF2-40B4-BE49-F238E27FC236}">
                <a16:creationId xmlns:a16="http://schemas.microsoft.com/office/drawing/2014/main" id="{14D444EC-E3F7-1B4D-E99B-59C103A8A37A}"/>
              </a:ext>
            </a:extLst>
          </p:cNvPr>
          <p:cNvGrpSpPr/>
          <p:nvPr/>
        </p:nvGrpSpPr>
        <p:grpSpPr>
          <a:xfrm>
            <a:off x="5325161" y="4811807"/>
            <a:ext cx="1280160" cy="887270"/>
            <a:chOff x="7210305" y="4812660"/>
            <a:chExt cx="1280160" cy="887270"/>
          </a:xfrm>
        </p:grpSpPr>
        <p:pic>
          <p:nvPicPr>
            <p:cNvPr id="159" name="Graphic 158">
              <a:extLst>
                <a:ext uri="{FF2B5EF4-FFF2-40B4-BE49-F238E27FC236}">
                  <a16:creationId xmlns:a16="http://schemas.microsoft.com/office/drawing/2014/main" id="{015AFD1E-15CE-6EF7-9F87-995E1F49C749}"/>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598894" y="4812660"/>
              <a:ext cx="510531" cy="510531"/>
            </a:xfrm>
            <a:prstGeom prst="rect">
              <a:avLst/>
            </a:prstGeom>
          </p:spPr>
        </p:pic>
        <p:sp>
          <p:nvSpPr>
            <p:cNvPr id="164" name="TextBox 41">
              <a:extLst>
                <a:ext uri="{FF2B5EF4-FFF2-40B4-BE49-F238E27FC236}">
                  <a16:creationId xmlns:a16="http://schemas.microsoft.com/office/drawing/2014/main" id="{DE32D768-C227-8FCE-2F0A-9E6D8FE7D7B5}"/>
                </a:ext>
              </a:extLst>
            </p:cNvPr>
            <p:cNvSpPr txBox="1"/>
            <p:nvPr/>
          </p:nvSpPr>
          <p:spPr>
            <a:xfrm>
              <a:off x="7210305" y="5330598"/>
              <a:ext cx="1280160" cy="369332"/>
            </a:xfrm>
            <a:prstGeom prst="rect">
              <a:avLst/>
            </a:prstGeom>
          </p:spPr>
          <p:txBody>
            <a:bodyPr wrap="square" lIns="0" tIns="0" rIns="0" bIns="0" rtlCol="0" anchor="t">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ES Build Neutral" pitchFamily="2" charset="77"/>
                  <a:ea typeface="ES Build Neutral" pitchFamily="2" charset="77"/>
                  <a:cs typeface="+mn-cs"/>
                </a:rPr>
                <a:t>Settlements (if required)</a:t>
              </a:r>
            </a:p>
          </p:txBody>
        </p:sp>
      </p:grpSp>
      <p:grpSp>
        <p:nvGrpSpPr>
          <p:cNvPr id="48" name="Group 47">
            <a:extLst>
              <a:ext uri="{FF2B5EF4-FFF2-40B4-BE49-F238E27FC236}">
                <a16:creationId xmlns:a16="http://schemas.microsoft.com/office/drawing/2014/main" id="{570ECC12-542F-0261-B24F-98B41D214A45}"/>
              </a:ext>
            </a:extLst>
          </p:cNvPr>
          <p:cNvGrpSpPr/>
          <p:nvPr/>
        </p:nvGrpSpPr>
        <p:grpSpPr>
          <a:xfrm>
            <a:off x="7467059" y="4806589"/>
            <a:ext cx="1280160" cy="892488"/>
            <a:chOff x="8470303" y="4807442"/>
            <a:chExt cx="1280160" cy="892488"/>
          </a:xfrm>
        </p:grpSpPr>
        <p:pic>
          <p:nvPicPr>
            <p:cNvPr id="167" name="Graphic 166">
              <a:extLst>
                <a:ext uri="{FF2B5EF4-FFF2-40B4-BE49-F238E27FC236}">
                  <a16:creationId xmlns:a16="http://schemas.microsoft.com/office/drawing/2014/main" id="{1314D1A7-E4E2-0697-3BFB-6C0F5FE319C9}"/>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835333" y="4807442"/>
              <a:ext cx="510530" cy="510530"/>
            </a:xfrm>
            <a:prstGeom prst="rect">
              <a:avLst/>
            </a:prstGeom>
          </p:spPr>
        </p:pic>
        <p:sp>
          <p:nvSpPr>
            <p:cNvPr id="170" name="TextBox 41">
              <a:extLst>
                <a:ext uri="{FF2B5EF4-FFF2-40B4-BE49-F238E27FC236}">
                  <a16:creationId xmlns:a16="http://schemas.microsoft.com/office/drawing/2014/main" id="{32268374-35C3-0F0C-FCE6-8575F29DB108}"/>
                </a:ext>
              </a:extLst>
            </p:cNvPr>
            <p:cNvSpPr txBox="1"/>
            <p:nvPr/>
          </p:nvSpPr>
          <p:spPr>
            <a:xfrm>
              <a:off x="8470303" y="5330598"/>
              <a:ext cx="1280160" cy="369332"/>
            </a:xfrm>
            <a:prstGeom prst="rect">
              <a:avLst/>
            </a:prstGeom>
          </p:spPr>
          <p:txBody>
            <a:bodyPr wrap="square" lIns="0" tIns="0" rIns="0" bIns="0" rtlCol="0" anchor="t">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ES Build Neutral" pitchFamily="2" charset="77"/>
                  <a:ea typeface="ES Build Neutral" pitchFamily="2" charset="77"/>
                  <a:cs typeface="+mn-cs"/>
                </a:rPr>
                <a:t>Decrypt/</a:t>
              </a:r>
            </a:p>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ES Build Neutral" pitchFamily="2" charset="77"/>
                  <a:ea typeface="ES Build Neutral" pitchFamily="2" charset="77"/>
                  <a:cs typeface="+mn-cs"/>
                </a:rPr>
                <a:t>End Downtime</a:t>
              </a:r>
            </a:p>
          </p:txBody>
        </p:sp>
      </p:grpSp>
      <p:grpSp>
        <p:nvGrpSpPr>
          <p:cNvPr id="49" name="Group 48">
            <a:extLst>
              <a:ext uri="{FF2B5EF4-FFF2-40B4-BE49-F238E27FC236}">
                <a16:creationId xmlns:a16="http://schemas.microsoft.com/office/drawing/2014/main" id="{65069884-03FA-D6E1-321B-414757F4F071}"/>
              </a:ext>
            </a:extLst>
          </p:cNvPr>
          <p:cNvGrpSpPr/>
          <p:nvPr/>
        </p:nvGrpSpPr>
        <p:grpSpPr>
          <a:xfrm>
            <a:off x="9422489" y="4805077"/>
            <a:ext cx="1280160" cy="894000"/>
            <a:chOff x="9783647" y="4779923"/>
            <a:chExt cx="1280160" cy="894000"/>
          </a:xfrm>
        </p:grpSpPr>
        <p:pic>
          <p:nvPicPr>
            <p:cNvPr id="171" name="Graphic 170">
              <a:extLst>
                <a:ext uri="{FF2B5EF4-FFF2-40B4-BE49-F238E27FC236}">
                  <a16:creationId xmlns:a16="http://schemas.microsoft.com/office/drawing/2014/main" id="{152FE49E-CFD1-3E3C-1830-FEF7F0144D2F}"/>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10096854" y="4779923"/>
              <a:ext cx="513554" cy="513554"/>
            </a:xfrm>
            <a:prstGeom prst="rect">
              <a:avLst/>
            </a:prstGeom>
          </p:spPr>
        </p:pic>
        <p:sp>
          <p:nvSpPr>
            <p:cNvPr id="172" name="TextBox 41">
              <a:extLst>
                <a:ext uri="{FF2B5EF4-FFF2-40B4-BE49-F238E27FC236}">
                  <a16:creationId xmlns:a16="http://schemas.microsoft.com/office/drawing/2014/main" id="{33CF5DA0-424D-E102-307E-DA64939642FA}"/>
                </a:ext>
              </a:extLst>
            </p:cNvPr>
            <p:cNvSpPr txBox="1"/>
            <p:nvPr/>
          </p:nvSpPr>
          <p:spPr>
            <a:xfrm>
              <a:off x="9783647" y="5304591"/>
              <a:ext cx="1280160" cy="369332"/>
            </a:xfrm>
            <a:prstGeom prst="rect">
              <a:avLst/>
            </a:prstGeom>
          </p:spPr>
          <p:txBody>
            <a:bodyPr wrap="square" lIns="0" tIns="0" rIns="0" bIns="0" rtlCol="0" anchor="t">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ES Build Neutral" pitchFamily="2" charset="77"/>
                  <a:ea typeface="ES Build Neutral" pitchFamily="2" charset="77"/>
                  <a:cs typeface="+mn-cs"/>
                </a:rPr>
                <a:t>Post-incident</a:t>
              </a:r>
            </a:p>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ES Build Neutral" pitchFamily="2" charset="77"/>
                  <a:ea typeface="ES Build Neutral" pitchFamily="2" charset="77"/>
                  <a:cs typeface="+mn-cs"/>
                </a:rPr>
                <a:t>documentation</a:t>
              </a:r>
            </a:p>
          </p:txBody>
        </p:sp>
      </p:grpSp>
      <p:sp>
        <p:nvSpPr>
          <p:cNvPr id="180" name="TextBox 179">
            <a:extLst>
              <a:ext uri="{FF2B5EF4-FFF2-40B4-BE49-F238E27FC236}">
                <a16:creationId xmlns:a16="http://schemas.microsoft.com/office/drawing/2014/main" id="{30275E27-04ED-BAD9-DAA3-7DE0B94F7D67}"/>
              </a:ext>
            </a:extLst>
          </p:cNvPr>
          <p:cNvSpPr txBox="1"/>
          <p:nvPr/>
        </p:nvSpPr>
        <p:spPr>
          <a:xfrm>
            <a:off x="3770878" y="5854651"/>
            <a:ext cx="4547735" cy="307777"/>
          </a:xfrm>
          <a:prstGeom prst="rect">
            <a:avLst/>
          </a:prstGeom>
          <a:solidFill>
            <a:schemeClr val="bg1"/>
          </a:solidFill>
          <a:ln>
            <a:noFill/>
          </a:ln>
        </p:spPr>
        <p:txBody>
          <a:bodyPr wrap="square" rtlCol="0" anchor="t">
            <a:spAutoFit/>
          </a:bodyPr>
          <a:lstStyle/>
          <a:p>
            <a:pPr marL="0" marR="0" lvl="0" indent="0" algn="ctr" defTabSz="91410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ES Build Neutral" pitchFamily="2" charset="77"/>
                <a:ea typeface="ES Build Neutral" pitchFamily="2" charset="77"/>
                <a:cs typeface="Tahoma" panose="020B0604030504040204" pitchFamily="34" charset="0"/>
              </a:rPr>
              <a:t>Largest commercial database of Cyber Incident Data</a:t>
            </a:r>
          </a:p>
        </p:txBody>
      </p:sp>
      <p:sp>
        <p:nvSpPr>
          <p:cNvPr id="73" name="TextBox 72">
            <a:extLst>
              <a:ext uri="{FF2B5EF4-FFF2-40B4-BE49-F238E27FC236}">
                <a16:creationId xmlns:a16="http://schemas.microsoft.com/office/drawing/2014/main" id="{D247AD91-3A20-A1FB-3524-B9D392A932EA}"/>
              </a:ext>
            </a:extLst>
          </p:cNvPr>
          <p:cNvSpPr txBox="1"/>
          <p:nvPr/>
        </p:nvSpPr>
        <p:spPr>
          <a:xfrm>
            <a:off x="4741100" y="2479041"/>
            <a:ext cx="875634" cy="4616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effectLst/>
                <a:uLnTx/>
                <a:uFillTx/>
                <a:latin typeface="ES Build Neutral"/>
                <a:ea typeface="+mn-ea"/>
                <a:cs typeface="+mn-cs"/>
              </a:rPr>
              <a:t>AI in-line Malware Detection</a:t>
            </a:r>
          </a:p>
        </p:txBody>
      </p:sp>
      <p:pic>
        <p:nvPicPr>
          <p:cNvPr id="74" name="Graphic 73">
            <a:extLst>
              <a:ext uri="{FF2B5EF4-FFF2-40B4-BE49-F238E27FC236}">
                <a16:creationId xmlns:a16="http://schemas.microsoft.com/office/drawing/2014/main" id="{E517FE7F-7065-DCA8-58C1-F58BCFA4C100}"/>
              </a:ext>
            </a:extLst>
          </p:cNvPr>
          <p:cNvPicPr preferRelativeResize="0">
            <a:picLocks noChangeAspect="1"/>
          </p:cNvPicPr>
          <p:nvPr/>
        </p:nvPicPr>
        <p:blipFill>
          <a:blip r:embed="rId13" cstate="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5905860" y="2992917"/>
            <a:ext cx="515315" cy="515315"/>
          </a:xfrm>
          <a:prstGeom prst="rect">
            <a:avLst/>
          </a:prstGeom>
        </p:spPr>
      </p:pic>
      <p:sp>
        <p:nvSpPr>
          <p:cNvPr id="75" name="TextBox 74">
            <a:extLst>
              <a:ext uri="{FF2B5EF4-FFF2-40B4-BE49-F238E27FC236}">
                <a16:creationId xmlns:a16="http://schemas.microsoft.com/office/drawing/2014/main" id="{68E7C05B-88F4-6683-CA05-B6FDE7E77BCA}"/>
              </a:ext>
            </a:extLst>
          </p:cNvPr>
          <p:cNvSpPr txBox="1"/>
          <p:nvPr/>
        </p:nvSpPr>
        <p:spPr>
          <a:xfrm>
            <a:off x="5698437" y="2479041"/>
            <a:ext cx="875634"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effectLst/>
                <a:uLnTx/>
                <a:uFillTx/>
                <a:latin typeface="ES Build Neutral"/>
                <a:ea typeface="+mn-ea"/>
                <a:cs typeface="+mn-cs"/>
              </a:rPr>
              <a:t>Immutable</a:t>
            </a:r>
            <a:br>
              <a:rPr kumimoji="0" lang="en-US" sz="1000" b="0" i="0" u="none" strike="noStrike" kern="1200" cap="none" spc="0" normalizeH="0" baseline="0" noProof="0">
                <a:ln>
                  <a:noFill/>
                </a:ln>
                <a:effectLst/>
                <a:uLnTx/>
                <a:uFillTx/>
                <a:latin typeface="ES Build Neutral"/>
                <a:ea typeface="+mn-ea"/>
                <a:cs typeface="+mn-cs"/>
              </a:rPr>
            </a:br>
            <a:r>
              <a:rPr kumimoji="0" lang="en-US" sz="1000" b="0" i="0" u="none" strike="noStrike" kern="1200" cap="none" spc="0" normalizeH="0" baseline="0" noProof="0">
                <a:ln>
                  <a:noFill/>
                </a:ln>
                <a:effectLst/>
                <a:uLnTx/>
                <a:uFillTx/>
                <a:latin typeface="ES Build Neutral"/>
                <a:ea typeface="+mn-ea"/>
                <a:cs typeface="+mn-cs"/>
              </a:rPr>
              <a:t>Backup</a:t>
            </a:r>
          </a:p>
        </p:txBody>
      </p:sp>
      <p:sp>
        <p:nvSpPr>
          <p:cNvPr id="85" name="TextBox 84">
            <a:extLst>
              <a:ext uri="{FF2B5EF4-FFF2-40B4-BE49-F238E27FC236}">
                <a16:creationId xmlns:a16="http://schemas.microsoft.com/office/drawing/2014/main" id="{D0C7A534-CDA2-E977-F1D7-9D4B4E3BABC5}"/>
              </a:ext>
            </a:extLst>
          </p:cNvPr>
          <p:cNvSpPr txBox="1"/>
          <p:nvPr/>
        </p:nvSpPr>
        <p:spPr>
          <a:xfrm>
            <a:off x="6655774" y="2479041"/>
            <a:ext cx="875634"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effectLst/>
                <a:uLnTx/>
                <a:uFillTx/>
                <a:latin typeface="ES Build Neutral"/>
                <a:ea typeface="+mn-ea"/>
                <a:cs typeface="+mn-cs"/>
              </a:rPr>
              <a:t>YARA </a:t>
            </a:r>
            <a:br>
              <a:rPr kumimoji="0" lang="en-US" sz="1000" b="0" i="0" u="none" strike="noStrike" kern="1200" cap="none" spc="0" normalizeH="0" baseline="0" noProof="0">
                <a:ln>
                  <a:noFill/>
                </a:ln>
                <a:effectLst/>
                <a:uLnTx/>
                <a:uFillTx/>
                <a:latin typeface="ES Build Neutral"/>
                <a:ea typeface="+mn-ea"/>
                <a:cs typeface="+mn-cs"/>
              </a:rPr>
            </a:br>
            <a:r>
              <a:rPr kumimoji="0" lang="en-US" sz="1000" b="0" i="0" u="none" strike="noStrike" kern="1200" cap="none" spc="0" normalizeH="0" baseline="0" noProof="0">
                <a:ln>
                  <a:noFill/>
                </a:ln>
                <a:effectLst/>
                <a:uLnTx/>
                <a:uFillTx/>
                <a:latin typeface="ES Build Neutral"/>
                <a:ea typeface="+mn-ea"/>
                <a:cs typeface="+mn-cs"/>
              </a:rPr>
              <a:t>Rules</a:t>
            </a:r>
          </a:p>
        </p:txBody>
      </p:sp>
      <p:pic>
        <p:nvPicPr>
          <p:cNvPr id="84" name="Graphic 83">
            <a:extLst>
              <a:ext uri="{FF2B5EF4-FFF2-40B4-BE49-F238E27FC236}">
                <a16:creationId xmlns:a16="http://schemas.microsoft.com/office/drawing/2014/main" id="{492B21D7-7CC5-08E8-04D7-C4D58948C497}"/>
              </a:ext>
            </a:extLst>
          </p:cNvPr>
          <p:cNvPicPr>
            <a:picLocks noChangeAspect="1"/>
          </p:cNvPicPr>
          <p:nvPr/>
        </p:nvPicPr>
        <p:blipFill>
          <a:blip r:embed="rId15" cstate="print">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6863197" y="2992917"/>
            <a:ext cx="515315" cy="515315"/>
          </a:xfrm>
          <a:prstGeom prst="rect">
            <a:avLst/>
          </a:prstGeom>
        </p:spPr>
      </p:pic>
      <p:sp>
        <p:nvSpPr>
          <p:cNvPr id="8" name="Rounded Rectangle 7">
            <a:extLst>
              <a:ext uri="{FF2B5EF4-FFF2-40B4-BE49-F238E27FC236}">
                <a16:creationId xmlns:a16="http://schemas.microsoft.com/office/drawing/2014/main" id="{E69D6612-3EAA-659A-A6CB-AC1CC65DCD64}"/>
              </a:ext>
            </a:extLst>
          </p:cNvPr>
          <p:cNvSpPr/>
          <p:nvPr/>
        </p:nvSpPr>
        <p:spPr>
          <a:xfrm>
            <a:off x="1300362" y="2462955"/>
            <a:ext cx="2751770" cy="1315483"/>
          </a:xfrm>
          <a:prstGeom prst="roundRect">
            <a:avLst>
              <a:gd name="adj" fmla="val 6495"/>
            </a:avLst>
          </a:prstGeom>
          <a:solidFill>
            <a:schemeClr val="bg1"/>
          </a:solidFill>
          <a:ln w="12700">
            <a:noFill/>
            <a:headEnd type="none" w="med" len="med"/>
            <a:tailEnd type="none" w="med" len="med"/>
          </a:ln>
          <a:effectLst>
            <a:outerShdw blurRad="381000" algn="ctr" rotWithShape="0">
              <a:schemeClr val="accent1">
                <a:alpha val="13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algn="ctr">
              <a:lnSpc>
                <a:spcPct val="96000"/>
              </a:lnSpc>
            </a:pPr>
            <a:endParaRPr lang="en-US" sz="1200">
              <a:solidFill>
                <a:schemeClr val="tx1"/>
              </a:solidFill>
              <a:latin typeface="ES Build Neutral"/>
              <a:cs typeface="Microsoft Sans Serif" panose="020B0604020202020204" pitchFamily="34" charset="0"/>
            </a:endParaRPr>
          </a:p>
        </p:txBody>
      </p:sp>
      <p:pic>
        <p:nvPicPr>
          <p:cNvPr id="39" name="Graphic 38">
            <a:extLst>
              <a:ext uri="{FF2B5EF4-FFF2-40B4-BE49-F238E27FC236}">
                <a16:creationId xmlns:a16="http://schemas.microsoft.com/office/drawing/2014/main" id="{3ED490BE-6C72-6FA5-0526-FE20A462B8A3}"/>
              </a:ext>
            </a:extLst>
          </p:cNvPr>
          <p:cNvPicPr>
            <a:picLocks noChangeAspect="1"/>
          </p:cNvPicPr>
          <p:nvPr/>
        </p:nvPicPr>
        <p:blipFill>
          <a:blip r:embed="rId17" cstate="print">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2411062" y="2672486"/>
            <a:ext cx="487716" cy="500203"/>
          </a:xfrm>
          <a:prstGeom prst="rect">
            <a:avLst/>
          </a:prstGeom>
        </p:spPr>
      </p:pic>
      <p:pic>
        <p:nvPicPr>
          <p:cNvPr id="40" name="Graphic 39">
            <a:extLst>
              <a:ext uri="{FF2B5EF4-FFF2-40B4-BE49-F238E27FC236}">
                <a16:creationId xmlns:a16="http://schemas.microsoft.com/office/drawing/2014/main" id="{225CF37F-9009-C7B1-B439-4F13C99928DD}"/>
              </a:ext>
            </a:extLst>
          </p:cNvPr>
          <p:cNvPicPr>
            <a:picLocks noChangeAspect="1"/>
          </p:cNvPicPr>
          <p:nvPr/>
        </p:nvPicPr>
        <p:blipFill>
          <a:blip r:embed="rId19" cstate="print">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3145725" y="2641907"/>
            <a:ext cx="504317" cy="574718"/>
          </a:xfrm>
          <a:prstGeom prst="rect">
            <a:avLst/>
          </a:prstGeom>
        </p:spPr>
      </p:pic>
      <p:sp>
        <p:nvSpPr>
          <p:cNvPr id="87" name="TextBox 86">
            <a:extLst>
              <a:ext uri="{FF2B5EF4-FFF2-40B4-BE49-F238E27FC236}">
                <a16:creationId xmlns:a16="http://schemas.microsoft.com/office/drawing/2014/main" id="{0424FED7-6AB3-7927-3F0D-3F420ACE2A32}"/>
              </a:ext>
            </a:extLst>
          </p:cNvPr>
          <p:cNvSpPr txBox="1"/>
          <p:nvPr/>
        </p:nvSpPr>
        <p:spPr>
          <a:xfrm>
            <a:off x="1662319" y="3228331"/>
            <a:ext cx="2034942"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ES Build Neutral"/>
                <a:ea typeface="+mn-ea"/>
                <a:cs typeface="+mn-cs"/>
              </a:rPr>
              <a:t>Clean-room, verified, immutable backups</a:t>
            </a:r>
          </a:p>
        </p:txBody>
      </p:sp>
      <p:pic>
        <p:nvPicPr>
          <p:cNvPr id="15" name="Graphic 14">
            <a:extLst>
              <a:ext uri="{FF2B5EF4-FFF2-40B4-BE49-F238E27FC236}">
                <a16:creationId xmlns:a16="http://schemas.microsoft.com/office/drawing/2014/main" id="{EB71D6AF-53C5-BCF8-D613-C6ACB34F4F30}"/>
              </a:ext>
            </a:extLst>
          </p:cNvPr>
          <p:cNvPicPr>
            <a:picLocks noChangeAspect="1"/>
          </p:cNvPicPr>
          <p:nvPr/>
        </p:nvPicPr>
        <p:blipFill>
          <a:blip r:embed="rId17" cstate="print">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1676400" y="2682514"/>
            <a:ext cx="487716" cy="500203"/>
          </a:xfrm>
          <a:prstGeom prst="rect">
            <a:avLst/>
          </a:prstGeom>
        </p:spPr>
      </p:pic>
      <p:grpSp>
        <p:nvGrpSpPr>
          <p:cNvPr id="43" name="Group 42">
            <a:extLst>
              <a:ext uri="{FF2B5EF4-FFF2-40B4-BE49-F238E27FC236}">
                <a16:creationId xmlns:a16="http://schemas.microsoft.com/office/drawing/2014/main" id="{1766AB74-647B-13CF-38CF-E8697AD04E26}"/>
              </a:ext>
            </a:extLst>
          </p:cNvPr>
          <p:cNvGrpSpPr/>
          <p:nvPr/>
        </p:nvGrpSpPr>
        <p:grpSpPr>
          <a:xfrm>
            <a:off x="1127460" y="4808784"/>
            <a:ext cx="1280160" cy="890293"/>
            <a:chOff x="4455823" y="4802229"/>
            <a:chExt cx="1280160" cy="890293"/>
          </a:xfrm>
        </p:grpSpPr>
        <p:sp>
          <p:nvSpPr>
            <p:cNvPr id="143" name="TextBox 41">
              <a:extLst>
                <a:ext uri="{FF2B5EF4-FFF2-40B4-BE49-F238E27FC236}">
                  <a16:creationId xmlns:a16="http://schemas.microsoft.com/office/drawing/2014/main" id="{1AED1A2B-33BC-4CD5-8915-0D032BF3F7F3}"/>
                </a:ext>
              </a:extLst>
            </p:cNvPr>
            <p:cNvSpPr txBox="1"/>
            <p:nvPr/>
          </p:nvSpPr>
          <p:spPr>
            <a:xfrm>
              <a:off x="4455823" y="5323190"/>
              <a:ext cx="1280160" cy="369332"/>
            </a:xfrm>
            <a:prstGeom prst="rect">
              <a:avLst/>
            </a:prstGeom>
          </p:spPr>
          <p:txBody>
            <a:bodyPr wrap="square" lIns="0" tIns="0" rIns="0" bIns="0" rtlCol="0" anchor="t">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ES Build Neutral" pitchFamily="2" charset="77"/>
                  <a:ea typeface="ES Build Neutral" pitchFamily="2" charset="77"/>
                  <a:cs typeface="+mn-cs"/>
                </a:rPr>
                <a:t>Forensic </a:t>
              </a:r>
              <a:br>
                <a:rPr kumimoji="0" lang="en-US" sz="1200" b="0" i="0" u="none" strike="noStrike" kern="1200" cap="none" spc="0" normalizeH="0" baseline="0" noProof="0">
                  <a:ln>
                    <a:noFill/>
                  </a:ln>
                  <a:effectLst/>
                  <a:uLnTx/>
                  <a:uFillTx/>
                  <a:latin typeface="ES Build Neutral" pitchFamily="2" charset="77"/>
                  <a:ea typeface="ES Build Neutral" pitchFamily="2" charset="77"/>
                  <a:cs typeface="+mn-cs"/>
                </a:rPr>
              </a:br>
              <a:r>
                <a:rPr kumimoji="0" lang="en-US" sz="1200" b="0" i="0" u="none" strike="noStrike" kern="1200" cap="none" spc="0" normalizeH="0" baseline="0" noProof="0">
                  <a:ln>
                    <a:noFill/>
                  </a:ln>
                  <a:effectLst/>
                  <a:uLnTx/>
                  <a:uFillTx/>
                  <a:latin typeface="ES Build Neutral" pitchFamily="2" charset="77"/>
                  <a:ea typeface="ES Build Neutral" pitchFamily="2" charset="77"/>
                  <a:cs typeface="+mn-cs"/>
                </a:rPr>
                <a:t>Analysis</a:t>
              </a:r>
            </a:p>
          </p:txBody>
        </p:sp>
        <p:pic>
          <p:nvPicPr>
            <p:cNvPr id="35" name="Graphic 34">
              <a:extLst>
                <a:ext uri="{FF2B5EF4-FFF2-40B4-BE49-F238E27FC236}">
                  <a16:creationId xmlns:a16="http://schemas.microsoft.com/office/drawing/2014/main" id="{DD149BE2-EC47-8DCD-21B8-46696A472CEC}"/>
                </a:ext>
              </a:extLst>
            </p:cNvPr>
            <p:cNvPicPr>
              <a:picLocks noChangeAspect="1"/>
            </p:cNvPicPr>
            <p:nvPr/>
          </p:nvPicPr>
          <p:blipFill>
            <a:blip r:embed="rId21" cstate="print">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4833477" y="4802229"/>
              <a:ext cx="513554" cy="513554"/>
            </a:xfrm>
            <a:prstGeom prst="rect">
              <a:avLst/>
            </a:prstGeom>
          </p:spPr>
        </p:pic>
      </p:grpSp>
      <p:pic>
        <p:nvPicPr>
          <p:cNvPr id="3" name="Graphic 2">
            <a:extLst>
              <a:ext uri="{FF2B5EF4-FFF2-40B4-BE49-F238E27FC236}">
                <a16:creationId xmlns:a16="http://schemas.microsoft.com/office/drawing/2014/main" id="{F61CBDA0-B2CD-0001-7DAE-DD5B204AA894}"/>
              </a:ext>
            </a:extLst>
          </p:cNvPr>
          <p:cNvPicPr>
            <a:picLocks noChangeAspect="1"/>
          </p:cNvPicPr>
          <p:nvPr/>
        </p:nvPicPr>
        <p:blipFill>
          <a:blip r:embed="rId23"/>
          <a:srcRect/>
          <a:stretch/>
        </p:blipFill>
        <p:spPr>
          <a:xfrm>
            <a:off x="6146764" y="4586358"/>
            <a:ext cx="911404" cy="220349"/>
          </a:xfrm>
          <a:prstGeom prst="rect">
            <a:avLst/>
          </a:prstGeom>
        </p:spPr>
      </p:pic>
      <p:pic>
        <p:nvPicPr>
          <p:cNvPr id="72" name="Graphic 71">
            <a:extLst>
              <a:ext uri="{FF2B5EF4-FFF2-40B4-BE49-F238E27FC236}">
                <a16:creationId xmlns:a16="http://schemas.microsoft.com/office/drawing/2014/main" id="{09062521-B84F-D0F5-11D5-A786F20CB0CD}"/>
              </a:ext>
            </a:extLst>
          </p:cNvPr>
          <p:cNvPicPr>
            <a:picLocks noChangeAspect="1"/>
          </p:cNvPicPr>
          <p:nvPr/>
        </p:nvPicPr>
        <p:blipFill>
          <a:blip r:embed="rId24" cstate="print">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4948522" y="2992113"/>
            <a:ext cx="516923" cy="516923"/>
          </a:xfrm>
          <a:prstGeom prst="rect">
            <a:avLst/>
          </a:prstGeom>
        </p:spPr>
      </p:pic>
      <p:cxnSp>
        <p:nvCxnSpPr>
          <p:cNvPr id="30" name="Straight Arrow Connector 29">
            <a:extLst>
              <a:ext uri="{FF2B5EF4-FFF2-40B4-BE49-F238E27FC236}">
                <a16:creationId xmlns:a16="http://schemas.microsoft.com/office/drawing/2014/main" id="{B86E66E0-67F0-4BA7-4CCC-A9874217E907}"/>
              </a:ext>
            </a:extLst>
          </p:cNvPr>
          <p:cNvCxnSpPr>
            <a:cxnSpLocks/>
          </p:cNvCxnSpPr>
          <p:nvPr/>
        </p:nvCxnSpPr>
        <p:spPr>
          <a:xfrm>
            <a:off x="6519027" y="3252961"/>
            <a:ext cx="273347" cy="0"/>
          </a:xfrm>
          <a:prstGeom prst="straightConnector1">
            <a:avLst/>
          </a:prstGeom>
          <a:ln w="12700" cap="rnd">
            <a:solidFill>
              <a:schemeClr val="tx1">
                <a:lumMod val="60000"/>
                <a:lumOff val="40000"/>
              </a:schemeClr>
            </a:solidFill>
            <a:round/>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C781EFE2-9DE8-6998-EAD7-65014C4233D6}"/>
              </a:ext>
            </a:extLst>
          </p:cNvPr>
          <p:cNvCxnSpPr>
            <a:cxnSpLocks/>
          </p:cNvCxnSpPr>
          <p:nvPr/>
        </p:nvCxnSpPr>
        <p:spPr>
          <a:xfrm>
            <a:off x="5460401" y="3252961"/>
            <a:ext cx="273347" cy="0"/>
          </a:xfrm>
          <a:prstGeom prst="straightConnector1">
            <a:avLst/>
          </a:prstGeom>
          <a:ln w="12700" cap="rnd">
            <a:solidFill>
              <a:schemeClr val="tx1">
                <a:lumMod val="60000"/>
                <a:lumOff val="40000"/>
              </a:schemeClr>
            </a:solidFill>
            <a:round/>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3E08E15D-4A5E-B929-013A-4468438EA58D}"/>
              </a:ext>
            </a:extLst>
          </p:cNvPr>
          <p:cNvCxnSpPr>
            <a:cxnSpLocks/>
          </p:cNvCxnSpPr>
          <p:nvPr/>
        </p:nvCxnSpPr>
        <p:spPr>
          <a:xfrm>
            <a:off x="7333033" y="3252961"/>
            <a:ext cx="764114" cy="0"/>
          </a:xfrm>
          <a:prstGeom prst="straightConnector1">
            <a:avLst/>
          </a:prstGeom>
          <a:ln w="12700" cap="rnd">
            <a:solidFill>
              <a:schemeClr val="tx1">
                <a:lumMod val="60000"/>
                <a:lumOff val="40000"/>
              </a:schemeClr>
            </a:solidFill>
            <a:round/>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3A61DCC9-B6E0-232F-3188-2B28F20170D4}"/>
              </a:ext>
            </a:extLst>
          </p:cNvPr>
          <p:cNvCxnSpPr>
            <a:cxnSpLocks/>
          </p:cNvCxnSpPr>
          <p:nvPr/>
        </p:nvCxnSpPr>
        <p:spPr>
          <a:xfrm>
            <a:off x="9012471" y="5105400"/>
            <a:ext cx="273347" cy="0"/>
          </a:xfrm>
          <a:prstGeom prst="straightConnector1">
            <a:avLst/>
          </a:prstGeom>
          <a:ln w="12700" cap="rnd">
            <a:solidFill>
              <a:schemeClr val="tx1">
                <a:lumMod val="60000"/>
                <a:lumOff val="40000"/>
              </a:schemeClr>
            </a:solidFill>
            <a:round/>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BE1C4919-2D42-EDAE-42F6-2393B3C9955D}"/>
              </a:ext>
            </a:extLst>
          </p:cNvPr>
          <p:cNvCxnSpPr>
            <a:cxnSpLocks/>
          </p:cNvCxnSpPr>
          <p:nvPr/>
        </p:nvCxnSpPr>
        <p:spPr>
          <a:xfrm>
            <a:off x="6981353" y="5105400"/>
            <a:ext cx="273347" cy="0"/>
          </a:xfrm>
          <a:prstGeom prst="straightConnector1">
            <a:avLst/>
          </a:prstGeom>
          <a:ln w="12700" cap="rnd">
            <a:solidFill>
              <a:schemeClr val="tx1">
                <a:lumMod val="60000"/>
                <a:lumOff val="40000"/>
              </a:schemeClr>
            </a:solidFill>
            <a:round/>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6BDF59F5-EAAE-2E25-AD04-D6A6885AB8BF}"/>
              </a:ext>
            </a:extLst>
          </p:cNvPr>
          <p:cNvCxnSpPr>
            <a:cxnSpLocks/>
          </p:cNvCxnSpPr>
          <p:nvPr/>
        </p:nvCxnSpPr>
        <p:spPr>
          <a:xfrm>
            <a:off x="4784092" y="5105400"/>
            <a:ext cx="273347" cy="0"/>
          </a:xfrm>
          <a:prstGeom prst="straightConnector1">
            <a:avLst/>
          </a:prstGeom>
          <a:ln w="12700" cap="rnd">
            <a:solidFill>
              <a:schemeClr val="tx1">
                <a:lumMod val="60000"/>
                <a:lumOff val="40000"/>
              </a:schemeClr>
            </a:solidFill>
            <a:round/>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931EE8D0-7346-8B3E-FD2D-A54C20224304}"/>
              </a:ext>
            </a:extLst>
          </p:cNvPr>
          <p:cNvCxnSpPr>
            <a:cxnSpLocks/>
          </p:cNvCxnSpPr>
          <p:nvPr/>
        </p:nvCxnSpPr>
        <p:spPr>
          <a:xfrm>
            <a:off x="2643380" y="5105400"/>
            <a:ext cx="273347" cy="0"/>
          </a:xfrm>
          <a:prstGeom prst="straightConnector1">
            <a:avLst/>
          </a:prstGeom>
          <a:ln w="12700" cap="rnd">
            <a:solidFill>
              <a:schemeClr val="tx1">
                <a:lumMod val="60000"/>
                <a:lumOff val="40000"/>
              </a:schemeClr>
            </a:solidFill>
            <a:round/>
            <a:headEnd type="none"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54" name="Elbow Connector 53">
            <a:extLst>
              <a:ext uri="{FF2B5EF4-FFF2-40B4-BE49-F238E27FC236}">
                <a16:creationId xmlns:a16="http://schemas.microsoft.com/office/drawing/2014/main" id="{8DE4B02A-0A22-5132-986B-D7A3CF70C105}"/>
              </a:ext>
            </a:extLst>
          </p:cNvPr>
          <p:cNvCxnSpPr>
            <a:cxnSpLocks/>
            <a:stCxn id="96" idx="2"/>
            <a:endCxn id="167" idx="0"/>
          </p:cNvCxnSpPr>
          <p:nvPr/>
        </p:nvCxnSpPr>
        <p:spPr>
          <a:xfrm rot="5400000">
            <a:off x="8266477" y="3599315"/>
            <a:ext cx="1028151" cy="1386396"/>
          </a:xfrm>
          <a:prstGeom prst="bentConnector3">
            <a:avLst>
              <a:gd name="adj1" fmla="val 53801"/>
            </a:avLst>
          </a:prstGeom>
          <a:ln w="12700" cap="rnd">
            <a:solidFill>
              <a:schemeClr val="tx1">
                <a:lumMod val="60000"/>
                <a:lumOff val="40000"/>
              </a:schemeClr>
            </a:solidFill>
            <a:round/>
            <a:headEnd type="none" w="med" len="sm"/>
            <a:tailEnd type="arrow" w="med" len="sm"/>
          </a:ln>
        </p:spPr>
        <p:style>
          <a:lnRef idx="1">
            <a:schemeClr val="accent1"/>
          </a:lnRef>
          <a:fillRef idx="0">
            <a:schemeClr val="accent1"/>
          </a:fillRef>
          <a:effectRef idx="0">
            <a:schemeClr val="accent1"/>
          </a:effectRef>
          <a:fontRef idx="minor">
            <a:schemeClr val="tx1"/>
          </a:fontRef>
        </p:style>
      </p:cxnSp>
      <p:sp>
        <p:nvSpPr>
          <p:cNvPr id="23" name="Freeform: Shape 22">
            <a:extLst>
              <a:ext uri="{FF2B5EF4-FFF2-40B4-BE49-F238E27FC236}">
                <a16:creationId xmlns:a16="http://schemas.microsoft.com/office/drawing/2014/main" id="{8C21546E-4F27-8454-022F-7F11EC7A431A}"/>
              </a:ext>
            </a:extLst>
          </p:cNvPr>
          <p:cNvSpPr/>
          <p:nvPr/>
        </p:nvSpPr>
        <p:spPr>
          <a:xfrm>
            <a:off x="5189220" y="3627120"/>
            <a:ext cx="243840" cy="251460"/>
          </a:xfrm>
          <a:custGeom>
            <a:avLst/>
            <a:gdLst>
              <a:gd name="connsiteX0" fmla="*/ 243840 w 243840"/>
              <a:gd name="connsiteY0" fmla="*/ 213360 h 213360"/>
              <a:gd name="connsiteX1" fmla="*/ 0 w 243840"/>
              <a:gd name="connsiteY1" fmla="*/ 213360 h 213360"/>
              <a:gd name="connsiteX2" fmla="*/ 0 w 243840"/>
              <a:gd name="connsiteY2" fmla="*/ 0 h 213360"/>
              <a:gd name="connsiteX0" fmla="*/ 243840 w 243840"/>
              <a:gd name="connsiteY0" fmla="*/ 251460 h 251460"/>
              <a:gd name="connsiteX1" fmla="*/ 0 w 243840"/>
              <a:gd name="connsiteY1" fmla="*/ 251460 h 251460"/>
              <a:gd name="connsiteX2" fmla="*/ 2382 w 243840"/>
              <a:gd name="connsiteY2" fmla="*/ 0 h 251460"/>
            </a:gdLst>
            <a:ahLst/>
            <a:cxnLst>
              <a:cxn ang="0">
                <a:pos x="connsiteX0" y="connsiteY0"/>
              </a:cxn>
              <a:cxn ang="0">
                <a:pos x="connsiteX1" y="connsiteY1"/>
              </a:cxn>
              <a:cxn ang="0">
                <a:pos x="connsiteX2" y="connsiteY2"/>
              </a:cxn>
            </a:cxnLst>
            <a:rect l="l" t="t" r="r" b="b"/>
            <a:pathLst>
              <a:path w="243840" h="251460">
                <a:moveTo>
                  <a:pt x="243840" y="251460"/>
                </a:moveTo>
                <a:lnTo>
                  <a:pt x="0" y="251460"/>
                </a:lnTo>
                <a:cubicBezTo>
                  <a:pt x="0" y="180340"/>
                  <a:pt x="2382" y="71120"/>
                  <a:pt x="2382" y="0"/>
                </a:cubicBezTo>
              </a:path>
            </a:pathLst>
          </a:custGeom>
          <a:ln w="12700" cap="rnd">
            <a:solidFill>
              <a:schemeClr val="tx1">
                <a:lumMod val="60000"/>
                <a:lumOff val="40000"/>
              </a:schemeClr>
            </a:solidFill>
            <a:round/>
            <a:headEnd type="arrow" w="med" len="sm"/>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3635081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D1">
            <a:extLst>
              <a:ext uri="{FF2B5EF4-FFF2-40B4-BE49-F238E27FC236}">
                <a16:creationId xmlns:a16="http://schemas.microsoft.com/office/drawing/2014/main" id="{F9F1A452-CAA8-F001-A24A-175B52DB89C9}"/>
              </a:ext>
            </a:extLst>
          </p:cNvPr>
          <p:cNvSpPr/>
          <p:nvPr/>
        </p:nvSpPr>
        <p:spPr>
          <a:xfrm>
            <a:off x="493289" y="1638999"/>
            <a:ext cx="11019043" cy="4506679"/>
          </a:xfrm>
          <a:prstGeom prst="roundRect">
            <a:avLst>
              <a:gd name="adj" fmla="val 1854"/>
            </a:avLst>
          </a:prstGeom>
          <a:solidFill>
            <a:schemeClr val="bg1"/>
          </a:solidFill>
          <a:ln>
            <a:noFill/>
          </a:ln>
          <a:effectLst>
            <a:outerShdw blurRad="381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defRPr/>
            </a:pPr>
            <a:endParaRPr lang="en-US" sz="2400">
              <a:solidFill>
                <a:srgbClr val="FFFFFF"/>
              </a:solidFill>
              <a:latin typeface="ES Build" pitchFamily="50" charset="0"/>
              <a:cs typeface="Microsoft Sans Serif" panose="020B0604020202020204" pitchFamily="34" charset="0"/>
            </a:endParaRPr>
          </a:p>
        </p:txBody>
      </p:sp>
      <p:sp>
        <p:nvSpPr>
          <p:cNvPr id="235" name="Freeform 234">
            <a:extLst>
              <a:ext uri="{FF2B5EF4-FFF2-40B4-BE49-F238E27FC236}">
                <a16:creationId xmlns:a16="http://schemas.microsoft.com/office/drawing/2014/main" id="{A3AB2225-616F-1DC1-A53B-CCFD7052E306}"/>
              </a:ext>
            </a:extLst>
          </p:cNvPr>
          <p:cNvSpPr/>
          <p:nvPr/>
        </p:nvSpPr>
        <p:spPr>
          <a:xfrm>
            <a:off x="493289" y="1638576"/>
            <a:ext cx="2812314" cy="4507103"/>
          </a:xfrm>
          <a:custGeom>
            <a:avLst/>
            <a:gdLst>
              <a:gd name="connsiteX0" fmla="*/ 74744 w 2812314"/>
              <a:gd name="connsiteY0" fmla="*/ 0 h 4507103"/>
              <a:gd name="connsiteX1" fmla="*/ 2812314 w 2812314"/>
              <a:gd name="connsiteY1" fmla="*/ 0 h 4507103"/>
              <a:gd name="connsiteX2" fmla="*/ 2812314 w 2812314"/>
              <a:gd name="connsiteY2" fmla="*/ 4507103 h 4507103"/>
              <a:gd name="connsiteX3" fmla="*/ 74744 w 2812314"/>
              <a:gd name="connsiteY3" fmla="*/ 4507103 h 4507103"/>
              <a:gd name="connsiteX4" fmla="*/ 0 w 2812314"/>
              <a:gd name="connsiteY4" fmla="*/ 4432359 h 4507103"/>
              <a:gd name="connsiteX5" fmla="*/ 0 w 2812314"/>
              <a:gd name="connsiteY5" fmla="*/ 74744 h 4507103"/>
              <a:gd name="connsiteX6" fmla="*/ 74744 w 2812314"/>
              <a:gd name="connsiteY6" fmla="*/ 0 h 4507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12314" h="4507103">
                <a:moveTo>
                  <a:pt x="74744" y="0"/>
                </a:moveTo>
                <a:lnTo>
                  <a:pt x="2812314" y="0"/>
                </a:lnTo>
                <a:lnTo>
                  <a:pt x="2812314" y="4507103"/>
                </a:lnTo>
                <a:lnTo>
                  <a:pt x="74744" y="4507103"/>
                </a:lnTo>
                <a:cubicBezTo>
                  <a:pt x="33464" y="4507103"/>
                  <a:pt x="0" y="4473639"/>
                  <a:pt x="0" y="4432359"/>
                </a:cubicBezTo>
                <a:lnTo>
                  <a:pt x="0" y="74744"/>
                </a:lnTo>
                <a:cubicBezTo>
                  <a:pt x="0" y="33464"/>
                  <a:pt x="33464" y="0"/>
                  <a:pt x="74744" y="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6000"/>
              </a:lnSpc>
            </a:pPr>
            <a:endParaRPr lang="en-US">
              <a:solidFill>
                <a:schemeClr val="bg1"/>
              </a:solidFill>
              <a:latin typeface="ES Build" pitchFamily="50" charset="0"/>
              <a:cs typeface="Microsoft Sans Serif" panose="020B0604020202020204" pitchFamily="34" charset="0"/>
            </a:endParaRPr>
          </a:p>
        </p:txBody>
      </p:sp>
      <p:sp>
        <p:nvSpPr>
          <p:cNvPr id="17" name="TextBox 16">
            <a:extLst>
              <a:ext uri="{FF2B5EF4-FFF2-40B4-BE49-F238E27FC236}">
                <a16:creationId xmlns:a16="http://schemas.microsoft.com/office/drawing/2014/main" id="{D5B14FCC-2048-9344-2511-D58271638DFB}"/>
              </a:ext>
            </a:extLst>
          </p:cNvPr>
          <p:cNvSpPr txBox="1"/>
          <p:nvPr/>
        </p:nvSpPr>
        <p:spPr>
          <a:xfrm>
            <a:off x="502179" y="4618670"/>
            <a:ext cx="2803424" cy="411123"/>
          </a:xfrm>
          <a:prstGeom prst="rect">
            <a:avLst/>
          </a:prstGeom>
          <a:noFill/>
          <a:ln>
            <a:noFill/>
          </a:ln>
        </p:spPr>
        <p:txBody>
          <a:bodyPr wrap="square" anchor="t">
            <a:noAutofit/>
          </a:bodyPr>
          <a:lstStyle>
            <a:defPPr>
              <a:defRPr lang="en-US"/>
            </a:defPPr>
            <a:lvl1pPr marR="0" lvl="0" indent="0" fontAlgn="auto">
              <a:lnSpc>
                <a:spcPct val="100000"/>
              </a:lnSpc>
              <a:spcBef>
                <a:spcPts val="0"/>
              </a:spcBef>
              <a:spcAft>
                <a:spcPts val="0"/>
              </a:spcAft>
              <a:buClrTx/>
              <a:buSzTx/>
              <a:buFontTx/>
              <a:buNone/>
              <a:tabLst/>
              <a:defRPr kumimoji="0" sz="2200" b="1" i="0" u="none" strike="noStrike" cap="none" spc="0" normalizeH="0" baseline="0">
                <a:ln>
                  <a:noFill/>
                </a:ln>
                <a:solidFill>
                  <a:srgbClr val="FFFFFF"/>
                </a:solidFill>
                <a:effectLst/>
                <a:uLnTx/>
                <a:uFillTx/>
                <a:latin typeface="ES Build Neutral"/>
              </a:defRPr>
            </a:lvl1pPr>
          </a:lstStyle>
          <a:p>
            <a:pPr algn="ctr">
              <a:defRPr/>
            </a:pPr>
            <a:r>
              <a:rPr lang="en-US" sz="2800">
                <a:solidFill>
                  <a:schemeClr val="bg1"/>
                </a:solidFill>
              </a:rPr>
              <a:t>Data Intelligence</a:t>
            </a:r>
          </a:p>
        </p:txBody>
      </p:sp>
      <p:pic>
        <p:nvPicPr>
          <p:cNvPr id="19" name="Graphic 18">
            <a:extLst>
              <a:ext uri="{FF2B5EF4-FFF2-40B4-BE49-F238E27FC236}">
                <a16:creationId xmlns:a16="http://schemas.microsoft.com/office/drawing/2014/main" id="{A9345E54-4125-3611-0FD7-103598E24C42}"/>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920371" y="2466665"/>
            <a:ext cx="1921493" cy="1921493"/>
          </a:xfrm>
          <a:prstGeom prst="rect">
            <a:avLst/>
          </a:prstGeom>
        </p:spPr>
      </p:pic>
      <p:sp>
        <p:nvSpPr>
          <p:cNvPr id="12" name="Title 11">
            <a:extLst>
              <a:ext uri="{FF2B5EF4-FFF2-40B4-BE49-F238E27FC236}">
                <a16:creationId xmlns:a16="http://schemas.microsoft.com/office/drawing/2014/main" id="{361FDED6-492D-BA8E-D889-E54682420B9B}"/>
              </a:ext>
            </a:extLst>
          </p:cNvPr>
          <p:cNvSpPr>
            <a:spLocks noGrp="1"/>
          </p:cNvSpPr>
          <p:nvPr>
            <p:ph type="title"/>
          </p:nvPr>
        </p:nvSpPr>
        <p:spPr/>
        <p:txBody>
          <a:bodyPr/>
          <a:lstStyle/>
          <a:p>
            <a:pPr algn="ctr"/>
            <a:r>
              <a:rPr lang="en-US" dirty="0"/>
              <a:t>Driving relentless innovation to </a:t>
            </a:r>
            <a:br>
              <a:rPr lang="en-US" dirty="0"/>
            </a:br>
            <a:r>
              <a:rPr lang="en-US" dirty="0"/>
              <a:t>derive deeper insights from your data </a:t>
            </a:r>
          </a:p>
        </p:txBody>
      </p:sp>
      <p:sp>
        <p:nvSpPr>
          <p:cNvPr id="48" name="DATA" hidden="1">
            <a:extLst>
              <a:ext uri="{FF2B5EF4-FFF2-40B4-BE49-F238E27FC236}">
                <a16:creationId xmlns:a16="http://schemas.microsoft.com/office/drawing/2014/main" id="{2B88B156-4636-7916-673E-890A44A4DA32}"/>
              </a:ext>
            </a:extLst>
          </p:cNvPr>
          <p:cNvSpPr txBox="1">
            <a:spLocks/>
          </p:cNvSpPr>
          <p:nvPr/>
        </p:nvSpPr>
        <p:spPr>
          <a:xfrm>
            <a:off x="-3431761" y="-1120854"/>
            <a:ext cx="18861657" cy="806374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1800" b="1" i="0" u="none" strike="noStrike" kern="1200" cap="none" spc="-3000" normalizeH="0" baseline="0" noProof="0">
                <a:ln>
                  <a:noFill/>
                </a:ln>
                <a:solidFill>
                  <a:srgbClr val="FFFFFF">
                    <a:lumMod val="85000"/>
                    <a:alpha val="0"/>
                  </a:srgbClr>
                </a:solidFill>
                <a:effectLst/>
                <a:uLnTx/>
                <a:uFillTx/>
                <a:latin typeface="ES Build Full Bauhaus" pitchFamily="2" charset="77"/>
                <a:ea typeface="ES Build Full Bauhaus" pitchFamily="2" charset="77"/>
                <a:cs typeface="+mn-cs"/>
              </a:rPr>
              <a:t>DATA</a:t>
            </a:r>
          </a:p>
        </p:txBody>
      </p:sp>
      <p:pic>
        <p:nvPicPr>
          <p:cNvPr id="49" name="arrows" hidden="1">
            <a:extLst>
              <a:ext uri="{FF2B5EF4-FFF2-40B4-BE49-F238E27FC236}">
                <a16:creationId xmlns:a16="http://schemas.microsoft.com/office/drawing/2014/main" id="{85ED38B0-FA0C-8591-F4E0-9E2975FDA141}"/>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rot="900000">
            <a:off x="-2299955" y="-4357202"/>
            <a:ext cx="16937654" cy="16937654"/>
          </a:xfrm>
          <a:prstGeom prst="rect">
            <a:avLst/>
          </a:prstGeom>
        </p:spPr>
      </p:pic>
      <p:sp>
        <p:nvSpPr>
          <p:cNvPr id="50" name="donut" hidden="1">
            <a:extLst>
              <a:ext uri="{FF2B5EF4-FFF2-40B4-BE49-F238E27FC236}">
                <a16:creationId xmlns:a16="http://schemas.microsoft.com/office/drawing/2014/main" id="{ADB3C278-F744-657A-9922-AA9475DA6DC1}"/>
              </a:ext>
            </a:extLst>
          </p:cNvPr>
          <p:cNvSpPr>
            <a:spLocks/>
          </p:cNvSpPr>
          <p:nvPr/>
        </p:nvSpPr>
        <p:spPr>
          <a:xfrm>
            <a:off x="-8201342" y="-8185938"/>
            <a:ext cx="15727680" cy="15680239"/>
          </a:xfrm>
          <a:prstGeom prst="donut">
            <a:avLst>
              <a:gd name="adj" fmla="val 2748"/>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3200" b="0" i="0" u="none" strike="noStrike" kern="1200" cap="none" spc="0" normalizeH="0" baseline="0" noProof="0">
                <a:ln>
                  <a:noFill/>
                </a:ln>
                <a:solidFill>
                  <a:schemeClr val="bg1"/>
                </a:solidFill>
                <a:effectLst/>
                <a:uLnTx/>
                <a:uFillTx/>
                <a:latin typeface="ES Build" pitchFamily="50" charset="0"/>
                <a:ea typeface="+mn-ea"/>
                <a:cs typeface="Microsoft Sans Serif" panose="020B0604020202020204" pitchFamily="34" charset="0"/>
              </a:rPr>
              <a:t>DATA</a:t>
            </a:r>
          </a:p>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3200" b="0" i="0" u="none" strike="noStrike" kern="1200" cap="none" spc="0" normalizeH="0" baseline="0" noProof="0">
                <a:ln>
                  <a:noFill/>
                </a:ln>
                <a:solidFill>
                  <a:schemeClr val="bg1"/>
                </a:solidFill>
                <a:effectLst/>
                <a:uLnTx/>
                <a:uFillTx/>
                <a:latin typeface="ES Build" pitchFamily="50" charset="0"/>
                <a:ea typeface="+mn-ea"/>
                <a:cs typeface="Microsoft Sans Serif" panose="020B0604020202020204" pitchFamily="34" charset="0"/>
              </a:rPr>
              <a:t>RESILIENCE</a:t>
            </a:r>
          </a:p>
        </p:txBody>
      </p:sp>
      <p:sp>
        <p:nvSpPr>
          <p:cNvPr id="4" name="Rounded Rectangle 3">
            <a:extLst>
              <a:ext uri="{FF2B5EF4-FFF2-40B4-BE49-F238E27FC236}">
                <a16:creationId xmlns:a16="http://schemas.microsoft.com/office/drawing/2014/main" id="{F2FC3300-BCDA-537A-1858-97E9338027C8}"/>
              </a:ext>
            </a:extLst>
          </p:cNvPr>
          <p:cNvSpPr/>
          <p:nvPr/>
        </p:nvSpPr>
        <p:spPr>
          <a:xfrm>
            <a:off x="769049" y="1936362"/>
            <a:ext cx="10572051" cy="4114800"/>
          </a:xfrm>
          <a:prstGeom prst="roundRect">
            <a:avLst>
              <a:gd name="adj" fmla="val 1966"/>
            </a:avLst>
          </a:prstGeom>
          <a:noFill/>
          <a:ln w="66675" cap="sq">
            <a:no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a:solidFill>
                <a:schemeClr val="bg1"/>
              </a:solidFill>
              <a:latin typeface="ES Build" pitchFamily="50" charset="0"/>
              <a:cs typeface="Microsoft Sans Serif" panose="020B0604020202020204" pitchFamily="34" charset="0"/>
            </a:endParaRPr>
          </a:p>
        </p:txBody>
      </p:sp>
      <p:grpSp>
        <p:nvGrpSpPr>
          <p:cNvPr id="8" name="Group 7">
            <a:extLst>
              <a:ext uri="{FF2B5EF4-FFF2-40B4-BE49-F238E27FC236}">
                <a16:creationId xmlns:a16="http://schemas.microsoft.com/office/drawing/2014/main" id="{730F4F02-8DC9-830D-68A8-B5873E118048}"/>
              </a:ext>
            </a:extLst>
          </p:cNvPr>
          <p:cNvGrpSpPr/>
          <p:nvPr/>
        </p:nvGrpSpPr>
        <p:grpSpPr>
          <a:xfrm>
            <a:off x="3041410" y="5219698"/>
            <a:ext cx="8159990" cy="707886"/>
            <a:chOff x="3305321" y="4632891"/>
            <a:chExt cx="8159990" cy="707886"/>
          </a:xfrm>
        </p:grpSpPr>
        <p:sp>
          <p:nvSpPr>
            <p:cNvPr id="9" name="TextBox 8">
              <a:extLst>
                <a:ext uri="{FF2B5EF4-FFF2-40B4-BE49-F238E27FC236}">
                  <a16:creationId xmlns:a16="http://schemas.microsoft.com/office/drawing/2014/main" id="{23E87513-35A4-1E54-6CFC-0D67EB4EEF30}"/>
                </a:ext>
              </a:extLst>
            </p:cNvPr>
            <p:cNvSpPr txBox="1"/>
            <p:nvPr/>
          </p:nvSpPr>
          <p:spPr>
            <a:xfrm>
              <a:off x="3305321" y="4734073"/>
              <a:ext cx="2146232" cy="505523"/>
            </a:xfrm>
            <a:prstGeom prst="rect">
              <a:avLst/>
            </a:prstGeom>
            <a:noFill/>
          </p:spPr>
          <p:txBody>
            <a:bodyPr wrap="square" lIns="68580" tIns="0" rIns="68580" bIns="0" rtlCol="0" anchor="ctr" anchorCtr="0">
              <a:spAutoFit/>
            </a:bodyPr>
            <a:lstStyle/>
            <a:p>
              <a:pPr marL="0" marR="0" lvl="0" indent="0" algn="r" defTabSz="914400" rtl="0" eaLnBrk="1" fontAlgn="auto" latinLnBrk="0" hangingPunct="1">
                <a:lnSpc>
                  <a:spcPct val="90000"/>
                </a:lnSpc>
                <a:spcBef>
                  <a:spcPts val="225"/>
                </a:spcBef>
                <a:spcAft>
                  <a:spcPts val="225"/>
                </a:spcAft>
                <a:buClr>
                  <a:srgbClr val="57E0FF"/>
                </a:buClr>
                <a:buSzTx/>
                <a:buFontTx/>
                <a:buNone/>
                <a:tabLst/>
                <a:defRPr/>
              </a:pPr>
              <a:r>
                <a:rPr kumimoji="0" lang="en-US" sz="1800" b="0" i="0" u="none" strike="noStrike" kern="1200" cap="none" spc="0" normalizeH="0" baseline="0" noProof="0">
                  <a:ln>
                    <a:noFill/>
                  </a:ln>
                  <a:effectLst/>
                  <a:uLnTx/>
                  <a:uFillTx/>
                  <a:latin typeface="ES Build Neutral"/>
                  <a:ea typeface="+mn-ea"/>
                  <a:cs typeface="+mn-cs"/>
                </a:rPr>
                <a:t>Future </a:t>
              </a:r>
              <a:br>
                <a:rPr kumimoji="0" lang="en-US" sz="1800" b="0" i="0" u="none" strike="noStrike" kern="1200" cap="none" spc="0" normalizeH="0" baseline="0" noProof="0">
                  <a:ln>
                    <a:noFill/>
                  </a:ln>
                  <a:effectLst/>
                  <a:uLnTx/>
                  <a:uFillTx/>
                  <a:latin typeface="ES Build Neutral"/>
                  <a:ea typeface="+mn-ea"/>
                  <a:cs typeface="+mn-cs"/>
                </a:rPr>
              </a:br>
              <a:r>
                <a:rPr kumimoji="0" lang="en-US" sz="1800" b="0" i="0" u="none" strike="noStrike" kern="1200" cap="none" spc="0" normalizeH="0" baseline="0" noProof="0">
                  <a:ln>
                    <a:noFill/>
                  </a:ln>
                  <a:effectLst/>
                  <a:uLnTx/>
                  <a:uFillTx/>
                  <a:latin typeface="ES Build Neutral"/>
                  <a:ea typeface="+mn-ea"/>
                  <a:cs typeface="+mn-cs"/>
                </a:rPr>
                <a:t>Roadmap</a:t>
              </a:r>
            </a:p>
          </p:txBody>
        </p:sp>
        <p:sp>
          <p:nvSpPr>
            <p:cNvPr id="10" name="TextBox 9">
              <a:extLst>
                <a:ext uri="{FF2B5EF4-FFF2-40B4-BE49-F238E27FC236}">
                  <a16:creationId xmlns:a16="http://schemas.microsoft.com/office/drawing/2014/main" id="{B5591B83-6B0F-3750-5ADC-8C8B108495CF}"/>
                </a:ext>
              </a:extLst>
            </p:cNvPr>
            <p:cNvSpPr txBox="1"/>
            <p:nvPr/>
          </p:nvSpPr>
          <p:spPr>
            <a:xfrm>
              <a:off x="5850100" y="4632891"/>
              <a:ext cx="5615211" cy="707886"/>
            </a:xfrm>
            <a:prstGeom prst="rect">
              <a:avLst/>
            </a:prstGeom>
            <a:noFill/>
          </p:spPr>
          <p:txBody>
            <a:bodyPr wrap="square" lIns="68580" tIns="0" rIns="6858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effectLst/>
                  <a:uLnTx/>
                  <a:uFillTx/>
                  <a:latin typeface="ES Build Neutral"/>
                  <a:ea typeface="+mn-ea"/>
                  <a:cs typeface="+mn-cs"/>
                </a:rPr>
                <a:t>Joint development to integrate with Microsoft Copilot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effectLst/>
                  <a:uLnTx/>
                  <a:uFillTx/>
                  <a:latin typeface="ES Build Neutral"/>
                  <a:ea typeface="+mn-ea"/>
                  <a:cs typeface="+mn-cs"/>
                </a:rPr>
                <a:t>Data protection of AI model workloads (LLMs, MLs, NLP)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effectLst/>
                  <a:uLnTx/>
                  <a:uFillTx/>
                  <a:latin typeface="ES Build Neutral"/>
                  <a:ea typeface="+mn-ea"/>
                  <a:cs typeface="+mn-cs"/>
                </a:rPr>
                <a:t>Enabling customers to unlock insights with AI from their immutable backup data </a:t>
              </a:r>
            </a:p>
          </p:txBody>
        </p:sp>
        <p:cxnSp>
          <p:nvCxnSpPr>
            <p:cNvPr id="11" name="Straight Connector 10">
              <a:extLst>
                <a:ext uri="{FF2B5EF4-FFF2-40B4-BE49-F238E27FC236}">
                  <a16:creationId xmlns:a16="http://schemas.microsoft.com/office/drawing/2014/main" id="{AA8D0834-B305-6E4F-7F62-EB17EDA49021}"/>
                </a:ext>
              </a:extLst>
            </p:cNvPr>
            <p:cNvCxnSpPr>
              <a:cxnSpLocks/>
            </p:cNvCxnSpPr>
            <p:nvPr/>
          </p:nvCxnSpPr>
          <p:spPr>
            <a:xfrm>
              <a:off x="5650898" y="4655803"/>
              <a:ext cx="0" cy="662062"/>
            </a:xfrm>
            <a:prstGeom prst="line">
              <a:avLst/>
            </a:prstGeom>
            <a:ln w="3175" cap="rnd">
              <a:solidFill>
                <a:schemeClr val="tx1"/>
              </a:solidFill>
              <a:round/>
              <a:tailEnd type="none"/>
            </a:ln>
          </p:spPr>
          <p:style>
            <a:lnRef idx="1">
              <a:schemeClr val="accent1"/>
            </a:lnRef>
            <a:fillRef idx="0">
              <a:schemeClr val="accent1"/>
            </a:fillRef>
            <a:effectRef idx="0">
              <a:schemeClr val="accent1"/>
            </a:effectRef>
            <a:fontRef idx="minor">
              <a:schemeClr val="tx1"/>
            </a:fontRef>
          </p:style>
        </p:cxnSp>
      </p:grpSp>
      <p:sp>
        <p:nvSpPr>
          <p:cNvPr id="14" name="TextBox 13">
            <a:extLst>
              <a:ext uri="{FF2B5EF4-FFF2-40B4-BE49-F238E27FC236}">
                <a16:creationId xmlns:a16="http://schemas.microsoft.com/office/drawing/2014/main" id="{EF7F5C6C-4126-713C-F8A0-8A41A80A3136}"/>
              </a:ext>
            </a:extLst>
          </p:cNvPr>
          <p:cNvSpPr txBox="1"/>
          <p:nvPr/>
        </p:nvSpPr>
        <p:spPr>
          <a:xfrm>
            <a:off x="3400043" y="3687784"/>
            <a:ext cx="2112193" cy="790409"/>
          </a:xfrm>
          <a:prstGeom prst="rect">
            <a:avLst/>
          </a:prstGeom>
          <a:noFill/>
        </p:spPr>
        <p:txBody>
          <a:bodyPr wrap="square" lIns="0" tIns="0" rIns="0" bIns="0">
            <a:spAutoFit/>
          </a:bodyPr>
          <a:lstStyle/>
          <a:p>
            <a:pPr marR="0" lvl="0" algn="ctr">
              <a:lnSpc>
                <a:spcPct val="107000"/>
              </a:lnSpc>
              <a:spcBef>
                <a:spcPts val="0"/>
              </a:spcBef>
              <a:tabLst>
                <a:tab pos="457200" algn="l"/>
              </a:tabLst>
            </a:pPr>
            <a:r>
              <a:rPr lang="en-US" sz="1600" kern="100" dirty="0">
                <a:ea typeface="Calibri" panose="020F0502020204030204" pitchFamily="34" charset="0"/>
                <a:cs typeface="Calibri" panose="020F0502020204030204" pitchFamily="34" charset="0"/>
              </a:rPr>
              <a:t>AI-powered </a:t>
            </a:r>
          </a:p>
          <a:p>
            <a:pPr marR="0" lvl="0" algn="ctr">
              <a:lnSpc>
                <a:spcPct val="107000"/>
              </a:lnSpc>
              <a:spcBef>
                <a:spcPts val="0"/>
              </a:spcBef>
              <a:tabLst>
                <a:tab pos="457200" algn="l"/>
              </a:tabLst>
            </a:pPr>
            <a:r>
              <a:rPr lang="en-US" sz="1600" kern="100" dirty="0">
                <a:ea typeface="Calibri" panose="020F0502020204030204" pitchFamily="34" charset="0"/>
                <a:cs typeface="Calibri" panose="020F0502020204030204" pitchFamily="34" charset="0"/>
              </a:rPr>
              <a:t>detection and </a:t>
            </a:r>
          </a:p>
          <a:p>
            <a:pPr marR="0" lvl="0" algn="ctr">
              <a:lnSpc>
                <a:spcPct val="107000"/>
              </a:lnSpc>
              <a:spcBef>
                <a:spcPts val="0"/>
              </a:spcBef>
              <a:tabLst>
                <a:tab pos="457200" algn="l"/>
              </a:tabLst>
            </a:pPr>
            <a:r>
              <a:rPr lang="en-US" sz="1600" kern="100" dirty="0">
                <a:ea typeface="Calibri" panose="020F0502020204030204" pitchFamily="34" charset="0"/>
                <a:cs typeface="Calibri" panose="020F0502020204030204" pitchFamily="34" charset="0"/>
              </a:rPr>
              <a:t>security scoring</a:t>
            </a:r>
            <a:endParaRPr lang="en-US" sz="1600" kern="100" dirty="0">
              <a:ea typeface="Calibri" panose="020F0502020204030204" pitchFamily="34" charset="0"/>
              <a:cs typeface="Times New Roman" panose="02020603050405020304" pitchFamily="18" charset="0"/>
            </a:endParaRPr>
          </a:p>
        </p:txBody>
      </p:sp>
      <p:grpSp>
        <p:nvGrpSpPr>
          <p:cNvPr id="16" name="Group 15">
            <a:extLst>
              <a:ext uri="{FF2B5EF4-FFF2-40B4-BE49-F238E27FC236}">
                <a16:creationId xmlns:a16="http://schemas.microsoft.com/office/drawing/2014/main" id="{FDA9B14D-11E9-0E7B-AD58-B9EF15CB88CD}"/>
              </a:ext>
            </a:extLst>
          </p:cNvPr>
          <p:cNvGrpSpPr>
            <a:grpSpLocks noChangeAspect="1"/>
          </p:cNvGrpSpPr>
          <p:nvPr/>
        </p:nvGrpSpPr>
        <p:grpSpPr>
          <a:xfrm>
            <a:off x="3919180" y="2535522"/>
            <a:ext cx="1024526" cy="1024525"/>
            <a:chOff x="1071877" y="2156499"/>
            <a:chExt cx="2749677" cy="2749675"/>
          </a:xfrm>
        </p:grpSpPr>
        <p:sp>
          <p:nvSpPr>
            <p:cNvPr id="18" name="Oval 17">
              <a:extLst>
                <a:ext uri="{FF2B5EF4-FFF2-40B4-BE49-F238E27FC236}">
                  <a16:creationId xmlns:a16="http://schemas.microsoft.com/office/drawing/2014/main" id="{C61A09F2-42BA-23CB-6D5D-9DAC65EBEE75}"/>
                </a:ext>
              </a:extLst>
            </p:cNvPr>
            <p:cNvSpPr/>
            <p:nvPr/>
          </p:nvSpPr>
          <p:spPr bwMode="auto">
            <a:xfrm>
              <a:off x="1071877" y="2156499"/>
              <a:ext cx="2749677" cy="2749675"/>
            </a:xfrm>
            <a:prstGeom prst="ellipse">
              <a:avLst/>
            </a:prstGeom>
            <a:solidFill>
              <a:schemeClr val="accent6"/>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ctr" anchorCtr="0" forceAA="0" compatLnSpc="1">
              <a:prstTxWarp prst="textNoShape">
                <a:avLst/>
              </a:prstTxWarp>
              <a:noAutofit/>
            </a:bodyPr>
            <a:lstStyle/>
            <a:p>
              <a:pPr algn="ctr" defTabSz="1218768" fontAlgn="base">
                <a:spcBef>
                  <a:spcPct val="0"/>
                </a:spcBef>
                <a:spcAft>
                  <a:spcPct val="0"/>
                </a:spcAft>
              </a:pPr>
              <a:r>
                <a:rPr lang="en-US" sz="2400">
                  <a:gradFill>
                    <a:gsLst>
                      <a:gs pos="0">
                        <a:srgbClr val="FFFFFF"/>
                      </a:gs>
                      <a:gs pos="100000">
                        <a:srgbClr val="FFFFFF"/>
                      </a:gs>
                    </a:gsLst>
                    <a:lin ang="5400000" scaled="0"/>
                  </a:gradFill>
                  <a:latin typeface="+mj-lt"/>
                  <a:cs typeface="Segoe UI" pitchFamily="34" charset="0"/>
                </a:rPr>
                <a:t>   </a:t>
              </a:r>
            </a:p>
          </p:txBody>
        </p:sp>
        <p:pic>
          <p:nvPicPr>
            <p:cNvPr id="20" name="Graphic 19">
              <a:extLst>
                <a:ext uri="{FF2B5EF4-FFF2-40B4-BE49-F238E27FC236}">
                  <a16:creationId xmlns:a16="http://schemas.microsoft.com/office/drawing/2014/main" id="{458A49C6-1927-6C1D-7740-72EE8D300B8D}"/>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1587775" y="2672395"/>
              <a:ext cx="1717881" cy="1717881"/>
            </a:xfrm>
            <a:prstGeom prst="rect">
              <a:avLst/>
            </a:prstGeom>
          </p:spPr>
        </p:pic>
      </p:grpSp>
      <p:sp>
        <p:nvSpPr>
          <p:cNvPr id="21" name="TextBox 20">
            <a:extLst>
              <a:ext uri="{FF2B5EF4-FFF2-40B4-BE49-F238E27FC236}">
                <a16:creationId xmlns:a16="http://schemas.microsoft.com/office/drawing/2014/main" id="{BEE2095C-8683-ED84-4C2E-F1B708B71808}"/>
              </a:ext>
            </a:extLst>
          </p:cNvPr>
          <p:cNvSpPr txBox="1"/>
          <p:nvPr/>
        </p:nvSpPr>
        <p:spPr>
          <a:xfrm>
            <a:off x="5458449" y="3687784"/>
            <a:ext cx="2151842" cy="790409"/>
          </a:xfrm>
          <a:prstGeom prst="rect">
            <a:avLst/>
          </a:prstGeom>
          <a:noFill/>
        </p:spPr>
        <p:txBody>
          <a:bodyPr wrap="square" lIns="0" tIns="0" rIns="0" bIns="0">
            <a:spAutoFit/>
          </a:bodyPr>
          <a:lstStyle/>
          <a:p>
            <a:pPr marR="0" lvl="0" algn="ctr">
              <a:lnSpc>
                <a:spcPct val="107000"/>
              </a:lnSpc>
              <a:spcBef>
                <a:spcPts val="0"/>
              </a:spcBef>
              <a:spcAft>
                <a:spcPts val="0"/>
              </a:spcAft>
              <a:tabLst>
                <a:tab pos="457200" algn="l"/>
              </a:tabLst>
            </a:pPr>
            <a:r>
              <a:rPr lang="en-US" sz="1600" kern="100" dirty="0">
                <a:ea typeface="Calibri" panose="020F0502020204030204" pitchFamily="34" charset="0"/>
                <a:cs typeface="Calibri" panose="020F0502020204030204" pitchFamily="34" charset="0"/>
              </a:rPr>
              <a:t>Teams get </a:t>
            </a:r>
          </a:p>
          <a:p>
            <a:pPr marR="0" lvl="0" algn="ctr">
              <a:lnSpc>
                <a:spcPct val="107000"/>
              </a:lnSpc>
              <a:spcBef>
                <a:spcPts val="0"/>
              </a:spcBef>
              <a:spcAft>
                <a:spcPts val="0"/>
              </a:spcAft>
              <a:tabLst>
                <a:tab pos="457200" algn="l"/>
              </a:tabLst>
            </a:pPr>
            <a:r>
              <a:rPr lang="en-US" sz="1600" kern="100" dirty="0">
                <a:ea typeface="Calibri" panose="020F0502020204030204" pitchFamily="34" charset="0"/>
                <a:cs typeface="Calibri" panose="020F0502020204030204" pitchFamily="34" charset="0"/>
              </a:rPr>
              <a:t>answers faster with </a:t>
            </a:r>
          </a:p>
          <a:p>
            <a:pPr marR="0" lvl="0" algn="ctr">
              <a:lnSpc>
                <a:spcPct val="107000"/>
              </a:lnSpc>
              <a:spcBef>
                <a:spcPts val="0"/>
              </a:spcBef>
              <a:spcAft>
                <a:spcPts val="0"/>
              </a:spcAft>
              <a:tabLst>
                <a:tab pos="457200" algn="l"/>
              </a:tabLst>
            </a:pPr>
            <a:r>
              <a:rPr lang="en-US" sz="1600" kern="100" dirty="0">
                <a:ea typeface="Calibri" panose="020F0502020204030204" pitchFamily="34" charset="0"/>
                <a:cs typeface="Calibri" panose="020F0502020204030204" pitchFamily="34" charset="0"/>
              </a:rPr>
              <a:t>AI Digital Assistant</a:t>
            </a:r>
            <a:endParaRPr lang="en-US" sz="1600" kern="100" dirty="0">
              <a:ea typeface="Calibri" panose="020F0502020204030204" pitchFamily="34" charset="0"/>
              <a:cs typeface="Times New Roman" panose="02020603050405020304" pitchFamily="18" charset="0"/>
            </a:endParaRPr>
          </a:p>
        </p:txBody>
      </p:sp>
      <p:grpSp>
        <p:nvGrpSpPr>
          <p:cNvPr id="22" name="Group 21">
            <a:extLst>
              <a:ext uri="{FF2B5EF4-FFF2-40B4-BE49-F238E27FC236}">
                <a16:creationId xmlns:a16="http://schemas.microsoft.com/office/drawing/2014/main" id="{3380FD50-863C-477E-27E2-A785E565B044}"/>
              </a:ext>
            </a:extLst>
          </p:cNvPr>
          <p:cNvGrpSpPr>
            <a:grpSpLocks noChangeAspect="1"/>
          </p:cNvGrpSpPr>
          <p:nvPr/>
        </p:nvGrpSpPr>
        <p:grpSpPr>
          <a:xfrm>
            <a:off x="6022108" y="2535522"/>
            <a:ext cx="1024526" cy="1024525"/>
            <a:chOff x="1071877" y="2156499"/>
            <a:chExt cx="2749677" cy="2749675"/>
          </a:xfrm>
        </p:grpSpPr>
        <p:sp>
          <p:nvSpPr>
            <p:cNvPr id="23" name="Oval 22">
              <a:extLst>
                <a:ext uri="{FF2B5EF4-FFF2-40B4-BE49-F238E27FC236}">
                  <a16:creationId xmlns:a16="http://schemas.microsoft.com/office/drawing/2014/main" id="{C1EEDADA-3034-5B77-A2EF-1E8A773CE20C}"/>
                </a:ext>
              </a:extLst>
            </p:cNvPr>
            <p:cNvSpPr/>
            <p:nvPr/>
          </p:nvSpPr>
          <p:spPr bwMode="auto">
            <a:xfrm>
              <a:off x="1071877" y="2156499"/>
              <a:ext cx="2749677" cy="2749675"/>
            </a:xfrm>
            <a:prstGeom prst="ellipse">
              <a:avLst/>
            </a:prstGeom>
            <a:solidFill>
              <a:schemeClr val="accent6"/>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ctr" anchorCtr="0" forceAA="0" compatLnSpc="1">
              <a:prstTxWarp prst="textNoShape">
                <a:avLst/>
              </a:prstTxWarp>
              <a:noAutofit/>
            </a:bodyPr>
            <a:lstStyle/>
            <a:p>
              <a:pPr algn="ctr" defTabSz="1218768" fontAlgn="base">
                <a:spcBef>
                  <a:spcPct val="0"/>
                </a:spcBef>
                <a:spcAft>
                  <a:spcPct val="0"/>
                </a:spcAft>
              </a:pPr>
              <a:r>
                <a:rPr lang="en-US" sz="2400">
                  <a:gradFill>
                    <a:gsLst>
                      <a:gs pos="0">
                        <a:srgbClr val="FFFFFF"/>
                      </a:gs>
                      <a:gs pos="100000">
                        <a:srgbClr val="FFFFFF"/>
                      </a:gs>
                    </a:gsLst>
                    <a:lin ang="5400000" scaled="0"/>
                  </a:gradFill>
                  <a:latin typeface="+mj-lt"/>
                  <a:cs typeface="Segoe UI" pitchFamily="34" charset="0"/>
                </a:rPr>
                <a:t>   </a:t>
              </a:r>
            </a:p>
          </p:txBody>
        </p:sp>
        <p:pic>
          <p:nvPicPr>
            <p:cNvPr id="24" name="Graphic 23">
              <a:extLst>
                <a:ext uri="{FF2B5EF4-FFF2-40B4-BE49-F238E27FC236}">
                  <a16:creationId xmlns:a16="http://schemas.microsoft.com/office/drawing/2014/main" id="{9F916FEE-59DF-5A73-A0EF-D6EEFF85B07E}"/>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1587775" y="2672395"/>
              <a:ext cx="1717881" cy="1717881"/>
            </a:xfrm>
            <a:prstGeom prst="rect">
              <a:avLst/>
            </a:prstGeom>
          </p:spPr>
        </p:pic>
      </p:grpSp>
      <p:sp>
        <p:nvSpPr>
          <p:cNvPr id="25" name="TextBox 24">
            <a:extLst>
              <a:ext uri="{FF2B5EF4-FFF2-40B4-BE49-F238E27FC236}">
                <a16:creationId xmlns:a16="http://schemas.microsoft.com/office/drawing/2014/main" id="{C33D8989-56E0-07C8-B4CA-E1999CADA69A}"/>
              </a:ext>
            </a:extLst>
          </p:cNvPr>
          <p:cNvSpPr txBox="1"/>
          <p:nvPr/>
        </p:nvSpPr>
        <p:spPr>
          <a:xfrm>
            <a:off x="7600932" y="3687783"/>
            <a:ext cx="1840509" cy="790409"/>
          </a:xfrm>
          <a:prstGeom prst="rect">
            <a:avLst/>
          </a:prstGeom>
          <a:noFill/>
        </p:spPr>
        <p:txBody>
          <a:bodyPr wrap="square" lIns="0" tIns="0" rIns="0" bIns="0">
            <a:spAutoFit/>
          </a:bodyPr>
          <a:lstStyle/>
          <a:p>
            <a:pPr marR="0" lvl="0" algn="ctr">
              <a:lnSpc>
                <a:spcPct val="107000"/>
              </a:lnSpc>
              <a:spcBef>
                <a:spcPts val="0"/>
              </a:spcBef>
              <a:spcAft>
                <a:spcPts val="800"/>
              </a:spcAft>
              <a:tabLst>
                <a:tab pos="457200" algn="l"/>
              </a:tabLst>
            </a:pPr>
            <a:r>
              <a:rPr lang="en-US" sz="1600" kern="100" dirty="0">
                <a:ea typeface="Calibri" panose="020F0502020204030204" pitchFamily="34" charset="0"/>
                <a:cs typeface="Calibri" panose="020F0502020204030204" pitchFamily="34" charset="0"/>
              </a:rPr>
              <a:t>Automatic diagnostics and remediation analysis</a:t>
            </a:r>
            <a:endParaRPr lang="en-US" sz="1600" kern="100" dirty="0">
              <a:ea typeface="Calibri" panose="020F0502020204030204" pitchFamily="34" charset="0"/>
              <a:cs typeface="Times New Roman" panose="02020603050405020304" pitchFamily="18" charset="0"/>
            </a:endParaRPr>
          </a:p>
        </p:txBody>
      </p:sp>
      <p:grpSp>
        <p:nvGrpSpPr>
          <p:cNvPr id="26" name="Group 25">
            <a:extLst>
              <a:ext uri="{FF2B5EF4-FFF2-40B4-BE49-F238E27FC236}">
                <a16:creationId xmlns:a16="http://schemas.microsoft.com/office/drawing/2014/main" id="{97853568-8186-EC9D-0D26-30CE071A04AA}"/>
              </a:ext>
            </a:extLst>
          </p:cNvPr>
          <p:cNvGrpSpPr>
            <a:grpSpLocks noChangeAspect="1"/>
          </p:cNvGrpSpPr>
          <p:nvPr/>
        </p:nvGrpSpPr>
        <p:grpSpPr>
          <a:xfrm>
            <a:off x="8008924" y="2535522"/>
            <a:ext cx="1024526" cy="1024525"/>
            <a:chOff x="1071877" y="2156499"/>
            <a:chExt cx="2749677" cy="2749675"/>
          </a:xfrm>
        </p:grpSpPr>
        <p:sp>
          <p:nvSpPr>
            <p:cNvPr id="32" name="Oval 31">
              <a:extLst>
                <a:ext uri="{FF2B5EF4-FFF2-40B4-BE49-F238E27FC236}">
                  <a16:creationId xmlns:a16="http://schemas.microsoft.com/office/drawing/2014/main" id="{1F2954BB-3DF4-421E-36F3-78BBE69D4FDF}"/>
                </a:ext>
              </a:extLst>
            </p:cNvPr>
            <p:cNvSpPr/>
            <p:nvPr/>
          </p:nvSpPr>
          <p:spPr bwMode="auto">
            <a:xfrm>
              <a:off x="1071877" y="2156499"/>
              <a:ext cx="2749677" cy="2749675"/>
            </a:xfrm>
            <a:prstGeom prst="ellipse">
              <a:avLst/>
            </a:prstGeom>
            <a:solidFill>
              <a:schemeClr val="accent6"/>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ctr" anchorCtr="0" forceAA="0" compatLnSpc="1">
              <a:prstTxWarp prst="textNoShape">
                <a:avLst/>
              </a:prstTxWarp>
              <a:noAutofit/>
            </a:bodyPr>
            <a:lstStyle/>
            <a:p>
              <a:pPr algn="ctr" defTabSz="1218768" fontAlgn="base">
                <a:spcBef>
                  <a:spcPct val="0"/>
                </a:spcBef>
                <a:spcAft>
                  <a:spcPct val="0"/>
                </a:spcAft>
              </a:pPr>
              <a:r>
                <a:rPr lang="en-US" sz="2400">
                  <a:gradFill>
                    <a:gsLst>
                      <a:gs pos="0">
                        <a:srgbClr val="FFFFFF"/>
                      </a:gs>
                      <a:gs pos="100000">
                        <a:srgbClr val="FFFFFF"/>
                      </a:gs>
                    </a:gsLst>
                    <a:lin ang="5400000" scaled="0"/>
                  </a:gradFill>
                  <a:latin typeface="+mj-lt"/>
                  <a:cs typeface="Segoe UI" pitchFamily="34" charset="0"/>
                </a:rPr>
                <a:t>   </a:t>
              </a:r>
            </a:p>
          </p:txBody>
        </p:sp>
        <p:pic>
          <p:nvPicPr>
            <p:cNvPr id="33" name="Graphic 32">
              <a:extLst>
                <a:ext uri="{FF2B5EF4-FFF2-40B4-BE49-F238E27FC236}">
                  <a16:creationId xmlns:a16="http://schemas.microsoft.com/office/drawing/2014/main" id="{F674810A-1683-937D-6C2C-073ADF796AC0}"/>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1587775" y="2672395"/>
              <a:ext cx="1717881" cy="1717881"/>
            </a:xfrm>
            <a:prstGeom prst="rect">
              <a:avLst/>
            </a:prstGeom>
          </p:spPr>
        </p:pic>
      </p:grpSp>
      <p:sp>
        <p:nvSpPr>
          <p:cNvPr id="34" name="TextBox 33">
            <a:extLst>
              <a:ext uri="{FF2B5EF4-FFF2-40B4-BE49-F238E27FC236}">
                <a16:creationId xmlns:a16="http://schemas.microsoft.com/office/drawing/2014/main" id="{44E21912-D4C6-23A0-D6EA-06F1BBC902ED}"/>
              </a:ext>
            </a:extLst>
          </p:cNvPr>
          <p:cNvSpPr txBox="1"/>
          <p:nvPr/>
        </p:nvSpPr>
        <p:spPr>
          <a:xfrm>
            <a:off x="9592569" y="3691946"/>
            <a:ext cx="1627671" cy="790409"/>
          </a:xfrm>
          <a:prstGeom prst="rect">
            <a:avLst/>
          </a:prstGeom>
          <a:noFill/>
        </p:spPr>
        <p:txBody>
          <a:bodyPr wrap="square" lIns="0" tIns="0" rIns="0" bIns="0">
            <a:spAutoFit/>
          </a:bodyPr>
          <a:lstStyle/>
          <a:p>
            <a:pPr marR="0" lvl="0" algn="ctr">
              <a:lnSpc>
                <a:spcPct val="107000"/>
              </a:lnSpc>
              <a:spcBef>
                <a:spcPts val="0"/>
              </a:spcBef>
              <a:spcAft>
                <a:spcPts val="0"/>
              </a:spcAft>
              <a:tabLst>
                <a:tab pos="457200" algn="l"/>
              </a:tabLst>
            </a:pPr>
            <a:r>
              <a:rPr lang="en-US" sz="1600" kern="100" dirty="0">
                <a:ea typeface="Calibri" panose="020F0502020204030204" pitchFamily="34" charset="0"/>
                <a:cs typeface="Calibri" panose="020F0502020204030204" pitchFamily="34" charset="0"/>
              </a:rPr>
              <a:t>Backup data reuse for data mining, dev/test</a:t>
            </a:r>
            <a:endParaRPr lang="en-US" sz="1600" kern="100" dirty="0">
              <a:ea typeface="Calibri" panose="020F0502020204030204" pitchFamily="34" charset="0"/>
              <a:cs typeface="Times New Roman" panose="02020603050405020304" pitchFamily="18" charset="0"/>
            </a:endParaRPr>
          </a:p>
        </p:txBody>
      </p:sp>
      <p:grpSp>
        <p:nvGrpSpPr>
          <p:cNvPr id="35" name="Group 34">
            <a:extLst>
              <a:ext uri="{FF2B5EF4-FFF2-40B4-BE49-F238E27FC236}">
                <a16:creationId xmlns:a16="http://schemas.microsoft.com/office/drawing/2014/main" id="{0CE6F498-6804-E983-1A61-820E9895EA5B}"/>
              </a:ext>
            </a:extLst>
          </p:cNvPr>
          <p:cNvGrpSpPr>
            <a:grpSpLocks noChangeAspect="1"/>
          </p:cNvGrpSpPr>
          <p:nvPr/>
        </p:nvGrpSpPr>
        <p:grpSpPr>
          <a:xfrm>
            <a:off x="9894142" y="2535522"/>
            <a:ext cx="1024526" cy="1024525"/>
            <a:chOff x="1071877" y="2156499"/>
            <a:chExt cx="2749677" cy="2749675"/>
          </a:xfrm>
        </p:grpSpPr>
        <p:sp>
          <p:nvSpPr>
            <p:cNvPr id="36" name="Oval 35">
              <a:extLst>
                <a:ext uri="{FF2B5EF4-FFF2-40B4-BE49-F238E27FC236}">
                  <a16:creationId xmlns:a16="http://schemas.microsoft.com/office/drawing/2014/main" id="{E81895AF-A326-06A9-F497-85FD0F988CFC}"/>
                </a:ext>
              </a:extLst>
            </p:cNvPr>
            <p:cNvSpPr/>
            <p:nvPr/>
          </p:nvSpPr>
          <p:spPr bwMode="auto">
            <a:xfrm>
              <a:off x="1071877" y="2156499"/>
              <a:ext cx="2749677" cy="2749675"/>
            </a:xfrm>
            <a:prstGeom prst="ellipse">
              <a:avLst/>
            </a:prstGeom>
            <a:solidFill>
              <a:schemeClr val="accent6"/>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ctr" anchorCtr="0" forceAA="0" compatLnSpc="1">
              <a:prstTxWarp prst="textNoShape">
                <a:avLst/>
              </a:prstTxWarp>
              <a:noAutofit/>
            </a:bodyPr>
            <a:lstStyle/>
            <a:p>
              <a:pPr algn="ctr" defTabSz="1218768" fontAlgn="base">
                <a:spcBef>
                  <a:spcPct val="0"/>
                </a:spcBef>
                <a:spcAft>
                  <a:spcPct val="0"/>
                </a:spcAft>
              </a:pPr>
              <a:r>
                <a:rPr lang="en-US" sz="2400">
                  <a:gradFill>
                    <a:gsLst>
                      <a:gs pos="0">
                        <a:srgbClr val="FFFFFF"/>
                      </a:gs>
                      <a:gs pos="100000">
                        <a:srgbClr val="FFFFFF"/>
                      </a:gs>
                    </a:gsLst>
                    <a:lin ang="5400000" scaled="0"/>
                  </a:gradFill>
                  <a:latin typeface="+mj-lt"/>
                  <a:cs typeface="Segoe UI" pitchFamily="34" charset="0"/>
                </a:rPr>
                <a:t>   </a:t>
              </a:r>
            </a:p>
          </p:txBody>
        </p:sp>
        <p:pic>
          <p:nvPicPr>
            <p:cNvPr id="37" name="Graphic 36">
              <a:extLst>
                <a:ext uri="{FF2B5EF4-FFF2-40B4-BE49-F238E27FC236}">
                  <a16:creationId xmlns:a16="http://schemas.microsoft.com/office/drawing/2014/main" id="{C6A2EBB8-AC6C-0E65-27EC-3C71944A70E2}"/>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1587775" y="2672395"/>
              <a:ext cx="1717881" cy="1717881"/>
            </a:xfrm>
            <a:prstGeom prst="rect">
              <a:avLst/>
            </a:prstGeom>
          </p:spPr>
        </p:pic>
      </p:grpSp>
    </p:spTree>
    <p:extLst>
      <p:ext uri="{BB962C8B-B14F-4D97-AF65-F5344CB8AC3E}">
        <p14:creationId xmlns:p14="http://schemas.microsoft.com/office/powerpoint/2010/main" val="4111348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250"/>
                                        <p:tgtEl>
                                          <p:spTgt spid="16"/>
                                        </p:tgtEl>
                                      </p:cBhvr>
                                    </p:animEffect>
                                  </p:childTnLst>
                                </p:cTn>
                              </p:par>
                              <p:par>
                                <p:cTn id="8" presetID="42" presetClass="path" presetSubtype="0" decel="100000" fill="hold" nodeType="withEffect">
                                  <p:stCondLst>
                                    <p:cond delay="0"/>
                                  </p:stCondLst>
                                  <p:childTnLst>
                                    <p:animMotion origin="layout" path="M -4.16667E-6 -0.03472 L -4.16667E-6 -4.44444E-6 " pathEditMode="relative" rAng="0" ptsTypes="AA">
                                      <p:cBhvr>
                                        <p:cTn id="9" dur="500" fill="hold"/>
                                        <p:tgtEl>
                                          <p:spTgt spid="16"/>
                                        </p:tgtEl>
                                        <p:attrNameLst>
                                          <p:attrName>ppt_x</p:attrName>
                                          <p:attrName>ppt_y</p:attrName>
                                        </p:attrNameLst>
                                      </p:cBhvr>
                                      <p:rCtr x="0" y="1736"/>
                                    </p:animMotion>
                                  </p:childTnLst>
                                </p:cTn>
                              </p:par>
                              <p:par>
                                <p:cTn id="10" presetID="10" presetClass="entr" presetSubtype="0" fill="hold" nodeType="withEffect">
                                  <p:stCondLst>
                                    <p:cond delay="25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250"/>
                                        <p:tgtEl>
                                          <p:spTgt spid="22"/>
                                        </p:tgtEl>
                                      </p:cBhvr>
                                    </p:animEffect>
                                  </p:childTnLst>
                                </p:cTn>
                              </p:par>
                              <p:par>
                                <p:cTn id="13" presetID="42" presetClass="path" presetSubtype="0" decel="100000" fill="hold" nodeType="withEffect">
                                  <p:stCondLst>
                                    <p:cond delay="250"/>
                                  </p:stCondLst>
                                  <p:childTnLst>
                                    <p:animMotion origin="layout" path="M 4.16667E-6 -0.03472 L 4.16667E-6 -4.44444E-6 " pathEditMode="relative" rAng="0" ptsTypes="AA">
                                      <p:cBhvr>
                                        <p:cTn id="14" dur="500" fill="hold"/>
                                        <p:tgtEl>
                                          <p:spTgt spid="22"/>
                                        </p:tgtEl>
                                        <p:attrNameLst>
                                          <p:attrName>ppt_x</p:attrName>
                                          <p:attrName>ppt_y</p:attrName>
                                        </p:attrNameLst>
                                      </p:cBhvr>
                                      <p:rCtr x="0" y="1736"/>
                                    </p:animMotion>
                                  </p:childTnLst>
                                </p:cTn>
                              </p:par>
                              <p:par>
                                <p:cTn id="15" presetID="10" presetClass="entr" presetSubtype="0" fill="hold" nodeType="withEffect">
                                  <p:stCondLst>
                                    <p:cond delay="50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250"/>
                                        <p:tgtEl>
                                          <p:spTgt spid="26"/>
                                        </p:tgtEl>
                                      </p:cBhvr>
                                    </p:animEffect>
                                  </p:childTnLst>
                                </p:cTn>
                              </p:par>
                              <p:par>
                                <p:cTn id="18" presetID="42" presetClass="path" presetSubtype="0" decel="100000" fill="hold" nodeType="withEffect">
                                  <p:stCondLst>
                                    <p:cond delay="500"/>
                                  </p:stCondLst>
                                  <p:childTnLst>
                                    <p:animMotion origin="layout" path="M 2.70833E-6 -0.03472 L 2.70833E-6 -4.44444E-6 " pathEditMode="relative" rAng="0" ptsTypes="AA">
                                      <p:cBhvr>
                                        <p:cTn id="19" dur="500" fill="hold"/>
                                        <p:tgtEl>
                                          <p:spTgt spid="26"/>
                                        </p:tgtEl>
                                        <p:attrNameLst>
                                          <p:attrName>ppt_x</p:attrName>
                                          <p:attrName>ppt_y</p:attrName>
                                        </p:attrNameLst>
                                      </p:cBhvr>
                                      <p:rCtr x="0" y="1736"/>
                                    </p:animMotion>
                                  </p:childTnLst>
                                </p:cTn>
                              </p:par>
                              <p:par>
                                <p:cTn id="20" presetID="10" presetClass="entr" presetSubtype="0" fill="hold" nodeType="withEffect">
                                  <p:stCondLst>
                                    <p:cond delay="750"/>
                                  </p:stCondLst>
                                  <p:childTnLst>
                                    <p:set>
                                      <p:cBhvr>
                                        <p:cTn id="21" dur="1" fill="hold">
                                          <p:stCondLst>
                                            <p:cond delay="0"/>
                                          </p:stCondLst>
                                        </p:cTn>
                                        <p:tgtEl>
                                          <p:spTgt spid="35"/>
                                        </p:tgtEl>
                                        <p:attrNameLst>
                                          <p:attrName>style.visibility</p:attrName>
                                        </p:attrNameLst>
                                      </p:cBhvr>
                                      <p:to>
                                        <p:strVal val="visible"/>
                                      </p:to>
                                    </p:set>
                                    <p:animEffect transition="in" filter="fade">
                                      <p:cBhvr>
                                        <p:cTn id="22" dur="250"/>
                                        <p:tgtEl>
                                          <p:spTgt spid="35"/>
                                        </p:tgtEl>
                                      </p:cBhvr>
                                    </p:animEffect>
                                  </p:childTnLst>
                                </p:cTn>
                              </p:par>
                              <p:par>
                                <p:cTn id="23" presetID="42" presetClass="path" presetSubtype="0" decel="100000" fill="hold" nodeType="withEffect">
                                  <p:stCondLst>
                                    <p:cond delay="750"/>
                                  </p:stCondLst>
                                  <p:childTnLst>
                                    <p:animMotion origin="layout" path="M 1.25E-6 -0.03472 L 1.25E-6 -4.44444E-6 " pathEditMode="relative" rAng="0" ptsTypes="AA">
                                      <p:cBhvr>
                                        <p:cTn id="24" dur="500" fill="hold"/>
                                        <p:tgtEl>
                                          <p:spTgt spid="35"/>
                                        </p:tgtEl>
                                        <p:attrNameLst>
                                          <p:attrName>ppt_x</p:attrName>
                                          <p:attrName>ppt_y</p:attrName>
                                        </p:attrNameLst>
                                      </p:cBhvr>
                                      <p:rCtr x="0" y="1736"/>
                                    </p:animMotion>
                                  </p:childTnLst>
                                </p:cTn>
                              </p:par>
                              <p:par>
                                <p:cTn id="25" presetID="10"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250"/>
                                        <p:tgtEl>
                                          <p:spTgt spid="14"/>
                                        </p:tgtEl>
                                      </p:cBhvr>
                                    </p:animEffect>
                                  </p:childTnLst>
                                </p:cTn>
                              </p:par>
                              <p:par>
                                <p:cTn id="28" presetID="42" presetClass="path" presetSubtype="0" decel="100000" fill="hold" grpId="1" nodeType="withEffect">
                                  <p:stCondLst>
                                    <p:cond delay="0"/>
                                  </p:stCondLst>
                                  <p:childTnLst>
                                    <p:animMotion origin="layout" path="M -4.79167E-6 0.03889 L -4.79167E-6 -3.7037E-7 " pathEditMode="relative" rAng="0" ptsTypes="AA">
                                      <p:cBhvr>
                                        <p:cTn id="29" dur="500" fill="hold"/>
                                        <p:tgtEl>
                                          <p:spTgt spid="14"/>
                                        </p:tgtEl>
                                        <p:attrNameLst>
                                          <p:attrName>ppt_x</p:attrName>
                                          <p:attrName>ppt_y</p:attrName>
                                        </p:attrNameLst>
                                      </p:cBhvr>
                                      <p:rCtr x="0" y="-1944"/>
                                    </p:animMotion>
                                  </p:childTnLst>
                                </p:cTn>
                              </p:par>
                              <p:par>
                                <p:cTn id="30" presetID="10" presetClass="entr" presetSubtype="0" fill="hold" grpId="0" nodeType="withEffect">
                                  <p:stCondLst>
                                    <p:cond delay="25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250"/>
                                        <p:tgtEl>
                                          <p:spTgt spid="21"/>
                                        </p:tgtEl>
                                      </p:cBhvr>
                                    </p:animEffect>
                                  </p:childTnLst>
                                </p:cTn>
                              </p:par>
                              <p:par>
                                <p:cTn id="33" presetID="42" presetClass="path" presetSubtype="0" decel="100000" fill="hold" grpId="1" nodeType="withEffect">
                                  <p:stCondLst>
                                    <p:cond delay="250"/>
                                  </p:stCondLst>
                                  <p:childTnLst>
                                    <p:animMotion origin="layout" path="M 4.16667E-6 0.03889 L 4.16667E-6 2.96296E-6 " pathEditMode="relative" rAng="0" ptsTypes="AA">
                                      <p:cBhvr>
                                        <p:cTn id="34" dur="500" fill="hold"/>
                                        <p:tgtEl>
                                          <p:spTgt spid="21"/>
                                        </p:tgtEl>
                                        <p:attrNameLst>
                                          <p:attrName>ppt_x</p:attrName>
                                          <p:attrName>ppt_y</p:attrName>
                                        </p:attrNameLst>
                                      </p:cBhvr>
                                      <p:rCtr x="0" y="-1944"/>
                                    </p:animMotion>
                                  </p:childTnLst>
                                </p:cTn>
                              </p:par>
                              <p:par>
                                <p:cTn id="35" presetID="10" presetClass="entr" presetSubtype="0" fill="hold" grpId="0" nodeType="withEffect">
                                  <p:stCondLst>
                                    <p:cond delay="50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250"/>
                                        <p:tgtEl>
                                          <p:spTgt spid="25"/>
                                        </p:tgtEl>
                                      </p:cBhvr>
                                    </p:animEffect>
                                  </p:childTnLst>
                                </p:cTn>
                              </p:par>
                              <p:par>
                                <p:cTn id="38" presetID="42" presetClass="path" presetSubtype="0" decel="100000" fill="hold" grpId="1" nodeType="withEffect">
                                  <p:stCondLst>
                                    <p:cond delay="500"/>
                                  </p:stCondLst>
                                  <p:childTnLst>
                                    <p:animMotion origin="layout" path="M 1.875E-6 0.03889 L 1.875E-6 -3.7037E-7 " pathEditMode="relative" rAng="0" ptsTypes="AA">
                                      <p:cBhvr>
                                        <p:cTn id="39" dur="500" fill="hold"/>
                                        <p:tgtEl>
                                          <p:spTgt spid="25"/>
                                        </p:tgtEl>
                                        <p:attrNameLst>
                                          <p:attrName>ppt_x</p:attrName>
                                          <p:attrName>ppt_y</p:attrName>
                                        </p:attrNameLst>
                                      </p:cBhvr>
                                      <p:rCtr x="0" y="-1944"/>
                                    </p:animMotion>
                                  </p:childTnLst>
                                </p:cTn>
                              </p:par>
                              <p:par>
                                <p:cTn id="40" presetID="10" presetClass="entr" presetSubtype="0" fill="hold" grpId="0" nodeType="withEffect">
                                  <p:stCondLst>
                                    <p:cond delay="750"/>
                                  </p:stCondLst>
                                  <p:childTnLst>
                                    <p:set>
                                      <p:cBhvr>
                                        <p:cTn id="41" dur="1" fill="hold">
                                          <p:stCondLst>
                                            <p:cond delay="0"/>
                                          </p:stCondLst>
                                        </p:cTn>
                                        <p:tgtEl>
                                          <p:spTgt spid="34"/>
                                        </p:tgtEl>
                                        <p:attrNameLst>
                                          <p:attrName>style.visibility</p:attrName>
                                        </p:attrNameLst>
                                      </p:cBhvr>
                                      <p:to>
                                        <p:strVal val="visible"/>
                                      </p:to>
                                    </p:set>
                                    <p:animEffect transition="in" filter="fade">
                                      <p:cBhvr>
                                        <p:cTn id="42" dur="250"/>
                                        <p:tgtEl>
                                          <p:spTgt spid="34"/>
                                        </p:tgtEl>
                                      </p:cBhvr>
                                    </p:animEffect>
                                  </p:childTnLst>
                                </p:cTn>
                              </p:par>
                              <p:par>
                                <p:cTn id="43" presetID="42" presetClass="path" presetSubtype="0" decel="100000" fill="hold" grpId="1" nodeType="withEffect">
                                  <p:stCondLst>
                                    <p:cond delay="750"/>
                                  </p:stCondLst>
                                  <p:childTnLst>
                                    <p:animMotion origin="layout" path="M 4.375E-6 0.03889 L 4.375E-6 2.59259E-6 " pathEditMode="relative" rAng="0" ptsTypes="AA">
                                      <p:cBhvr>
                                        <p:cTn id="44" dur="500" fill="hold"/>
                                        <p:tgtEl>
                                          <p:spTgt spid="34"/>
                                        </p:tgtEl>
                                        <p:attrNameLst>
                                          <p:attrName>ppt_x</p:attrName>
                                          <p:attrName>ppt_y</p:attrName>
                                        </p:attrNameLst>
                                      </p:cBhvr>
                                      <p:rCtr x="0" y="-1944"/>
                                    </p:animMotion>
                                  </p:childTnLst>
                                </p:cTn>
                              </p:par>
                              <p:par>
                                <p:cTn id="45" presetID="10" presetClass="entr" presetSubtype="0" fill="hold" nodeType="withEffect">
                                  <p:stCondLst>
                                    <p:cond delay="1000"/>
                                  </p:stCondLst>
                                  <p:childTnLst>
                                    <p:set>
                                      <p:cBhvr>
                                        <p:cTn id="46" dur="1" fill="hold">
                                          <p:stCondLst>
                                            <p:cond delay="0"/>
                                          </p:stCondLst>
                                        </p:cTn>
                                        <p:tgtEl>
                                          <p:spTgt spid="8"/>
                                        </p:tgtEl>
                                        <p:attrNameLst>
                                          <p:attrName>style.visibility</p:attrName>
                                        </p:attrNameLst>
                                      </p:cBhvr>
                                      <p:to>
                                        <p:strVal val="visible"/>
                                      </p:to>
                                    </p:set>
                                    <p:animEffect transition="in" filter="fade">
                                      <p:cBhvr>
                                        <p:cTn id="47" dur="250"/>
                                        <p:tgtEl>
                                          <p:spTgt spid="8"/>
                                        </p:tgtEl>
                                      </p:cBhvr>
                                    </p:animEffect>
                                  </p:childTnLst>
                                </p:cTn>
                              </p:par>
                              <p:par>
                                <p:cTn id="48" presetID="64" presetClass="path" presetSubtype="0" accel="50000" decel="50000" fill="hold" nodeType="withEffect">
                                  <p:stCondLst>
                                    <p:cond delay="1000"/>
                                  </p:stCondLst>
                                  <p:childTnLst>
                                    <p:animMotion origin="layout" path="M -4.58333E-6 -1.48148E-6 L -4.58333E-6 -0.04467 " pathEditMode="relative" rAng="0" ptsTypes="AA">
                                      <p:cBhvr>
                                        <p:cTn id="49" dur="500" fill="hold"/>
                                        <p:tgtEl>
                                          <p:spTgt spid="8"/>
                                        </p:tgtEl>
                                        <p:attrNameLst>
                                          <p:attrName>ppt_x</p:attrName>
                                          <p:attrName>ppt_y</p:attrName>
                                        </p:attrNameLst>
                                      </p:cBhvr>
                                      <p:rCtr x="0" y="-224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21" grpId="0"/>
      <p:bldP spid="21" grpId="1"/>
      <p:bldP spid="25" grpId="0"/>
      <p:bldP spid="25" grpId="1"/>
      <p:bldP spid="34" grpId="0"/>
      <p:bldP spid="34" grpId="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ounded Rectangle 31">
            <a:extLst>
              <a:ext uri="{FF2B5EF4-FFF2-40B4-BE49-F238E27FC236}">
                <a16:creationId xmlns:a16="http://schemas.microsoft.com/office/drawing/2014/main" id="{10F2E2F0-4BC2-9E5F-F125-EDFF6C824C73}"/>
              </a:ext>
            </a:extLst>
          </p:cNvPr>
          <p:cNvSpPr/>
          <p:nvPr/>
        </p:nvSpPr>
        <p:spPr>
          <a:xfrm>
            <a:off x="1019284" y="1598248"/>
            <a:ext cx="4868702" cy="3661504"/>
          </a:xfrm>
          <a:prstGeom prst="roundRect">
            <a:avLst>
              <a:gd name="adj" fmla="val 3121"/>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60960" rIns="365760" bIns="121920" numCol="1" spcCol="0" rtlCol="0" fromWordArt="0" anchor="b" anchorCtr="0" forceAA="0" compatLnSpc="1">
            <a:prstTxWarp prst="textNoShape">
              <a:avLst/>
            </a:prstTxWarp>
            <a:noAutofit/>
          </a:bodyPr>
          <a:lstStyle/>
          <a:p>
            <a:pPr algn="ctr">
              <a:lnSpc>
                <a:spcPct val="96000"/>
              </a:lnSpc>
            </a:pPr>
            <a:endParaRPr lang="en-US" sz="1400">
              <a:solidFill>
                <a:srgbClr val="505861"/>
              </a:solidFill>
              <a:cs typeface="Microsoft Sans Serif" panose="020B0604020202020204" pitchFamily="34" charset="0"/>
            </a:endParaRPr>
          </a:p>
        </p:txBody>
      </p:sp>
      <p:sp>
        <p:nvSpPr>
          <p:cNvPr id="28" name="Freeform 27">
            <a:extLst>
              <a:ext uri="{FF2B5EF4-FFF2-40B4-BE49-F238E27FC236}">
                <a16:creationId xmlns:a16="http://schemas.microsoft.com/office/drawing/2014/main" id="{1EE5F69C-7512-CFA3-DA75-62DF6A183498}"/>
              </a:ext>
            </a:extLst>
          </p:cNvPr>
          <p:cNvSpPr/>
          <p:nvPr/>
        </p:nvSpPr>
        <p:spPr>
          <a:xfrm>
            <a:off x="1019284" y="1598249"/>
            <a:ext cx="4868702" cy="686999"/>
          </a:xfrm>
          <a:custGeom>
            <a:avLst/>
            <a:gdLst>
              <a:gd name="connsiteX0" fmla="*/ 114276 w 4868702"/>
              <a:gd name="connsiteY0" fmla="*/ 0 h 686999"/>
              <a:gd name="connsiteX1" fmla="*/ 4754426 w 4868702"/>
              <a:gd name="connsiteY1" fmla="*/ 0 h 686999"/>
              <a:gd name="connsiteX2" fmla="*/ 4868702 w 4868702"/>
              <a:gd name="connsiteY2" fmla="*/ 114276 h 686999"/>
              <a:gd name="connsiteX3" fmla="*/ 4868702 w 4868702"/>
              <a:gd name="connsiteY3" fmla="*/ 686999 h 686999"/>
              <a:gd name="connsiteX4" fmla="*/ 4754426 w 4868702"/>
              <a:gd name="connsiteY4" fmla="*/ 572723 h 686999"/>
              <a:gd name="connsiteX5" fmla="*/ 114276 w 4868702"/>
              <a:gd name="connsiteY5" fmla="*/ 572723 h 686999"/>
              <a:gd name="connsiteX6" fmla="*/ 0 w 4868702"/>
              <a:gd name="connsiteY6" fmla="*/ 686999 h 686999"/>
              <a:gd name="connsiteX7" fmla="*/ 0 w 4868702"/>
              <a:gd name="connsiteY7" fmla="*/ 114276 h 686999"/>
              <a:gd name="connsiteX8" fmla="*/ 114276 w 4868702"/>
              <a:gd name="connsiteY8" fmla="*/ 0 h 686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68702" h="686999">
                <a:moveTo>
                  <a:pt x="114276" y="0"/>
                </a:moveTo>
                <a:lnTo>
                  <a:pt x="4754426" y="0"/>
                </a:lnTo>
                <a:cubicBezTo>
                  <a:pt x="4817539" y="0"/>
                  <a:pt x="4868702" y="51163"/>
                  <a:pt x="4868702" y="114276"/>
                </a:cubicBezTo>
                <a:lnTo>
                  <a:pt x="4868702" y="686999"/>
                </a:lnTo>
                <a:cubicBezTo>
                  <a:pt x="4868702" y="623886"/>
                  <a:pt x="4817539" y="572723"/>
                  <a:pt x="4754426" y="572723"/>
                </a:cubicBezTo>
                <a:lnTo>
                  <a:pt x="114276" y="572723"/>
                </a:lnTo>
                <a:cubicBezTo>
                  <a:pt x="51163" y="572723"/>
                  <a:pt x="0" y="623886"/>
                  <a:pt x="0" y="686999"/>
                </a:cubicBezTo>
                <a:lnTo>
                  <a:pt x="0" y="114276"/>
                </a:lnTo>
                <a:cubicBezTo>
                  <a:pt x="0" y="51163"/>
                  <a:pt x="51163" y="0"/>
                  <a:pt x="114276" y="0"/>
                </a:cubicBezTo>
                <a:close/>
              </a:path>
            </a:pathLst>
          </a:custGeom>
          <a:solidFill>
            <a:schemeClr val="accent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60960" rIns="365760" bIns="121920" numCol="1" spcCol="0" rtlCol="0" fromWordArt="0" anchor="b" anchorCtr="0" forceAA="0" compatLnSpc="1">
            <a:prstTxWarp prst="textNoShape">
              <a:avLst/>
            </a:prstTxWarp>
            <a:noAutofit/>
          </a:bodyPr>
          <a:lstStyle/>
          <a:p>
            <a:pPr algn="ctr">
              <a:lnSpc>
                <a:spcPct val="96000"/>
              </a:lnSpc>
            </a:pPr>
            <a:endParaRPr lang="en-US" sz="1400">
              <a:solidFill>
                <a:srgbClr val="505861"/>
              </a:solidFill>
              <a:cs typeface="Microsoft Sans Serif" panose="020B0604020202020204" pitchFamily="34" charset="0"/>
            </a:endParaRPr>
          </a:p>
        </p:txBody>
      </p:sp>
      <p:sp>
        <p:nvSpPr>
          <p:cNvPr id="36" name="TextBox 35">
            <a:extLst>
              <a:ext uri="{FF2B5EF4-FFF2-40B4-BE49-F238E27FC236}">
                <a16:creationId xmlns:a16="http://schemas.microsoft.com/office/drawing/2014/main" id="{ED293C19-ED5E-DFF6-B7E1-2880F13B44A1}"/>
              </a:ext>
            </a:extLst>
          </p:cNvPr>
          <p:cNvSpPr txBox="1"/>
          <p:nvPr/>
        </p:nvSpPr>
        <p:spPr>
          <a:xfrm>
            <a:off x="1216418" y="1715753"/>
            <a:ext cx="4474433" cy="415498"/>
          </a:xfrm>
          <a:prstGeom prst="rect">
            <a:avLst/>
          </a:prstGeom>
          <a:noFill/>
        </p:spPr>
        <p:txBody>
          <a:bodyPr wrap="square" rtlCol="0">
            <a:spAutoFit/>
          </a:bodyPr>
          <a:lstStyle/>
          <a:p>
            <a:pPr algn="ctr"/>
            <a:r>
              <a:rPr kumimoji="0" lang="en-US" sz="2100" i="0" u="none" strike="noStrike" kern="1200" cap="none" spc="0" normalizeH="0" baseline="0" noProof="0">
                <a:ln>
                  <a:noFill/>
                </a:ln>
                <a:solidFill>
                  <a:schemeClr val="accent1"/>
                </a:solidFill>
                <a:effectLst/>
                <a:uLnTx/>
                <a:uFillTx/>
                <a:latin typeface="ES Build" pitchFamily="50" charset="0"/>
                <a:ea typeface="+mn-ea"/>
                <a:cs typeface="Microsoft Sans Serif" panose="020B0604020202020204" pitchFamily="34" charset="0"/>
              </a:rPr>
              <a:t>Software Subscription</a:t>
            </a:r>
            <a:endParaRPr kumimoji="0" lang="en-RU" sz="2100" i="0" u="none" strike="noStrike" kern="1200" cap="none" spc="0" normalizeH="0" baseline="0" noProof="0">
              <a:ln>
                <a:noFill/>
              </a:ln>
              <a:solidFill>
                <a:schemeClr val="accent1"/>
              </a:solidFill>
              <a:effectLst/>
              <a:uLnTx/>
              <a:uFillTx/>
              <a:latin typeface="ES Build" pitchFamily="50" charset="0"/>
              <a:ea typeface="+mn-ea"/>
              <a:cs typeface="Microsoft Sans Serif" panose="020B0604020202020204" pitchFamily="34" charset="0"/>
            </a:endParaRPr>
          </a:p>
        </p:txBody>
      </p:sp>
      <p:sp>
        <p:nvSpPr>
          <p:cNvPr id="158" name="Rounded Rectangle 157">
            <a:extLst>
              <a:ext uri="{FF2B5EF4-FFF2-40B4-BE49-F238E27FC236}">
                <a16:creationId xmlns:a16="http://schemas.microsoft.com/office/drawing/2014/main" id="{A2FC3F30-3A76-8BE7-AB12-069CB4DD9F35}"/>
              </a:ext>
            </a:extLst>
          </p:cNvPr>
          <p:cNvSpPr/>
          <p:nvPr/>
        </p:nvSpPr>
        <p:spPr>
          <a:xfrm>
            <a:off x="1228497" y="2377893"/>
            <a:ext cx="4474433" cy="1531306"/>
          </a:xfrm>
          <a:prstGeom prst="roundRect">
            <a:avLst>
              <a:gd name="adj" fmla="val 5845"/>
            </a:avLst>
          </a:prstGeom>
          <a:noFill/>
          <a:ln w="12700">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64008" rtlCol="0" anchor="t" anchorCtr="0"/>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2"/>
                </a:solidFill>
                <a:effectLst/>
                <a:uLnTx/>
                <a:uFillTx/>
                <a:latin typeface="ES Build"/>
                <a:ea typeface="+mn-ea"/>
                <a:cs typeface="+mn-cs"/>
              </a:rPr>
              <a:t>Veeam Data Platform</a:t>
            </a:r>
          </a:p>
        </p:txBody>
      </p:sp>
      <p:sp>
        <p:nvSpPr>
          <p:cNvPr id="3" name="Title 2">
            <a:extLst>
              <a:ext uri="{FF2B5EF4-FFF2-40B4-BE49-F238E27FC236}">
                <a16:creationId xmlns:a16="http://schemas.microsoft.com/office/drawing/2014/main" id="{F76567D7-CD0E-5F29-ED66-7C0FBC7B7317}"/>
              </a:ext>
            </a:extLst>
          </p:cNvPr>
          <p:cNvSpPr>
            <a:spLocks noGrp="1"/>
          </p:cNvSpPr>
          <p:nvPr>
            <p:ph type="title"/>
          </p:nvPr>
        </p:nvSpPr>
        <p:spPr/>
        <p:txBody>
          <a:bodyPr/>
          <a:lstStyle/>
          <a:p>
            <a:pPr algn="ctr"/>
            <a:r>
              <a:rPr lang="en-US" dirty="0"/>
              <a:t>Flexible delivery, customer choice: </a:t>
            </a:r>
            <a:br>
              <a:rPr lang="en-US" dirty="0"/>
            </a:br>
            <a:r>
              <a:rPr lang="en-US" dirty="0"/>
              <a:t>self-managed software or as-a-Service</a:t>
            </a:r>
          </a:p>
        </p:txBody>
      </p:sp>
      <p:sp>
        <p:nvSpPr>
          <p:cNvPr id="7" name="Rectangle 6">
            <a:extLst>
              <a:ext uri="{FF2B5EF4-FFF2-40B4-BE49-F238E27FC236}">
                <a16:creationId xmlns:a16="http://schemas.microsoft.com/office/drawing/2014/main" id="{CCE022CB-CDC7-DDC4-F8AD-B002F30F1B3D}"/>
              </a:ext>
            </a:extLst>
          </p:cNvPr>
          <p:cNvSpPr/>
          <p:nvPr/>
        </p:nvSpPr>
        <p:spPr>
          <a:xfrm>
            <a:off x="1193023" y="5425560"/>
            <a:ext cx="4694963" cy="21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7800" marR="0" lvl="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tx1"/>
                </a:solidFill>
                <a:effectLst/>
                <a:uLnTx/>
                <a:uFillTx/>
                <a:latin typeface="ES Build Neutral"/>
                <a:ea typeface="+mn-ea"/>
                <a:cs typeface="+mn-cs"/>
              </a:rPr>
              <a:t>Self-managed on-premise, cloud, or hybrid</a:t>
            </a:r>
          </a:p>
        </p:txBody>
      </p:sp>
      <p:sp>
        <p:nvSpPr>
          <p:cNvPr id="31" name="TextBox 30">
            <a:extLst>
              <a:ext uri="{FF2B5EF4-FFF2-40B4-BE49-F238E27FC236}">
                <a16:creationId xmlns:a16="http://schemas.microsoft.com/office/drawing/2014/main" id="{F50E0147-3E82-B455-96E4-1CE36769EC46}"/>
              </a:ext>
            </a:extLst>
          </p:cNvPr>
          <p:cNvSpPr txBox="1"/>
          <p:nvPr/>
        </p:nvSpPr>
        <p:spPr>
          <a:xfrm>
            <a:off x="6463866" y="5425560"/>
            <a:ext cx="4868702" cy="738664"/>
          </a:xfrm>
          <a:prstGeom prst="rect">
            <a:avLst/>
          </a:prstGeom>
          <a:noFill/>
        </p:spPr>
        <p:txBody>
          <a:bodyPr wrap="square" lIns="0">
            <a:spAutoFit/>
          </a:bodyPr>
          <a:lstStyle/>
          <a:p>
            <a:pPr marL="177800" marR="0" lvl="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effectLst/>
                <a:uLnTx/>
                <a:uFillTx/>
                <a:latin typeface="ES Build Neutral"/>
                <a:ea typeface="+mn-ea"/>
                <a:cs typeface="+mn-cs"/>
              </a:rPr>
              <a:t>Managed service through Veeam cloud service providers</a:t>
            </a:r>
          </a:p>
          <a:p>
            <a:pPr marL="177800" marR="0" lvl="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effectLst/>
                <a:uLnTx/>
                <a:uFillTx/>
                <a:latin typeface="ES Build Neutral"/>
                <a:ea typeface="+mn-ea"/>
                <a:cs typeface="+mn-cs"/>
              </a:rPr>
              <a:t>1</a:t>
            </a:r>
            <a:r>
              <a:rPr kumimoji="0" lang="en-US" sz="1400" b="0" i="0" u="none" strike="noStrike" kern="1200" cap="none" spc="0" normalizeH="0" baseline="30000" noProof="0">
                <a:ln>
                  <a:noFill/>
                </a:ln>
                <a:effectLst/>
                <a:uLnTx/>
                <a:uFillTx/>
                <a:latin typeface="ES Build Neutral"/>
                <a:ea typeface="+mn-ea"/>
                <a:cs typeface="+mn-cs"/>
              </a:rPr>
              <a:t>st</a:t>
            </a:r>
            <a:r>
              <a:rPr kumimoji="0" lang="en-US" sz="1400" b="0" i="0" u="none" strike="noStrike" kern="1200" cap="none" spc="0" normalizeH="0" baseline="0" noProof="0">
                <a:ln>
                  <a:noFill/>
                </a:ln>
                <a:effectLst/>
                <a:uLnTx/>
                <a:uFillTx/>
                <a:latin typeface="ES Build Neutral"/>
                <a:ea typeface="+mn-ea"/>
                <a:cs typeface="+mn-cs"/>
              </a:rPr>
              <a:t> party Veeam managed service for M365, Azure, AWS</a:t>
            </a:r>
          </a:p>
          <a:p>
            <a:pPr marL="177800" marR="0" lvl="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effectLst/>
                <a:uLnTx/>
                <a:uFillTx/>
                <a:latin typeface="ES Build Neutral"/>
                <a:ea typeface="+mn-ea"/>
                <a:cs typeface="+mn-cs"/>
              </a:rPr>
              <a:t>All services will eventually be provided as-a-service</a:t>
            </a:r>
          </a:p>
        </p:txBody>
      </p:sp>
      <p:sp>
        <p:nvSpPr>
          <p:cNvPr id="38" name="Rounded Rectangle 37">
            <a:extLst>
              <a:ext uri="{FF2B5EF4-FFF2-40B4-BE49-F238E27FC236}">
                <a16:creationId xmlns:a16="http://schemas.microsoft.com/office/drawing/2014/main" id="{BB0217A9-C8C2-4938-52F1-F14ACF736227}"/>
              </a:ext>
            </a:extLst>
          </p:cNvPr>
          <p:cNvSpPr/>
          <p:nvPr/>
        </p:nvSpPr>
        <p:spPr>
          <a:xfrm>
            <a:off x="6317673" y="1598248"/>
            <a:ext cx="4868702" cy="3661504"/>
          </a:xfrm>
          <a:prstGeom prst="roundRect">
            <a:avLst>
              <a:gd name="adj" fmla="val 3121"/>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60960" rIns="365760" bIns="121920" numCol="1" spcCol="0" rtlCol="0" fromWordArt="0" anchor="b" anchorCtr="0" forceAA="0" compatLnSpc="1">
            <a:prstTxWarp prst="textNoShape">
              <a:avLst/>
            </a:prstTxWarp>
            <a:noAutofit/>
          </a:bodyPr>
          <a:lstStyle/>
          <a:p>
            <a:pPr algn="ctr">
              <a:lnSpc>
                <a:spcPct val="96000"/>
              </a:lnSpc>
            </a:pPr>
            <a:endParaRPr lang="en-US" sz="1400">
              <a:solidFill>
                <a:srgbClr val="505861"/>
              </a:solidFill>
              <a:cs typeface="Microsoft Sans Serif" panose="020B0604020202020204" pitchFamily="34" charset="0"/>
            </a:endParaRPr>
          </a:p>
        </p:txBody>
      </p:sp>
      <p:sp>
        <p:nvSpPr>
          <p:cNvPr id="39" name="Freeform 38">
            <a:extLst>
              <a:ext uri="{FF2B5EF4-FFF2-40B4-BE49-F238E27FC236}">
                <a16:creationId xmlns:a16="http://schemas.microsoft.com/office/drawing/2014/main" id="{B4621345-8DCB-65B2-D086-4E829AA186C1}"/>
              </a:ext>
            </a:extLst>
          </p:cNvPr>
          <p:cNvSpPr/>
          <p:nvPr/>
        </p:nvSpPr>
        <p:spPr>
          <a:xfrm>
            <a:off x="6317673" y="1598249"/>
            <a:ext cx="4868702" cy="686999"/>
          </a:xfrm>
          <a:custGeom>
            <a:avLst/>
            <a:gdLst>
              <a:gd name="connsiteX0" fmla="*/ 114276 w 4868702"/>
              <a:gd name="connsiteY0" fmla="*/ 0 h 686999"/>
              <a:gd name="connsiteX1" fmla="*/ 4754426 w 4868702"/>
              <a:gd name="connsiteY1" fmla="*/ 0 h 686999"/>
              <a:gd name="connsiteX2" fmla="*/ 4868702 w 4868702"/>
              <a:gd name="connsiteY2" fmla="*/ 114276 h 686999"/>
              <a:gd name="connsiteX3" fmla="*/ 4868702 w 4868702"/>
              <a:gd name="connsiteY3" fmla="*/ 686999 h 686999"/>
              <a:gd name="connsiteX4" fmla="*/ 4754426 w 4868702"/>
              <a:gd name="connsiteY4" fmla="*/ 572723 h 686999"/>
              <a:gd name="connsiteX5" fmla="*/ 114276 w 4868702"/>
              <a:gd name="connsiteY5" fmla="*/ 572723 h 686999"/>
              <a:gd name="connsiteX6" fmla="*/ 0 w 4868702"/>
              <a:gd name="connsiteY6" fmla="*/ 686999 h 686999"/>
              <a:gd name="connsiteX7" fmla="*/ 0 w 4868702"/>
              <a:gd name="connsiteY7" fmla="*/ 114276 h 686999"/>
              <a:gd name="connsiteX8" fmla="*/ 114276 w 4868702"/>
              <a:gd name="connsiteY8" fmla="*/ 0 h 686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68702" h="686999">
                <a:moveTo>
                  <a:pt x="114276" y="0"/>
                </a:moveTo>
                <a:lnTo>
                  <a:pt x="4754426" y="0"/>
                </a:lnTo>
                <a:cubicBezTo>
                  <a:pt x="4817539" y="0"/>
                  <a:pt x="4868702" y="51163"/>
                  <a:pt x="4868702" y="114276"/>
                </a:cubicBezTo>
                <a:lnTo>
                  <a:pt x="4868702" y="686999"/>
                </a:lnTo>
                <a:cubicBezTo>
                  <a:pt x="4868702" y="623886"/>
                  <a:pt x="4817539" y="572723"/>
                  <a:pt x="4754426" y="572723"/>
                </a:cubicBezTo>
                <a:lnTo>
                  <a:pt x="114276" y="572723"/>
                </a:lnTo>
                <a:cubicBezTo>
                  <a:pt x="51163" y="572723"/>
                  <a:pt x="0" y="623886"/>
                  <a:pt x="0" y="686999"/>
                </a:cubicBezTo>
                <a:lnTo>
                  <a:pt x="0" y="114276"/>
                </a:lnTo>
                <a:cubicBezTo>
                  <a:pt x="0" y="51163"/>
                  <a:pt x="51163" y="0"/>
                  <a:pt x="114276" y="0"/>
                </a:cubicBezTo>
                <a:close/>
              </a:path>
            </a:pathLst>
          </a:custGeom>
          <a:solidFill>
            <a:schemeClr val="accent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60960" rIns="365760" bIns="121920" numCol="1" spcCol="0" rtlCol="0" fromWordArt="0" anchor="b" anchorCtr="0" forceAA="0" compatLnSpc="1">
            <a:prstTxWarp prst="textNoShape">
              <a:avLst/>
            </a:prstTxWarp>
            <a:noAutofit/>
          </a:bodyPr>
          <a:lstStyle/>
          <a:p>
            <a:pPr algn="ctr">
              <a:lnSpc>
                <a:spcPct val="96000"/>
              </a:lnSpc>
            </a:pPr>
            <a:endParaRPr lang="en-US" sz="1400">
              <a:solidFill>
                <a:srgbClr val="505861"/>
              </a:solidFill>
              <a:cs typeface="Microsoft Sans Serif" panose="020B0604020202020204" pitchFamily="34" charset="0"/>
            </a:endParaRPr>
          </a:p>
        </p:txBody>
      </p:sp>
      <p:sp>
        <p:nvSpPr>
          <p:cNvPr id="40" name="TextBox 39">
            <a:extLst>
              <a:ext uri="{FF2B5EF4-FFF2-40B4-BE49-F238E27FC236}">
                <a16:creationId xmlns:a16="http://schemas.microsoft.com/office/drawing/2014/main" id="{FBF2035A-0344-A376-3205-79A4B429F3A4}"/>
              </a:ext>
            </a:extLst>
          </p:cNvPr>
          <p:cNvSpPr txBox="1"/>
          <p:nvPr/>
        </p:nvSpPr>
        <p:spPr>
          <a:xfrm>
            <a:off x="6514807" y="1715753"/>
            <a:ext cx="4474433" cy="405752"/>
          </a:xfrm>
          <a:prstGeom prst="rect">
            <a:avLst/>
          </a:prstGeom>
          <a:noFill/>
        </p:spPr>
        <p:txBody>
          <a:bodyPr wrap="square" rtlCol="0">
            <a:spAutoFit/>
          </a:bodyPr>
          <a:lstStyle/>
          <a:p>
            <a:pPr marL="0" marR="0" lvl="0" indent="0" algn="ctr" defTabSz="914400" rtl="0" eaLnBrk="1" fontAlgn="auto" latinLnBrk="0" hangingPunct="1">
              <a:lnSpc>
                <a:spcPct val="96000"/>
              </a:lnSpc>
              <a:spcBef>
                <a:spcPts val="0"/>
              </a:spcBef>
              <a:spcAft>
                <a:spcPts val="0"/>
              </a:spcAft>
              <a:buClrTx/>
              <a:buSzTx/>
              <a:buFontTx/>
              <a:buNone/>
              <a:tabLst/>
              <a:defRPr/>
            </a:pPr>
            <a:r>
              <a:rPr lang="en-US" sz="2100" dirty="0">
                <a:solidFill>
                  <a:schemeClr val="accent1"/>
                </a:solidFill>
                <a:latin typeface="ES Build" pitchFamily="50" charset="0"/>
                <a:cs typeface="Microsoft Sans Serif" panose="020B0604020202020204" pitchFamily="34" charset="0"/>
              </a:rPr>
              <a:t>a</a:t>
            </a:r>
            <a:r>
              <a:rPr kumimoji="0" lang="en-US" sz="2100" i="0" u="none" strike="noStrike" kern="1200" cap="none" spc="0" normalizeH="0" baseline="0" noProof="0" dirty="0">
                <a:ln>
                  <a:noFill/>
                </a:ln>
                <a:solidFill>
                  <a:schemeClr val="accent1"/>
                </a:solidFill>
                <a:effectLst/>
                <a:uLnTx/>
                <a:uFillTx/>
                <a:latin typeface="ES Build" pitchFamily="50" charset="0"/>
                <a:ea typeface="+mn-ea"/>
                <a:cs typeface="Microsoft Sans Serif" panose="020B0604020202020204" pitchFamily="34" charset="0"/>
              </a:rPr>
              <a:t>s-a-Service (SaaS)</a:t>
            </a:r>
            <a:endParaRPr kumimoji="0" lang="en-RU" sz="2100" i="0" u="none" strike="noStrike" kern="1200" cap="none" spc="0" normalizeH="0" baseline="0" noProof="0" dirty="0">
              <a:ln>
                <a:noFill/>
              </a:ln>
              <a:solidFill>
                <a:schemeClr val="accent1"/>
              </a:solidFill>
              <a:effectLst/>
              <a:uLnTx/>
              <a:uFillTx/>
              <a:latin typeface="ES Build" pitchFamily="50" charset="0"/>
              <a:ea typeface="+mn-ea"/>
              <a:cs typeface="Microsoft Sans Serif" panose="020B0604020202020204" pitchFamily="34" charset="0"/>
            </a:endParaRPr>
          </a:p>
        </p:txBody>
      </p:sp>
      <p:sp>
        <p:nvSpPr>
          <p:cNvPr id="166" name="Rounded Rectangle 165">
            <a:extLst>
              <a:ext uri="{FF2B5EF4-FFF2-40B4-BE49-F238E27FC236}">
                <a16:creationId xmlns:a16="http://schemas.microsoft.com/office/drawing/2014/main" id="{D7199162-B43E-D1B4-01FC-847B103BF86D}"/>
              </a:ext>
            </a:extLst>
          </p:cNvPr>
          <p:cNvSpPr/>
          <p:nvPr/>
        </p:nvSpPr>
        <p:spPr>
          <a:xfrm>
            <a:off x="6463866" y="2377893"/>
            <a:ext cx="2667985" cy="2651760"/>
          </a:xfrm>
          <a:prstGeom prst="roundRect">
            <a:avLst>
              <a:gd name="adj" fmla="val 3935"/>
            </a:avLst>
          </a:prstGeom>
          <a:noFill/>
          <a:ln w="12700">
            <a:solidFill>
              <a:schemeClr val="accent4"/>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64008" rtlCol="0" anchor="t" anchorCtr="0"/>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4"/>
                </a:solidFill>
                <a:effectLst/>
                <a:uLnTx/>
                <a:uFillTx/>
                <a:latin typeface="ES Build"/>
                <a:ea typeface="+mn-ea"/>
                <a:cs typeface="+mn-cs"/>
              </a:rPr>
              <a:t>Veeam Cloud Service Providers</a:t>
            </a:r>
          </a:p>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accent4"/>
                </a:solidFill>
                <a:effectLst/>
                <a:uLnTx/>
                <a:uFillTx/>
                <a:latin typeface="ES Build"/>
                <a:ea typeface="+mn-ea"/>
                <a:cs typeface="+mn-cs"/>
              </a:rPr>
              <a:t>(3rd party)</a:t>
            </a:r>
          </a:p>
        </p:txBody>
      </p:sp>
      <p:sp>
        <p:nvSpPr>
          <p:cNvPr id="167" name="Rounded Rectangle 166">
            <a:extLst>
              <a:ext uri="{FF2B5EF4-FFF2-40B4-BE49-F238E27FC236}">
                <a16:creationId xmlns:a16="http://schemas.microsoft.com/office/drawing/2014/main" id="{CC861D69-1234-2B76-D9DF-1F7DB5C29226}"/>
              </a:ext>
            </a:extLst>
          </p:cNvPr>
          <p:cNvSpPr/>
          <p:nvPr/>
        </p:nvSpPr>
        <p:spPr>
          <a:xfrm>
            <a:off x="9248466" y="2377893"/>
            <a:ext cx="1778515" cy="2651760"/>
          </a:xfrm>
          <a:prstGeom prst="roundRect">
            <a:avLst>
              <a:gd name="adj" fmla="val 5043"/>
            </a:avLst>
          </a:prstGeom>
          <a:noFill/>
          <a:ln w="12700">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64008" rtlCol="0" anchor="t" anchorCtr="0"/>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2"/>
                </a:solidFill>
                <a:effectLst/>
                <a:uLnTx/>
                <a:uFillTx/>
                <a:latin typeface="ES Build"/>
                <a:ea typeface="+mn-ea"/>
                <a:cs typeface="+mn-cs"/>
              </a:rPr>
              <a:t>Veeam Data Cloud</a:t>
            </a:r>
          </a:p>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accent2"/>
                </a:solidFill>
                <a:effectLst/>
                <a:uLnTx/>
                <a:uFillTx/>
                <a:latin typeface="ES Build"/>
                <a:ea typeface="+mn-ea"/>
                <a:cs typeface="+mn-cs"/>
              </a:rPr>
              <a:t> (1st party)</a:t>
            </a:r>
          </a:p>
        </p:txBody>
      </p:sp>
      <p:grpSp>
        <p:nvGrpSpPr>
          <p:cNvPr id="4" name="Group 3">
            <a:extLst>
              <a:ext uri="{FF2B5EF4-FFF2-40B4-BE49-F238E27FC236}">
                <a16:creationId xmlns:a16="http://schemas.microsoft.com/office/drawing/2014/main" id="{C20D66F2-8084-8E9F-54C2-076359A824BB}"/>
              </a:ext>
            </a:extLst>
          </p:cNvPr>
          <p:cNvGrpSpPr/>
          <p:nvPr/>
        </p:nvGrpSpPr>
        <p:grpSpPr>
          <a:xfrm>
            <a:off x="3587155" y="2961798"/>
            <a:ext cx="722146" cy="722527"/>
            <a:chOff x="3075428" y="1711717"/>
            <a:chExt cx="1180036" cy="1180659"/>
          </a:xfrm>
        </p:grpSpPr>
        <p:grpSp>
          <p:nvGrpSpPr>
            <p:cNvPr id="5" name="Group 4">
              <a:extLst>
                <a:ext uri="{FF2B5EF4-FFF2-40B4-BE49-F238E27FC236}">
                  <a16:creationId xmlns:a16="http://schemas.microsoft.com/office/drawing/2014/main" id="{F41FDCF6-F0B6-FA03-33C0-F777230FE429}"/>
                </a:ext>
              </a:extLst>
            </p:cNvPr>
            <p:cNvGrpSpPr/>
            <p:nvPr/>
          </p:nvGrpSpPr>
          <p:grpSpPr>
            <a:xfrm>
              <a:off x="3075428" y="1711717"/>
              <a:ext cx="1180036" cy="1180659"/>
              <a:chOff x="5412399" y="4475676"/>
              <a:chExt cx="1180036" cy="1180659"/>
            </a:xfrm>
          </p:grpSpPr>
          <p:sp>
            <p:nvSpPr>
              <p:cNvPr id="8" name="Freeform 7">
                <a:extLst>
                  <a:ext uri="{FF2B5EF4-FFF2-40B4-BE49-F238E27FC236}">
                    <a16:creationId xmlns:a16="http://schemas.microsoft.com/office/drawing/2014/main" id="{7DB857AB-CC3F-C767-723D-1D9A00F64C15}"/>
                  </a:ext>
                </a:extLst>
              </p:cNvPr>
              <p:cNvSpPr/>
              <p:nvPr/>
            </p:nvSpPr>
            <p:spPr>
              <a:xfrm>
                <a:off x="5412399" y="4475676"/>
                <a:ext cx="1180036" cy="1180659"/>
              </a:xfrm>
              <a:custGeom>
                <a:avLst/>
                <a:gdLst>
                  <a:gd name="connsiteX0" fmla="*/ 1093102 w 1180036"/>
                  <a:gd name="connsiteY0" fmla="*/ 1180660 h 1180659"/>
                  <a:gd name="connsiteX1" fmla="*/ 86934 w 1180036"/>
                  <a:gd name="connsiteY1" fmla="*/ 1180660 h 1180659"/>
                  <a:gd name="connsiteX2" fmla="*/ 0 w 1180036"/>
                  <a:gd name="connsiteY2" fmla="*/ 1093680 h 1180659"/>
                  <a:gd name="connsiteX3" fmla="*/ 0 w 1180036"/>
                  <a:gd name="connsiteY3" fmla="*/ 86980 h 1180659"/>
                  <a:gd name="connsiteX4" fmla="*/ 86934 w 1180036"/>
                  <a:gd name="connsiteY4" fmla="*/ 0 h 1180659"/>
                  <a:gd name="connsiteX5" fmla="*/ 1093102 w 1180036"/>
                  <a:gd name="connsiteY5" fmla="*/ 0 h 1180659"/>
                  <a:gd name="connsiteX6" fmla="*/ 1180036 w 1180036"/>
                  <a:gd name="connsiteY6" fmla="*/ 86980 h 1180659"/>
                  <a:gd name="connsiteX7" fmla="*/ 1180036 w 1180036"/>
                  <a:gd name="connsiteY7" fmla="*/ 1093680 h 1180659"/>
                  <a:gd name="connsiteX8" fmla="*/ 1093102 w 1180036"/>
                  <a:gd name="connsiteY8" fmla="*/ 1180660 h 118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036" h="1180659">
                    <a:moveTo>
                      <a:pt x="1093102" y="1180660"/>
                    </a:moveTo>
                    <a:lnTo>
                      <a:pt x="86934" y="1180660"/>
                    </a:lnTo>
                    <a:cubicBezTo>
                      <a:pt x="38911" y="1180660"/>
                      <a:pt x="0" y="1141728"/>
                      <a:pt x="0" y="1093680"/>
                    </a:cubicBezTo>
                    <a:lnTo>
                      <a:pt x="0" y="86980"/>
                    </a:lnTo>
                    <a:cubicBezTo>
                      <a:pt x="0" y="38932"/>
                      <a:pt x="38911" y="0"/>
                      <a:pt x="86934" y="0"/>
                    </a:cubicBezTo>
                    <a:lnTo>
                      <a:pt x="1093102" y="0"/>
                    </a:lnTo>
                    <a:cubicBezTo>
                      <a:pt x="1141125" y="0"/>
                      <a:pt x="1180036" y="38932"/>
                      <a:pt x="1180036" y="86980"/>
                    </a:cubicBezTo>
                    <a:lnTo>
                      <a:pt x="1180036" y="1093680"/>
                    </a:lnTo>
                    <a:cubicBezTo>
                      <a:pt x="1180036" y="1141728"/>
                      <a:pt x="1141125" y="1180660"/>
                      <a:pt x="1093102" y="1180660"/>
                    </a:cubicBezTo>
                  </a:path>
                </a:pathLst>
              </a:custGeom>
              <a:solidFill>
                <a:schemeClr val="tx1"/>
              </a:solidFill>
              <a:ln w="0" cap="flat">
                <a:noFill/>
                <a:prstDash val="solid"/>
                <a:miter/>
              </a:ln>
            </p:spPr>
            <p:txBody>
              <a:bodyPr rtlCol="0" anchor="ctr"/>
              <a:lstStyle/>
              <a:p>
                <a:endParaRPr lang="en-US"/>
              </a:p>
            </p:txBody>
          </p:sp>
          <p:grpSp>
            <p:nvGrpSpPr>
              <p:cNvPr id="9" name="Graphic 5">
                <a:extLst>
                  <a:ext uri="{FF2B5EF4-FFF2-40B4-BE49-F238E27FC236}">
                    <a16:creationId xmlns:a16="http://schemas.microsoft.com/office/drawing/2014/main" id="{662A3973-20DA-D530-C629-E6AC9905C9F6}"/>
                  </a:ext>
                </a:extLst>
              </p:cNvPr>
              <p:cNvGrpSpPr/>
              <p:nvPr/>
            </p:nvGrpSpPr>
            <p:grpSpPr>
              <a:xfrm>
                <a:off x="5677235" y="5428200"/>
                <a:ext cx="649692" cy="162303"/>
                <a:chOff x="5677235" y="5428200"/>
                <a:chExt cx="649692" cy="162303"/>
              </a:xfrm>
              <a:solidFill>
                <a:srgbClr val="FFFFFF"/>
              </a:solidFill>
            </p:grpSpPr>
            <p:sp>
              <p:nvSpPr>
                <p:cNvPr id="10" name="Freeform 9">
                  <a:extLst>
                    <a:ext uri="{FF2B5EF4-FFF2-40B4-BE49-F238E27FC236}">
                      <a16:creationId xmlns:a16="http://schemas.microsoft.com/office/drawing/2014/main" id="{A72A9B55-18AF-5F4E-B2FA-D6D8396EAC6C}"/>
                    </a:ext>
                  </a:extLst>
                </p:cNvPr>
                <p:cNvSpPr/>
                <p:nvPr/>
              </p:nvSpPr>
              <p:spPr>
                <a:xfrm>
                  <a:off x="5677235" y="5432683"/>
                  <a:ext cx="92909" cy="122325"/>
                </a:xfrm>
                <a:custGeom>
                  <a:avLst/>
                  <a:gdLst>
                    <a:gd name="connsiteX0" fmla="*/ 0 w 92909"/>
                    <a:gd name="connsiteY0" fmla="*/ 0 h 122325"/>
                    <a:gd name="connsiteX1" fmla="*/ 50936 w 92909"/>
                    <a:gd name="connsiteY1" fmla="*/ 0 h 122325"/>
                    <a:gd name="connsiteX2" fmla="*/ 92909 w 92909"/>
                    <a:gd name="connsiteY2" fmla="*/ 39455 h 122325"/>
                    <a:gd name="connsiteX3" fmla="*/ 50936 w 92909"/>
                    <a:gd name="connsiteY3" fmla="*/ 78910 h 122325"/>
                    <a:gd name="connsiteX4" fmla="*/ 25094 w 92909"/>
                    <a:gd name="connsiteY4" fmla="*/ 78910 h 122325"/>
                    <a:gd name="connsiteX5" fmla="*/ 25094 w 92909"/>
                    <a:gd name="connsiteY5" fmla="*/ 122325 h 122325"/>
                    <a:gd name="connsiteX6" fmla="*/ 0 w 92909"/>
                    <a:gd name="connsiteY6" fmla="*/ 122325 h 122325"/>
                    <a:gd name="connsiteX7" fmla="*/ 0 w 92909"/>
                    <a:gd name="connsiteY7" fmla="*/ 0 h 122325"/>
                    <a:gd name="connsiteX8" fmla="*/ 47351 w 92909"/>
                    <a:gd name="connsiteY8" fmla="*/ 55222 h 122325"/>
                    <a:gd name="connsiteX9" fmla="*/ 67442 w 92909"/>
                    <a:gd name="connsiteY9" fmla="*/ 39455 h 122325"/>
                    <a:gd name="connsiteX10" fmla="*/ 47351 w 92909"/>
                    <a:gd name="connsiteY10" fmla="*/ 23688 h 122325"/>
                    <a:gd name="connsiteX11" fmla="*/ 25094 w 92909"/>
                    <a:gd name="connsiteY11" fmla="*/ 23688 h 122325"/>
                    <a:gd name="connsiteX12" fmla="*/ 25094 w 92909"/>
                    <a:gd name="connsiteY12" fmla="*/ 55222 h 122325"/>
                    <a:gd name="connsiteX13" fmla="*/ 47351 w 92909"/>
                    <a:gd name="connsiteY13" fmla="*/ 55222 h 122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2909" h="122325">
                      <a:moveTo>
                        <a:pt x="0" y="0"/>
                      </a:moveTo>
                      <a:lnTo>
                        <a:pt x="50936" y="0"/>
                      </a:lnTo>
                      <a:cubicBezTo>
                        <a:pt x="73342" y="0"/>
                        <a:pt x="92909" y="12554"/>
                        <a:pt x="92909" y="39455"/>
                      </a:cubicBezTo>
                      <a:cubicBezTo>
                        <a:pt x="92909" y="66356"/>
                        <a:pt x="73342" y="78910"/>
                        <a:pt x="50936" y="78910"/>
                      </a:cubicBezTo>
                      <a:lnTo>
                        <a:pt x="25094" y="78910"/>
                      </a:lnTo>
                      <a:lnTo>
                        <a:pt x="25094" y="122325"/>
                      </a:lnTo>
                      <a:lnTo>
                        <a:pt x="0" y="122325"/>
                      </a:lnTo>
                      <a:lnTo>
                        <a:pt x="0" y="0"/>
                      </a:lnTo>
                      <a:close/>
                      <a:moveTo>
                        <a:pt x="47351" y="55222"/>
                      </a:moveTo>
                      <a:cubicBezTo>
                        <a:pt x="58479" y="55222"/>
                        <a:pt x="67442" y="50589"/>
                        <a:pt x="67442" y="39455"/>
                      </a:cubicBezTo>
                      <a:cubicBezTo>
                        <a:pt x="67442" y="28321"/>
                        <a:pt x="58479" y="23688"/>
                        <a:pt x="47351" y="23688"/>
                      </a:cubicBezTo>
                      <a:lnTo>
                        <a:pt x="25094" y="23688"/>
                      </a:lnTo>
                      <a:lnTo>
                        <a:pt x="25094" y="55222"/>
                      </a:lnTo>
                      <a:lnTo>
                        <a:pt x="47351" y="55222"/>
                      </a:lnTo>
                      <a:close/>
                    </a:path>
                  </a:pathLst>
                </a:custGeom>
                <a:solidFill>
                  <a:srgbClr val="FFFFFF"/>
                </a:solidFill>
                <a:ln w="0"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F1A6AC00-A98A-2956-E86C-CC7E459A7CE6}"/>
                    </a:ext>
                  </a:extLst>
                </p:cNvPr>
                <p:cNvSpPr/>
                <p:nvPr/>
              </p:nvSpPr>
              <p:spPr>
                <a:xfrm>
                  <a:off x="5785455" y="5432683"/>
                  <a:ext cx="82303" cy="122325"/>
                </a:xfrm>
                <a:custGeom>
                  <a:avLst/>
                  <a:gdLst>
                    <a:gd name="connsiteX0" fmla="*/ 0 w 82303"/>
                    <a:gd name="connsiteY0" fmla="*/ 0 h 122325"/>
                    <a:gd name="connsiteX1" fmla="*/ 24721 w 82303"/>
                    <a:gd name="connsiteY1" fmla="*/ 0 h 122325"/>
                    <a:gd name="connsiteX2" fmla="*/ 24721 w 82303"/>
                    <a:gd name="connsiteY2" fmla="*/ 49468 h 122325"/>
                    <a:gd name="connsiteX3" fmla="*/ 50562 w 82303"/>
                    <a:gd name="connsiteY3" fmla="*/ 36018 h 122325"/>
                    <a:gd name="connsiteX4" fmla="*/ 82304 w 82303"/>
                    <a:gd name="connsiteY4" fmla="*/ 73156 h 122325"/>
                    <a:gd name="connsiteX5" fmla="*/ 82304 w 82303"/>
                    <a:gd name="connsiteY5" fmla="*/ 122325 h 122325"/>
                    <a:gd name="connsiteX6" fmla="*/ 57583 w 82303"/>
                    <a:gd name="connsiteY6" fmla="*/ 122325 h 122325"/>
                    <a:gd name="connsiteX7" fmla="*/ 57583 w 82303"/>
                    <a:gd name="connsiteY7" fmla="*/ 77117 h 122325"/>
                    <a:gd name="connsiteX8" fmla="*/ 41973 w 82303"/>
                    <a:gd name="connsiteY8" fmla="*/ 57912 h 122325"/>
                    <a:gd name="connsiteX9" fmla="*/ 24796 w 82303"/>
                    <a:gd name="connsiteY9" fmla="*/ 79283 h 122325"/>
                    <a:gd name="connsiteX10" fmla="*/ 24796 w 82303"/>
                    <a:gd name="connsiteY10" fmla="*/ 122325 h 122325"/>
                    <a:gd name="connsiteX11" fmla="*/ 75 w 82303"/>
                    <a:gd name="connsiteY11" fmla="*/ 122325 h 122325"/>
                    <a:gd name="connsiteX12" fmla="*/ 75 w 82303"/>
                    <a:gd name="connsiteY12" fmla="*/ 0 h 122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303" h="122325">
                      <a:moveTo>
                        <a:pt x="0" y="0"/>
                      </a:moveTo>
                      <a:lnTo>
                        <a:pt x="24721" y="0"/>
                      </a:lnTo>
                      <a:lnTo>
                        <a:pt x="24721" y="49468"/>
                      </a:lnTo>
                      <a:cubicBezTo>
                        <a:pt x="29725" y="41547"/>
                        <a:pt x="39210" y="36018"/>
                        <a:pt x="50562" y="36018"/>
                      </a:cubicBezTo>
                      <a:cubicBezTo>
                        <a:pt x="67591" y="36018"/>
                        <a:pt x="82304" y="47152"/>
                        <a:pt x="82304" y="73156"/>
                      </a:cubicBezTo>
                      <a:lnTo>
                        <a:pt x="82304" y="122325"/>
                      </a:lnTo>
                      <a:lnTo>
                        <a:pt x="57583" y="122325"/>
                      </a:lnTo>
                      <a:lnTo>
                        <a:pt x="57583" y="77117"/>
                      </a:lnTo>
                      <a:cubicBezTo>
                        <a:pt x="57583" y="62395"/>
                        <a:pt x="49890" y="57912"/>
                        <a:pt x="41973" y="57912"/>
                      </a:cubicBezTo>
                      <a:cubicBezTo>
                        <a:pt x="30472" y="57912"/>
                        <a:pt x="24796" y="67028"/>
                        <a:pt x="24796" y="79283"/>
                      </a:cubicBezTo>
                      <a:lnTo>
                        <a:pt x="24796" y="122325"/>
                      </a:lnTo>
                      <a:lnTo>
                        <a:pt x="75" y="122325"/>
                      </a:lnTo>
                      <a:lnTo>
                        <a:pt x="75" y="0"/>
                      </a:lnTo>
                      <a:close/>
                    </a:path>
                  </a:pathLst>
                </a:custGeom>
                <a:solidFill>
                  <a:srgbClr val="FFFFFF"/>
                </a:solidFill>
                <a:ln w="0"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B83BF78E-74A9-23AC-E873-EDB2C6604DF1}"/>
                    </a:ext>
                  </a:extLst>
                </p:cNvPr>
                <p:cNvSpPr/>
                <p:nvPr/>
              </p:nvSpPr>
              <p:spPr>
                <a:xfrm>
                  <a:off x="5874182" y="5470644"/>
                  <a:ext cx="91266" cy="119859"/>
                </a:xfrm>
                <a:custGeom>
                  <a:avLst/>
                  <a:gdLst>
                    <a:gd name="connsiteX0" fmla="*/ 49293 w 91266"/>
                    <a:gd name="connsiteY0" fmla="*/ 46703 h 119859"/>
                    <a:gd name="connsiteX1" fmla="*/ 64006 w 91266"/>
                    <a:gd name="connsiteY1" fmla="*/ 75 h 119859"/>
                    <a:gd name="connsiteX2" fmla="*/ 91266 w 91266"/>
                    <a:gd name="connsiteY2" fmla="*/ 75 h 119859"/>
                    <a:gd name="connsiteX3" fmla="*/ 45409 w 91266"/>
                    <a:gd name="connsiteY3" fmla="*/ 119860 h 119859"/>
                    <a:gd name="connsiteX4" fmla="*/ 17626 w 91266"/>
                    <a:gd name="connsiteY4" fmla="*/ 119860 h 119859"/>
                    <a:gd name="connsiteX5" fmla="*/ 33011 w 91266"/>
                    <a:gd name="connsiteY5" fmla="*/ 85037 h 119859"/>
                    <a:gd name="connsiteX6" fmla="*/ 0 w 91266"/>
                    <a:gd name="connsiteY6" fmla="*/ 0 h 119859"/>
                    <a:gd name="connsiteX7" fmla="*/ 27783 w 91266"/>
                    <a:gd name="connsiteY7" fmla="*/ 0 h 119859"/>
                    <a:gd name="connsiteX8" fmla="*/ 42496 w 91266"/>
                    <a:gd name="connsiteY8" fmla="*/ 46629 h 119859"/>
                    <a:gd name="connsiteX9" fmla="*/ 45708 w 91266"/>
                    <a:gd name="connsiteY9" fmla="*/ 61350 h 119859"/>
                    <a:gd name="connsiteX10" fmla="*/ 46081 w 91266"/>
                    <a:gd name="connsiteY10" fmla="*/ 61350 h 119859"/>
                    <a:gd name="connsiteX11" fmla="*/ 49293 w 91266"/>
                    <a:gd name="connsiteY11" fmla="*/ 46629 h 11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266" h="119859">
                      <a:moveTo>
                        <a:pt x="49293" y="46703"/>
                      </a:moveTo>
                      <a:lnTo>
                        <a:pt x="64006" y="75"/>
                      </a:lnTo>
                      <a:lnTo>
                        <a:pt x="91266" y="75"/>
                      </a:lnTo>
                      <a:lnTo>
                        <a:pt x="45409" y="119860"/>
                      </a:lnTo>
                      <a:lnTo>
                        <a:pt x="17626" y="119860"/>
                      </a:lnTo>
                      <a:lnTo>
                        <a:pt x="33011" y="85037"/>
                      </a:lnTo>
                      <a:lnTo>
                        <a:pt x="0" y="0"/>
                      </a:lnTo>
                      <a:lnTo>
                        <a:pt x="27783" y="0"/>
                      </a:lnTo>
                      <a:lnTo>
                        <a:pt x="42496" y="46629"/>
                      </a:lnTo>
                      <a:cubicBezTo>
                        <a:pt x="44140" y="51635"/>
                        <a:pt x="45036" y="55970"/>
                        <a:pt x="45708" y="61350"/>
                      </a:cubicBezTo>
                      <a:lnTo>
                        <a:pt x="46081" y="61350"/>
                      </a:lnTo>
                      <a:cubicBezTo>
                        <a:pt x="46828" y="55970"/>
                        <a:pt x="47724" y="51635"/>
                        <a:pt x="49293" y="46629"/>
                      </a:cubicBezTo>
                      <a:close/>
                    </a:path>
                  </a:pathLst>
                </a:custGeom>
                <a:solidFill>
                  <a:srgbClr val="FFFFFF"/>
                </a:solidFill>
                <a:ln w="0"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D0C15669-3DEA-65E7-BD39-EDA0AECE67CD}"/>
                    </a:ext>
                  </a:extLst>
                </p:cNvPr>
                <p:cNvSpPr/>
                <p:nvPr/>
              </p:nvSpPr>
              <p:spPr>
                <a:xfrm>
                  <a:off x="5971199" y="5468774"/>
                  <a:ext cx="67964" cy="88177"/>
                </a:xfrm>
                <a:custGeom>
                  <a:avLst/>
                  <a:gdLst>
                    <a:gd name="connsiteX0" fmla="*/ 0 w 67964"/>
                    <a:gd name="connsiteY0" fmla="*/ 61127 h 88177"/>
                    <a:gd name="connsiteX1" fmla="*/ 23302 w 67964"/>
                    <a:gd name="connsiteY1" fmla="*/ 61127 h 88177"/>
                    <a:gd name="connsiteX2" fmla="*/ 35476 w 67964"/>
                    <a:gd name="connsiteY2" fmla="*/ 69197 h 88177"/>
                    <a:gd name="connsiteX3" fmla="*/ 44588 w 67964"/>
                    <a:gd name="connsiteY3" fmla="*/ 62921 h 88177"/>
                    <a:gd name="connsiteX4" fmla="*/ 2091 w 67964"/>
                    <a:gd name="connsiteY4" fmla="*/ 25633 h 88177"/>
                    <a:gd name="connsiteX5" fmla="*/ 33310 w 67964"/>
                    <a:gd name="connsiteY5" fmla="*/ 2 h 88177"/>
                    <a:gd name="connsiteX6" fmla="*/ 66321 w 67964"/>
                    <a:gd name="connsiteY6" fmla="*/ 26156 h 88177"/>
                    <a:gd name="connsiteX7" fmla="*/ 43392 w 67964"/>
                    <a:gd name="connsiteY7" fmla="*/ 26156 h 88177"/>
                    <a:gd name="connsiteX8" fmla="*/ 33385 w 67964"/>
                    <a:gd name="connsiteY8" fmla="*/ 18982 h 88177"/>
                    <a:gd name="connsiteX9" fmla="*/ 24796 w 67964"/>
                    <a:gd name="connsiteY9" fmla="*/ 25633 h 88177"/>
                    <a:gd name="connsiteX10" fmla="*/ 67964 w 67964"/>
                    <a:gd name="connsiteY10" fmla="*/ 62921 h 88177"/>
                    <a:gd name="connsiteX11" fmla="*/ 35551 w 67964"/>
                    <a:gd name="connsiteY11" fmla="*/ 88178 h 88177"/>
                    <a:gd name="connsiteX12" fmla="*/ 75 w 67964"/>
                    <a:gd name="connsiteY12" fmla="*/ 61127 h 88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964" h="88177">
                      <a:moveTo>
                        <a:pt x="0" y="61127"/>
                      </a:moveTo>
                      <a:lnTo>
                        <a:pt x="23302" y="61127"/>
                      </a:lnTo>
                      <a:cubicBezTo>
                        <a:pt x="24572" y="66881"/>
                        <a:pt x="29725" y="69197"/>
                        <a:pt x="35476" y="69197"/>
                      </a:cubicBezTo>
                      <a:cubicBezTo>
                        <a:pt x="40853" y="69197"/>
                        <a:pt x="44588" y="66881"/>
                        <a:pt x="44588" y="62921"/>
                      </a:cubicBezTo>
                      <a:cubicBezTo>
                        <a:pt x="44588" y="50740"/>
                        <a:pt x="2091" y="58811"/>
                        <a:pt x="2091" y="25633"/>
                      </a:cubicBezTo>
                      <a:cubicBezTo>
                        <a:pt x="2091" y="10912"/>
                        <a:pt x="14489" y="151"/>
                        <a:pt x="33310" y="2"/>
                      </a:cubicBezTo>
                      <a:cubicBezTo>
                        <a:pt x="52280" y="-147"/>
                        <a:pt x="65052" y="9865"/>
                        <a:pt x="66321" y="26156"/>
                      </a:cubicBezTo>
                      <a:lnTo>
                        <a:pt x="43392" y="26156"/>
                      </a:lnTo>
                      <a:cubicBezTo>
                        <a:pt x="42496" y="22046"/>
                        <a:pt x="38911" y="18982"/>
                        <a:pt x="33385" y="18982"/>
                      </a:cubicBezTo>
                      <a:cubicBezTo>
                        <a:pt x="27858" y="18982"/>
                        <a:pt x="24796" y="22046"/>
                        <a:pt x="24796" y="25633"/>
                      </a:cubicBezTo>
                      <a:cubicBezTo>
                        <a:pt x="24796" y="37140"/>
                        <a:pt x="67964" y="30639"/>
                        <a:pt x="67964" y="62921"/>
                      </a:cubicBezTo>
                      <a:cubicBezTo>
                        <a:pt x="67964" y="78538"/>
                        <a:pt x="52579" y="88178"/>
                        <a:pt x="35551" y="88178"/>
                      </a:cubicBezTo>
                      <a:cubicBezTo>
                        <a:pt x="15460" y="88178"/>
                        <a:pt x="1494" y="76670"/>
                        <a:pt x="75" y="61127"/>
                      </a:cubicBezTo>
                      <a:close/>
                    </a:path>
                  </a:pathLst>
                </a:custGeom>
                <a:solidFill>
                  <a:srgbClr val="FFFFFF"/>
                </a:solidFill>
                <a:ln w="0"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4D9420E-AAA0-8F77-73F8-74A78DE280A6}"/>
                    </a:ext>
                  </a:extLst>
                </p:cNvPr>
                <p:cNvSpPr/>
                <p:nvPr/>
              </p:nvSpPr>
              <p:spPr>
                <a:xfrm>
                  <a:off x="6050963" y="5428200"/>
                  <a:ext cx="30770" cy="126809"/>
                </a:xfrm>
                <a:custGeom>
                  <a:avLst/>
                  <a:gdLst>
                    <a:gd name="connsiteX0" fmla="*/ 0 w 30770"/>
                    <a:gd name="connsiteY0" fmla="*/ 15095 h 126809"/>
                    <a:gd name="connsiteX1" fmla="*/ 15386 w 30770"/>
                    <a:gd name="connsiteY1" fmla="*/ 0 h 126809"/>
                    <a:gd name="connsiteX2" fmla="*/ 30771 w 30770"/>
                    <a:gd name="connsiteY2" fmla="*/ 15095 h 126809"/>
                    <a:gd name="connsiteX3" fmla="*/ 15386 w 30770"/>
                    <a:gd name="connsiteY3" fmla="*/ 29816 h 126809"/>
                    <a:gd name="connsiteX4" fmla="*/ 0 w 30770"/>
                    <a:gd name="connsiteY4" fmla="*/ 15095 h 126809"/>
                    <a:gd name="connsiteX5" fmla="*/ 3062 w 30770"/>
                    <a:gd name="connsiteY5" fmla="*/ 42519 h 126809"/>
                    <a:gd name="connsiteX6" fmla="*/ 27783 w 30770"/>
                    <a:gd name="connsiteY6" fmla="*/ 42519 h 126809"/>
                    <a:gd name="connsiteX7" fmla="*/ 27783 w 30770"/>
                    <a:gd name="connsiteY7" fmla="*/ 126809 h 126809"/>
                    <a:gd name="connsiteX8" fmla="*/ 3062 w 30770"/>
                    <a:gd name="connsiteY8" fmla="*/ 126809 h 126809"/>
                    <a:gd name="connsiteX9" fmla="*/ 3062 w 30770"/>
                    <a:gd name="connsiteY9" fmla="*/ 42519 h 126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770" h="126809">
                      <a:moveTo>
                        <a:pt x="0" y="15095"/>
                      </a:moveTo>
                      <a:cubicBezTo>
                        <a:pt x="0" y="6651"/>
                        <a:pt x="7020" y="0"/>
                        <a:pt x="15386" y="0"/>
                      </a:cubicBezTo>
                      <a:cubicBezTo>
                        <a:pt x="23751" y="0"/>
                        <a:pt x="30771" y="6651"/>
                        <a:pt x="30771" y="15095"/>
                      </a:cubicBezTo>
                      <a:cubicBezTo>
                        <a:pt x="30771" y="23539"/>
                        <a:pt x="23751" y="29816"/>
                        <a:pt x="15386" y="29816"/>
                      </a:cubicBezTo>
                      <a:cubicBezTo>
                        <a:pt x="7020" y="29816"/>
                        <a:pt x="0" y="23389"/>
                        <a:pt x="0" y="15095"/>
                      </a:cubicBezTo>
                      <a:close/>
                      <a:moveTo>
                        <a:pt x="3062" y="42519"/>
                      </a:moveTo>
                      <a:lnTo>
                        <a:pt x="27783" y="42519"/>
                      </a:lnTo>
                      <a:lnTo>
                        <a:pt x="27783" y="126809"/>
                      </a:lnTo>
                      <a:lnTo>
                        <a:pt x="3062" y="126809"/>
                      </a:lnTo>
                      <a:lnTo>
                        <a:pt x="3062" y="42519"/>
                      </a:lnTo>
                      <a:close/>
                    </a:path>
                  </a:pathLst>
                </a:custGeom>
                <a:solidFill>
                  <a:srgbClr val="FFFFFF"/>
                </a:solidFill>
                <a:ln w="0"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392548E1-2CB1-8F1A-2B85-8A66BC7DD600}"/>
                    </a:ext>
                  </a:extLst>
                </p:cNvPr>
                <p:cNvSpPr/>
                <p:nvPr/>
              </p:nvSpPr>
              <p:spPr>
                <a:xfrm>
                  <a:off x="6092489" y="5468775"/>
                  <a:ext cx="86933" cy="88176"/>
                </a:xfrm>
                <a:custGeom>
                  <a:avLst/>
                  <a:gdLst>
                    <a:gd name="connsiteX0" fmla="*/ 0 w 86933"/>
                    <a:gd name="connsiteY0" fmla="*/ 44088 h 88176"/>
                    <a:gd name="connsiteX1" fmla="*/ 44961 w 86933"/>
                    <a:gd name="connsiteY1" fmla="*/ 0 h 88176"/>
                    <a:gd name="connsiteX2" fmla="*/ 86934 w 86933"/>
                    <a:gd name="connsiteY2" fmla="*/ 33178 h 88176"/>
                    <a:gd name="connsiteX3" fmla="*/ 63109 w 86933"/>
                    <a:gd name="connsiteY3" fmla="*/ 33178 h 88176"/>
                    <a:gd name="connsiteX4" fmla="*/ 45558 w 86933"/>
                    <a:gd name="connsiteY4" fmla="*/ 21521 h 88176"/>
                    <a:gd name="connsiteX5" fmla="*/ 24422 w 86933"/>
                    <a:gd name="connsiteY5" fmla="*/ 44088 h 88176"/>
                    <a:gd name="connsiteX6" fmla="*/ 45558 w 86933"/>
                    <a:gd name="connsiteY6" fmla="*/ 66655 h 88176"/>
                    <a:gd name="connsiteX7" fmla="*/ 63109 w 86933"/>
                    <a:gd name="connsiteY7" fmla="*/ 54998 h 88176"/>
                    <a:gd name="connsiteX8" fmla="*/ 86934 w 86933"/>
                    <a:gd name="connsiteY8" fmla="*/ 54998 h 88176"/>
                    <a:gd name="connsiteX9" fmla="*/ 44961 w 86933"/>
                    <a:gd name="connsiteY9" fmla="*/ 88176 h 88176"/>
                    <a:gd name="connsiteX10" fmla="*/ 0 w 86933"/>
                    <a:gd name="connsiteY10" fmla="*/ 44088 h 88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933" h="88176">
                      <a:moveTo>
                        <a:pt x="0" y="44088"/>
                      </a:moveTo>
                      <a:cubicBezTo>
                        <a:pt x="0" y="18981"/>
                        <a:pt x="18821" y="0"/>
                        <a:pt x="44961" y="0"/>
                      </a:cubicBezTo>
                      <a:cubicBezTo>
                        <a:pt x="67217" y="0"/>
                        <a:pt x="83648" y="13077"/>
                        <a:pt x="86934" y="33178"/>
                      </a:cubicBezTo>
                      <a:lnTo>
                        <a:pt x="63109" y="33178"/>
                      </a:lnTo>
                      <a:cubicBezTo>
                        <a:pt x="60047" y="25482"/>
                        <a:pt x="54147" y="21521"/>
                        <a:pt x="45558" y="21521"/>
                      </a:cubicBezTo>
                      <a:cubicBezTo>
                        <a:pt x="33160" y="21521"/>
                        <a:pt x="24422" y="30862"/>
                        <a:pt x="24422" y="44088"/>
                      </a:cubicBezTo>
                      <a:cubicBezTo>
                        <a:pt x="24422" y="57315"/>
                        <a:pt x="33235" y="66655"/>
                        <a:pt x="45558" y="66655"/>
                      </a:cubicBezTo>
                      <a:cubicBezTo>
                        <a:pt x="54147" y="66655"/>
                        <a:pt x="60047" y="62695"/>
                        <a:pt x="63109" y="54998"/>
                      </a:cubicBezTo>
                      <a:lnTo>
                        <a:pt x="86934" y="54998"/>
                      </a:lnTo>
                      <a:cubicBezTo>
                        <a:pt x="83723" y="75099"/>
                        <a:pt x="67217" y="88176"/>
                        <a:pt x="44961" y="88176"/>
                      </a:cubicBezTo>
                      <a:cubicBezTo>
                        <a:pt x="18821" y="88176"/>
                        <a:pt x="0" y="69196"/>
                        <a:pt x="0" y="44088"/>
                      </a:cubicBezTo>
                      <a:close/>
                    </a:path>
                  </a:pathLst>
                </a:custGeom>
                <a:solidFill>
                  <a:srgbClr val="FFFFFF"/>
                </a:solidFill>
                <a:ln w="0"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2935403-39C4-62FE-110E-26CDFF832849}"/>
                    </a:ext>
                  </a:extLst>
                </p:cNvPr>
                <p:cNvSpPr/>
                <p:nvPr/>
              </p:nvSpPr>
              <p:spPr>
                <a:xfrm>
                  <a:off x="6188759" y="5468775"/>
                  <a:ext cx="89100" cy="88325"/>
                </a:xfrm>
                <a:custGeom>
                  <a:avLst/>
                  <a:gdLst>
                    <a:gd name="connsiteX0" fmla="*/ 0 w 89100"/>
                    <a:gd name="connsiteY0" fmla="*/ 44088 h 88325"/>
                    <a:gd name="connsiteX1" fmla="*/ 38538 w 89100"/>
                    <a:gd name="connsiteY1" fmla="*/ 0 h 88325"/>
                    <a:gd name="connsiteX2" fmla="*/ 65948 w 89100"/>
                    <a:gd name="connsiteY2" fmla="*/ 15095 h 88325"/>
                    <a:gd name="connsiteX3" fmla="*/ 68113 w 89100"/>
                    <a:gd name="connsiteY3" fmla="*/ 2018 h 88325"/>
                    <a:gd name="connsiteX4" fmla="*/ 89100 w 89100"/>
                    <a:gd name="connsiteY4" fmla="*/ 2018 h 88325"/>
                    <a:gd name="connsiteX5" fmla="*/ 89100 w 89100"/>
                    <a:gd name="connsiteY5" fmla="*/ 86308 h 88325"/>
                    <a:gd name="connsiteX6" fmla="*/ 67217 w 89100"/>
                    <a:gd name="connsiteY6" fmla="*/ 86308 h 88325"/>
                    <a:gd name="connsiteX7" fmla="*/ 65798 w 89100"/>
                    <a:gd name="connsiteY7" fmla="*/ 73605 h 88325"/>
                    <a:gd name="connsiteX8" fmla="*/ 38538 w 89100"/>
                    <a:gd name="connsiteY8" fmla="*/ 88325 h 88325"/>
                    <a:gd name="connsiteX9" fmla="*/ 0 w 89100"/>
                    <a:gd name="connsiteY9" fmla="*/ 44238 h 88325"/>
                    <a:gd name="connsiteX10" fmla="*/ 65425 w 89100"/>
                    <a:gd name="connsiteY10" fmla="*/ 44088 h 88325"/>
                    <a:gd name="connsiteX11" fmla="*/ 45559 w 89100"/>
                    <a:gd name="connsiteY11" fmla="*/ 21521 h 88325"/>
                    <a:gd name="connsiteX12" fmla="*/ 24422 w 89100"/>
                    <a:gd name="connsiteY12" fmla="*/ 44088 h 88325"/>
                    <a:gd name="connsiteX13" fmla="*/ 45559 w 89100"/>
                    <a:gd name="connsiteY13" fmla="*/ 66655 h 88325"/>
                    <a:gd name="connsiteX14" fmla="*/ 65425 w 89100"/>
                    <a:gd name="connsiteY14" fmla="*/ 44088 h 88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9100" h="88325">
                      <a:moveTo>
                        <a:pt x="0" y="44088"/>
                      </a:moveTo>
                      <a:cubicBezTo>
                        <a:pt x="0" y="14646"/>
                        <a:pt x="19568" y="0"/>
                        <a:pt x="38538" y="0"/>
                      </a:cubicBezTo>
                      <a:cubicBezTo>
                        <a:pt x="52131" y="0"/>
                        <a:pt x="61467" y="5754"/>
                        <a:pt x="65948" y="15095"/>
                      </a:cubicBezTo>
                      <a:lnTo>
                        <a:pt x="68113" y="2018"/>
                      </a:lnTo>
                      <a:lnTo>
                        <a:pt x="89100" y="2018"/>
                      </a:lnTo>
                      <a:lnTo>
                        <a:pt x="89100" y="86308"/>
                      </a:lnTo>
                      <a:lnTo>
                        <a:pt x="67217" y="86308"/>
                      </a:lnTo>
                      <a:lnTo>
                        <a:pt x="65798" y="73605"/>
                      </a:lnTo>
                      <a:cubicBezTo>
                        <a:pt x="61317" y="82721"/>
                        <a:pt x="51982" y="88325"/>
                        <a:pt x="38538" y="88325"/>
                      </a:cubicBezTo>
                      <a:cubicBezTo>
                        <a:pt x="19568" y="88325"/>
                        <a:pt x="0" y="73605"/>
                        <a:pt x="0" y="44238"/>
                      </a:cubicBezTo>
                      <a:close/>
                      <a:moveTo>
                        <a:pt x="65425" y="44088"/>
                      </a:moveTo>
                      <a:cubicBezTo>
                        <a:pt x="65425" y="29367"/>
                        <a:pt x="54820" y="21521"/>
                        <a:pt x="45559" y="21521"/>
                      </a:cubicBezTo>
                      <a:cubicBezTo>
                        <a:pt x="33161" y="21521"/>
                        <a:pt x="24422" y="30638"/>
                        <a:pt x="24422" y="44088"/>
                      </a:cubicBezTo>
                      <a:cubicBezTo>
                        <a:pt x="24422" y="57539"/>
                        <a:pt x="33385" y="66655"/>
                        <a:pt x="45559" y="66655"/>
                      </a:cubicBezTo>
                      <a:cubicBezTo>
                        <a:pt x="55268" y="66655"/>
                        <a:pt x="65425" y="59855"/>
                        <a:pt x="65425" y="44088"/>
                      </a:cubicBezTo>
                      <a:close/>
                    </a:path>
                  </a:pathLst>
                </a:custGeom>
                <a:solidFill>
                  <a:srgbClr val="FFFFFF"/>
                </a:solidFill>
                <a:ln w="0"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DC3AC027-1317-CF66-1C20-F8CCFD8115E6}"/>
                    </a:ext>
                  </a:extLst>
                </p:cNvPr>
                <p:cNvSpPr/>
                <p:nvPr/>
              </p:nvSpPr>
              <p:spPr>
                <a:xfrm>
                  <a:off x="6302207" y="5432683"/>
                  <a:ext cx="24720" cy="122325"/>
                </a:xfrm>
                <a:custGeom>
                  <a:avLst/>
                  <a:gdLst>
                    <a:gd name="connsiteX0" fmla="*/ 0 w 24720"/>
                    <a:gd name="connsiteY0" fmla="*/ 0 h 122325"/>
                    <a:gd name="connsiteX1" fmla="*/ 24721 w 24720"/>
                    <a:gd name="connsiteY1" fmla="*/ 0 h 122325"/>
                    <a:gd name="connsiteX2" fmla="*/ 24721 w 24720"/>
                    <a:gd name="connsiteY2" fmla="*/ 122325 h 122325"/>
                    <a:gd name="connsiteX3" fmla="*/ 0 w 24720"/>
                    <a:gd name="connsiteY3" fmla="*/ 122325 h 122325"/>
                    <a:gd name="connsiteX4" fmla="*/ 0 w 24720"/>
                    <a:gd name="connsiteY4" fmla="*/ 0 h 122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20" h="122325">
                      <a:moveTo>
                        <a:pt x="0" y="0"/>
                      </a:moveTo>
                      <a:lnTo>
                        <a:pt x="24721" y="0"/>
                      </a:lnTo>
                      <a:lnTo>
                        <a:pt x="24721" y="122325"/>
                      </a:lnTo>
                      <a:lnTo>
                        <a:pt x="0" y="122325"/>
                      </a:lnTo>
                      <a:lnTo>
                        <a:pt x="0" y="0"/>
                      </a:lnTo>
                      <a:close/>
                    </a:path>
                  </a:pathLst>
                </a:custGeom>
                <a:solidFill>
                  <a:srgbClr val="FFFFFF"/>
                </a:solidFill>
                <a:ln w="0" cap="flat">
                  <a:noFill/>
                  <a:prstDash val="solid"/>
                  <a:miter/>
                </a:ln>
              </p:spPr>
              <p:txBody>
                <a:bodyPr rtlCol="0" anchor="ctr"/>
                <a:lstStyle/>
                <a:p>
                  <a:endParaRPr lang="en-US"/>
                </a:p>
              </p:txBody>
            </p:sp>
          </p:grpSp>
        </p:grpSp>
        <p:pic>
          <p:nvPicPr>
            <p:cNvPr id="6" name="Graphic 5">
              <a:extLst>
                <a:ext uri="{FF2B5EF4-FFF2-40B4-BE49-F238E27FC236}">
                  <a16:creationId xmlns:a16="http://schemas.microsoft.com/office/drawing/2014/main" id="{11DFAC7A-6F49-EA89-871B-5CA67113482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40264" y="1891786"/>
              <a:ext cx="645068" cy="645068"/>
            </a:xfrm>
            <a:prstGeom prst="rect">
              <a:avLst/>
            </a:prstGeom>
          </p:spPr>
        </p:pic>
      </p:grpSp>
      <p:grpSp>
        <p:nvGrpSpPr>
          <p:cNvPr id="18" name="Group 17">
            <a:extLst>
              <a:ext uri="{FF2B5EF4-FFF2-40B4-BE49-F238E27FC236}">
                <a16:creationId xmlns:a16="http://schemas.microsoft.com/office/drawing/2014/main" id="{D5247738-418A-9AFD-3CBA-DD00CDC3184C}"/>
              </a:ext>
            </a:extLst>
          </p:cNvPr>
          <p:cNvGrpSpPr/>
          <p:nvPr/>
        </p:nvGrpSpPr>
        <p:grpSpPr>
          <a:xfrm>
            <a:off x="2603399" y="2961798"/>
            <a:ext cx="722146" cy="722527"/>
            <a:chOff x="1787632" y="1711717"/>
            <a:chExt cx="1180036" cy="1180659"/>
          </a:xfrm>
        </p:grpSpPr>
        <p:grpSp>
          <p:nvGrpSpPr>
            <p:cNvPr id="19" name="Group 18">
              <a:extLst>
                <a:ext uri="{FF2B5EF4-FFF2-40B4-BE49-F238E27FC236}">
                  <a16:creationId xmlns:a16="http://schemas.microsoft.com/office/drawing/2014/main" id="{3032CA22-315A-2653-ADA5-0F0F024D4105}"/>
                </a:ext>
              </a:extLst>
            </p:cNvPr>
            <p:cNvGrpSpPr/>
            <p:nvPr/>
          </p:nvGrpSpPr>
          <p:grpSpPr>
            <a:xfrm>
              <a:off x="1787632" y="1711717"/>
              <a:ext cx="1180036" cy="1180659"/>
              <a:chOff x="4043781" y="4475676"/>
              <a:chExt cx="1180036" cy="1180659"/>
            </a:xfrm>
          </p:grpSpPr>
          <p:sp>
            <p:nvSpPr>
              <p:cNvPr id="21" name="Freeform 20">
                <a:extLst>
                  <a:ext uri="{FF2B5EF4-FFF2-40B4-BE49-F238E27FC236}">
                    <a16:creationId xmlns:a16="http://schemas.microsoft.com/office/drawing/2014/main" id="{8D839897-0FD6-E90F-E5E3-F16A97E58A22}"/>
                  </a:ext>
                </a:extLst>
              </p:cNvPr>
              <p:cNvSpPr/>
              <p:nvPr/>
            </p:nvSpPr>
            <p:spPr>
              <a:xfrm>
                <a:off x="4043781" y="4475676"/>
                <a:ext cx="1180036" cy="1180659"/>
              </a:xfrm>
              <a:custGeom>
                <a:avLst/>
                <a:gdLst>
                  <a:gd name="connsiteX0" fmla="*/ 1093102 w 1180036"/>
                  <a:gd name="connsiteY0" fmla="*/ 1180660 h 1180659"/>
                  <a:gd name="connsiteX1" fmla="*/ 86934 w 1180036"/>
                  <a:gd name="connsiteY1" fmla="*/ 1180660 h 1180659"/>
                  <a:gd name="connsiteX2" fmla="*/ 0 w 1180036"/>
                  <a:gd name="connsiteY2" fmla="*/ 1093680 h 1180659"/>
                  <a:gd name="connsiteX3" fmla="*/ 0 w 1180036"/>
                  <a:gd name="connsiteY3" fmla="*/ 86980 h 1180659"/>
                  <a:gd name="connsiteX4" fmla="*/ 86934 w 1180036"/>
                  <a:gd name="connsiteY4" fmla="*/ 0 h 1180659"/>
                  <a:gd name="connsiteX5" fmla="*/ 1093102 w 1180036"/>
                  <a:gd name="connsiteY5" fmla="*/ 0 h 1180659"/>
                  <a:gd name="connsiteX6" fmla="*/ 1180036 w 1180036"/>
                  <a:gd name="connsiteY6" fmla="*/ 86980 h 1180659"/>
                  <a:gd name="connsiteX7" fmla="*/ 1180036 w 1180036"/>
                  <a:gd name="connsiteY7" fmla="*/ 1093680 h 1180659"/>
                  <a:gd name="connsiteX8" fmla="*/ 1093102 w 1180036"/>
                  <a:gd name="connsiteY8" fmla="*/ 1180660 h 118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036" h="1180659">
                    <a:moveTo>
                      <a:pt x="1093102" y="1180660"/>
                    </a:moveTo>
                    <a:lnTo>
                      <a:pt x="86934" y="1180660"/>
                    </a:lnTo>
                    <a:cubicBezTo>
                      <a:pt x="38911" y="1180660"/>
                      <a:pt x="0" y="1141728"/>
                      <a:pt x="0" y="1093680"/>
                    </a:cubicBezTo>
                    <a:lnTo>
                      <a:pt x="0" y="86980"/>
                    </a:lnTo>
                    <a:cubicBezTo>
                      <a:pt x="0" y="38932"/>
                      <a:pt x="38911" y="0"/>
                      <a:pt x="86934" y="0"/>
                    </a:cubicBezTo>
                    <a:lnTo>
                      <a:pt x="1093102" y="0"/>
                    </a:lnTo>
                    <a:cubicBezTo>
                      <a:pt x="1141125" y="0"/>
                      <a:pt x="1180036" y="38932"/>
                      <a:pt x="1180036" y="86980"/>
                    </a:cubicBezTo>
                    <a:lnTo>
                      <a:pt x="1180036" y="1093680"/>
                    </a:lnTo>
                    <a:cubicBezTo>
                      <a:pt x="1180036" y="1141728"/>
                      <a:pt x="1141125" y="1180660"/>
                      <a:pt x="1093102" y="1180660"/>
                    </a:cubicBezTo>
                  </a:path>
                </a:pathLst>
              </a:custGeom>
              <a:solidFill>
                <a:schemeClr val="tx1"/>
              </a:solidFill>
              <a:ln w="0" cap="flat">
                <a:noFill/>
                <a:prstDash val="solid"/>
                <a:miter/>
              </a:ln>
            </p:spPr>
            <p:txBody>
              <a:bodyPr rtlCol="0" anchor="ctr"/>
              <a:lstStyle/>
              <a:p>
                <a:endParaRPr lang="en-US"/>
              </a:p>
            </p:txBody>
          </p:sp>
          <p:grpSp>
            <p:nvGrpSpPr>
              <p:cNvPr id="22" name="Graphic 5">
                <a:extLst>
                  <a:ext uri="{FF2B5EF4-FFF2-40B4-BE49-F238E27FC236}">
                    <a16:creationId xmlns:a16="http://schemas.microsoft.com/office/drawing/2014/main" id="{38217448-37EA-B433-587A-B772C41848E1}"/>
                  </a:ext>
                </a:extLst>
              </p:cNvPr>
              <p:cNvGrpSpPr/>
              <p:nvPr/>
            </p:nvGrpSpPr>
            <p:grpSpPr>
              <a:xfrm>
                <a:off x="4359553" y="5428200"/>
                <a:ext cx="537364" cy="128901"/>
                <a:chOff x="4359553" y="5428200"/>
                <a:chExt cx="537364" cy="128901"/>
              </a:xfrm>
              <a:solidFill>
                <a:srgbClr val="FFFFFF"/>
              </a:solidFill>
            </p:grpSpPr>
            <p:sp>
              <p:nvSpPr>
                <p:cNvPr id="23" name="Freeform 22">
                  <a:extLst>
                    <a:ext uri="{FF2B5EF4-FFF2-40B4-BE49-F238E27FC236}">
                      <a16:creationId xmlns:a16="http://schemas.microsoft.com/office/drawing/2014/main" id="{30DBB6E1-3C5C-385C-DDAF-AC3CBBA85D2A}"/>
                    </a:ext>
                  </a:extLst>
                </p:cNvPr>
                <p:cNvSpPr/>
                <p:nvPr/>
              </p:nvSpPr>
              <p:spPr>
                <a:xfrm>
                  <a:off x="4359553" y="5432683"/>
                  <a:ext cx="117630" cy="122325"/>
                </a:xfrm>
                <a:custGeom>
                  <a:avLst/>
                  <a:gdLst>
                    <a:gd name="connsiteX0" fmla="*/ 0 w 117630"/>
                    <a:gd name="connsiteY0" fmla="*/ 0 h 122325"/>
                    <a:gd name="connsiteX1" fmla="*/ 27783 w 117630"/>
                    <a:gd name="connsiteY1" fmla="*/ 0 h 122325"/>
                    <a:gd name="connsiteX2" fmla="*/ 56089 w 117630"/>
                    <a:gd name="connsiteY2" fmla="*/ 85037 h 122325"/>
                    <a:gd name="connsiteX3" fmla="*/ 58628 w 117630"/>
                    <a:gd name="connsiteY3" fmla="*/ 95648 h 122325"/>
                    <a:gd name="connsiteX4" fmla="*/ 59002 w 117630"/>
                    <a:gd name="connsiteY4" fmla="*/ 95648 h 122325"/>
                    <a:gd name="connsiteX5" fmla="*/ 61541 w 117630"/>
                    <a:gd name="connsiteY5" fmla="*/ 85037 h 122325"/>
                    <a:gd name="connsiteX6" fmla="*/ 89847 w 117630"/>
                    <a:gd name="connsiteY6" fmla="*/ 0 h 122325"/>
                    <a:gd name="connsiteX7" fmla="*/ 117630 w 117630"/>
                    <a:gd name="connsiteY7" fmla="*/ 0 h 122325"/>
                    <a:gd name="connsiteX8" fmla="*/ 72819 w 117630"/>
                    <a:gd name="connsiteY8" fmla="*/ 122325 h 122325"/>
                    <a:gd name="connsiteX9" fmla="*/ 44886 w 117630"/>
                    <a:gd name="connsiteY9" fmla="*/ 122325 h 122325"/>
                    <a:gd name="connsiteX10" fmla="*/ 75 w 117630"/>
                    <a:gd name="connsiteY10" fmla="*/ 0 h 122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630" h="122325">
                      <a:moveTo>
                        <a:pt x="0" y="0"/>
                      </a:moveTo>
                      <a:lnTo>
                        <a:pt x="27783" y="0"/>
                      </a:lnTo>
                      <a:lnTo>
                        <a:pt x="56089" y="85037"/>
                      </a:lnTo>
                      <a:cubicBezTo>
                        <a:pt x="57359" y="88998"/>
                        <a:pt x="58404" y="92958"/>
                        <a:pt x="58628" y="95648"/>
                      </a:cubicBezTo>
                      <a:lnTo>
                        <a:pt x="59002" y="95648"/>
                      </a:lnTo>
                      <a:cubicBezTo>
                        <a:pt x="59151" y="92958"/>
                        <a:pt x="60272" y="88998"/>
                        <a:pt x="61541" y="85037"/>
                      </a:cubicBezTo>
                      <a:lnTo>
                        <a:pt x="89847" y="0"/>
                      </a:lnTo>
                      <a:lnTo>
                        <a:pt x="117630" y="0"/>
                      </a:lnTo>
                      <a:lnTo>
                        <a:pt x="72819" y="122325"/>
                      </a:lnTo>
                      <a:lnTo>
                        <a:pt x="44886" y="122325"/>
                      </a:lnTo>
                      <a:lnTo>
                        <a:pt x="75" y="0"/>
                      </a:lnTo>
                      <a:close/>
                    </a:path>
                  </a:pathLst>
                </a:custGeom>
                <a:solidFill>
                  <a:srgbClr val="FFFFFF"/>
                </a:solidFill>
                <a:ln w="0"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C5494B74-B787-6CC2-B7EA-A83E37A8BB3E}"/>
                    </a:ext>
                  </a:extLst>
                </p:cNvPr>
                <p:cNvSpPr/>
                <p:nvPr/>
              </p:nvSpPr>
              <p:spPr>
                <a:xfrm>
                  <a:off x="4485025" y="5428200"/>
                  <a:ext cx="30770" cy="126809"/>
                </a:xfrm>
                <a:custGeom>
                  <a:avLst/>
                  <a:gdLst>
                    <a:gd name="connsiteX0" fmla="*/ 0 w 30770"/>
                    <a:gd name="connsiteY0" fmla="*/ 15095 h 126809"/>
                    <a:gd name="connsiteX1" fmla="*/ 15385 w 30770"/>
                    <a:gd name="connsiteY1" fmla="*/ 0 h 126809"/>
                    <a:gd name="connsiteX2" fmla="*/ 30771 w 30770"/>
                    <a:gd name="connsiteY2" fmla="*/ 15095 h 126809"/>
                    <a:gd name="connsiteX3" fmla="*/ 15385 w 30770"/>
                    <a:gd name="connsiteY3" fmla="*/ 29816 h 126809"/>
                    <a:gd name="connsiteX4" fmla="*/ 0 w 30770"/>
                    <a:gd name="connsiteY4" fmla="*/ 15095 h 126809"/>
                    <a:gd name="connsiteX5" fmla="*/ 3062 w 30770"/>
                    <a:gd name="connsiteY5" fmla="*/ 42519 h 126809"/>
                    <a:gd name="connsiteX6" fmla="*/ 27783 w 30770"/>
                    <a:gd name="connsiteY6" fmla="*/ 42519 h 126809"/>
                    <a:gd name="connsiteX7" fmla="*/ 27783 w 30770"/>
                    <a:gd name="connsiteY7" fmla="*/ 126809 h 126809"/>
                    <a:gd name="connsiteX8" fmla="*/ 3062 w 30770"/>
                    <a:gd name="connsiteY8" fmla="*/ 126809 h 126809"/>
                    <a:gd name="connsiteX9" fmla="*/ 3062 w 30770"/>
                    <a:gd name="connsiteY9" fmla="*/ 42519 h 126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770" h="126809">
                      <a:moveTo>
                        <a:pt x="0" y="15095"/>
                      </a:moveTo>
                      <a:cubicBezTo>
                        <a:pt x="0" y="6651"/>
                        <a:pt x="7020" y="0"/>
                        <a:pt x="15385" y="0"/>
                      </a:cubicBezTo>
                      <a:cubicBezTo>
                        <a:pt x="23750" y="0"/>
                        <a:pt x="30771" y="6651"/>
                        <a:pt x="30771" y="15095"/>
                      </a:cubicBezTo>
                      <a:cubicBezTo>
                        <a:pt x="30771" y="23539"/>
                        <a:pt x="23750" y="29816"/>
                        <a:pt x="15385" y="29816"/>
                      </a:cubicBezTo>
                      <a:cubicBezTo>
                        <a:pt x="7020" y="29816"/>
                        <a:pt x="0" y="23389"/>
                        <a:pt x="0" y="15095"/>
                      </a:cubicBezTo>
                      <a:close/>
                      <a:moveTo>
                        <a:pt x="3062" y="42519"/>
                      </a:moveTo>
                      <a:lnTo>
                        <a:pt x="27783" y="42519"/>
                      </a:lnTo>
                      <a:lnTo>
                        <a:pt x="27783" y="126809"/>
                      </a:lnTo>
                      <a:lnTo>
                        <a:pt x="3062" y="126809"/>
                      </a:lnTo>
                      <a:lnTo>
                        <a:pt x="3062" y="42519"/>
                      </a:lnTo>
                      <a:close/>
                    </a:path>
                  </a:pathLst>
                </a:custGeom>
                <a:solidFill>
                  <a:srgbClr val="FFFFFF"/>
                </a:solidFill>
                <a:ln w="0"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95A926DD-929F-A8EA-538C-B8DDD645A88D}"/>
                    </a:ext>
                  </a:extLst>
                </p:cNvPr>
                <p:cNvSpPr/>
                <p:nvPr/>
              </p:nvSpPr>
              <p:spPr>
                <a:xfrm>
                  <a:off x="4531330" y="5468701"/>
                  <a:ext cx="48919" cy="86307"/>
                </a:xfrm>
                <a:custGeom>
                  <a:avLst/>
                  <a:gdLst>
                    <a:gd name="connsiteX0" fmla="*/ 36895 w 48919"/>
                    <a:gd name="connsiteY0" fmla="*/ 0 h 86307"/>
                    <a:gd name="connsiteX1" fmla="*/ 48919 w 48919"/>
                    <a:gd name="connsiteY1" fmla="*/ 1420 h 86307"/>
                    <a:gd name="connsiteX2" fmla="*/ 48919 w 48919"/>
                    <a:gd name="connsiteY2" fmla="*/ 23688 h 86307"/>
                    <a:gd name="connsiteX3" fmla="*/ 42795 w 48919"/>
                    <a:gd name="connsiteY3" fmla="*/ 23538 h 86307"/>
                    <a:gd name="connsiteX4" fmla="*/ 24721 w 48919"/>
                    <a:gd name="connsiteY4" fmla="*/ 39828 h 86307"/>
                    <a:gd name="connsiteX5" fmla="*/ 24721 w 48919"/>
                    <a:gd name="connsiteY5" fmla="*/ 86308 h 86307"/>
                    <a:gd name="connsiteX6" fmla="*/ 0 w 48919"/>
                    <a:gd name="connsiteY6" fmla="*/ 86308 h 86307"/>
                    <a:gd name="connsiteX7" fmla="*/ 0 w 48919"/>
                    <a:gd name="connsiteY7" fmla="*/ 37886 h 86307"/>
                    <a:gd name="connsiteX8" fmla="*/ 36895 w 48919"/>
                    <a:gd name="connsiteY8" fmla="*/ 74 h 8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919" h="86307">
                      <a:moveTo>
                        <a:pt x="36895" y="0"/>
                      </a:moveTo>
                      <a:cubicBezTo>
                        <a:pt x="41376" y="0"/>
                        <a:pt x="44812" y="374"/>
                        <a:pt x="48919" y="1420"/>
                      </a:cubicBezTo>
                      <a:lnTo>
                        <a:pt x="48919" y="23688"/>
                      </a:lnTo>
                      <a:cubicBezTo>
                        <a:pt x="46380" y="23538"/>
                        <a:pt x="43915" y="23538"/>
                        <a:pt x="42795" y="23538"/>
                      </a:cubicBezTo>
                      <a:cubicBezTo>
                        <a:pt x="29725" y="23538"/>
                        <a:pt x="24721" y="29442"/>
                        <a:pt x="24721" y="39828"/>
                      </a:cubicBezTo>
                      <a:lnTo>
                        <a:pt x="24721" y="86308"/>
                      </a:lnTo>
                      <a:lnTo>
                        <a:pt x="0" y="86308"/>
                      </a:lnTo>
                      <a:lnTo>
                        <a:pt x="0" y="37886"/>
                      </a:lnTo>
                      <a:cubicBezTo>
                        <a:pt x="0" y="17635"/>
                        <a:pt x="11501" y="74"/>
                        <a:pt x="36895" y="74"/>
                      </a:cubicBezTo>
                      <a:close/>
                    </a:path>
                  </a:pathLst>
                </a:custGeom>
                <a:solidFill>
                  <a:srgbClr val="FFFFFF"/>
                </a:solidFill>
                <a:ln w="0"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F03CFF72-1653-F05B-71B8-D58310D01493}"/>
                    </a:ext>
                  </a:extLst>
                </p:cNvPr>
                <p:cNvSpPr/>
                <p:nvPr/>
              </p:nvSpPr>
              <p:spPr>
                <a:xfrm>
                  <a:off x="4585627" y="5442024"/>
                  <a:ext cx="64827" cy="114404"/>
                </a:xfrm>
                <a:custGeom>
                  <a:avLst/>
                  <a:gdLst>
                    <a:gd name="connsiteX0" fmla="*/ 15385 w 64827"/>
                    <a:gd name="connsiteY0" fmla="*/ 79807 h 114404"/>
                    <a:gd name="connsiteX1" fmla="*/ 15385 w 64827"/>
                    <a:gd name="connsiteY1" fmla="*/ 48048 h 114404"/>
                    <a:gd name="connsiteX2" fmla="*/ 0 w 64827"/>
                    <a:gd name="connsiteY2" fmla="*/ 48048 h 114404"/>
                    <a:gd name="connsiteX3" fmla="*/ 0 w 64827"/>
                    <a:gd name="connsiteY3" fmla="*/ 28694 h 114404"/>
                    <a:gd name="connsiteX4" fmla="*/ 15385 w 64827"/>
                    <a:gd name="connsiteY4" fmla="*/ 28694 h 114404"/>
                    <a:gd name="connsiteX5" fmla="*/ 15385 w 64827"/>
                    <a:gd name="connsiteY5" fmla="*/ 0 h 114404"/>
                    <a:gd name="connsiteX6" fmla="*/ 40106 w 64827"/>
                    <a:gd name="connsiteY6" fmla="*/ 0 h 114404"/>
                    <a:gd name="connsiteX7" fmla="*/ 40106 w 64827"/>
                    <a:gd name="connsiteY7" fmla="*/ 28694 h 114404"/>
                    <a:gd name="connsiteX8" fmla="*/ 64827 w 64827"/>
                    <a:gd name="connsiteY8" fmla="*/ 28694 h 114404"/>
                    <a:gd name="connsiteX9" fmla="*/ 64827 w 64827"/>
                    <a:gd name="connsiteY9" fmla="*/ 48048 h 114404"/>
                    <a:gd name="connsiteX10" fmla="*/ 40106 w 64827"/>
                    <a:gd name="connsiteY10" fmla="*/ 48048 h 114404"/>
                    <a:gd name="connsiteX11" fmla="*/ 40106 w 64827"/>
                    <a:gd name="connsiteY11" fmla="*/ 76369 h 114404"/>
                    <a:gd name="connsiteX12" fmla="*/ 54969 w 64827"/>
                    <a:gd name="connsiteY12" fmla="*/ 92510 h 114404"/>
                    <a:gd name="connsiteX13" fmla="*/ 62288 w 64827"/>
                    <a:gd name="connsiteY13" fmla="*/ 92360 h 114404"/>
                    <a:gd name="connsiteX14" fmla="*/ 62288 w 64827"/>
                    <a:gd name="connsiteY14" fmla="*/ 112237 h 114404"/>
                    <a:gd name="connsiteX15" fmla="*/ 48098 w 64827"/>
                    <a:gd name="connsiteY15" fmla="*/ 114404 h 114404"/>
                    <a:gd name="connsiteX16" fmla="*/ 15311 w 64827"/>
                    <a:gd name="connsiteY16" fmla="*/ 79807 h 114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4827" h="114404">
                      <a:moveTo>
                        <a:pt x="15385" y="79807"/>
                      </a:moveTo>
                      <a:lnTo>
                        <a:pt x="15385" y="48048"/>
                      </a:lnTo>
                      <a:lnTo>
                        <a:pt x="0" y="48048"/>
                      </a:lnTo>
                      <a:lnTo>
                        <a:pt x="0" y="28694"/>
                      </a:lnTo>
                      <a:lnTo>
                        <a:pt x="15385" y="28694"/>
                      </a:lnTo>
                      <a:lnTo>
                        <a:pt x="15385" y="0"/>
                      </a:lnTo>
                      <a:lnTo>
                        <a:pt x="40106" y="0"/>
                      </a:lnTo>
                      <a:lnTo>
                        <a:pt x="40106" y="28694"/>
                      </a:lnTo>
                      <a:lnTo>
                        <a:pt x="64827" y="28694"/>
                      </a:lnTo>
                      <a:lnTo>
                        <a:pt x="64827" y="48048"/>
                      </a:lnTo>
                      <a:lnTo>
                        <a:pt x="40106" y="48048"/>
                      </a:lnTo>
                      <a:lnTo>
                        <a:pt x="40106" y="76369"/>
                      </a:lnTo>
                      <a:cubicBezTo>
                        <a:pt x="40106" y="86980"/>
                        <a:pt x="43691" y="92510"/>
                        <a:pt x="54969" y="92510"/>
                      </a:cubicBezTo>
                      <a:cubicBezTo>
                        <a:pt x="56014" y="92510"/>
                        <a:pt x="59076" y="92510"/>
                        <a:pt x="62288" y="92360"/>
                      </a:cubicBezTo>
                      <a:lnTo>
                        <a:pt x="62288" y="112237"/>
                      </a:lnTo>
                      <a:cubicBezTo>
                        <a:pt x="57284" y="113657"/>
                        <a:pt x="53176" y="114404"/>
                        <a:pt x="48098" y="114404"/>
                      </a:cubicBezTo>
                      <a:cubicBezTo>
                        <a:pt x="28381" y="114404"/>
                        <a:pt x="15311" y="102598"/>
                        <a:pt x="15311" y="79807"/>
                      </a:cubicBezTo>
                      <a:close/>
                    </a:path>
                  </a:pathLst>
                </a:custGeom>
                <a:solidFill>
                  <a:srgbClr val="FFFFFF"/>
                </a:solidFill>
                <a:ln w="0"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C5FDCA6E-6461-4A2B-899D-27D43AF8BAE8}"/>
                    </a:ext>
                  </a:extLst>
                </p:cNvPr>
                <p:cNvSpPr/>
                <p:nvPr/>
              </p:nvSpPr>
              <p:spPr>
                <a:xfrm>
                  <a:off x="4664421" y="5470644"/>
                  <a:ext cx="80287" cy="86309"/>
                </a:xfrm>
                <a:custGeom>
                  <a:avLst/>
                  <a:gdLst>
                    <a:gd name="connsiteX0" fmla="*/ 0 w 80287"/>
                    <a:gd name="connsiteY0" fmla="*/ 47226 h 86309"/>
                    <a:gd name="connsiteX1" fmla="*/ 0 w 80287"/>
                    <a:gd name="connsiteY1" fmla="*/ 75 h 86309"/>
                    <a:gd name="connsiteX2" fmla="*/ 24721 w 80287"/>
                    <a:gd name="connsiteY2" fmla="*/ 75 h 86309"/>
                    <a:gd name="connsiteX3" fmla="*/ 24721 w 80287"/>
                    <a:gd name="connsiteY3" fmla="*/ 45433 h 86309"/>
                    <a:gd name="connsiteX4" fmla="*/ 39957 w 80287"/>
                    <a:gd name="connsiteY4" fmla="*/ 64787 h 86309"/>
                    <a:gd name="connsiteX5" fmla="*/ 55566 w 80287"/>
                    <a:gd name="connsiteY5" fmla="*/ 45583 h 86309"/>
                    <a:gd name="connsiteX6" fmla="*/ 55566 w 80287"/>
                    <a:gd name="connsiteY6" fmla="*/ 0 h 86309"/>
                    <a:gd name="connsiteX7" fmla="*/ 80287 w 80287"/>
                    <a:gd name="connsiteY7" fmla="*/ 0 h 86309"/>
                    <a:gd name="connsiteX8" fmla="*/ 80287 w 80287"/>
                    <a:gd name="connsiteY8" fmla="*/ 47376 h 86309"/>
                    <a:gd name="connsiteX9" fmla="*/ 39957 w 80287"/>
                    <a:gd name="connsiteY9" fmla="*/ 86308 h 86309"/>
                    <a:gd name="connsiteX10" fmla="*/ 0 w 80287"/>
                    <a:gd name="connsiteY10" fmla="*/ 47226 h 8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0287" h="86309">
                      <a:moveTo>
                        <a:pt x="0" y="47226"/>
                      </a:moveTo>
                      <a:lnTo>
                        <a:pt x="0" y="75"/>
                      </a:lnTo>
                      <a:lnTo>
                        <a:pt x="24721" y="75"/>
                      </a:lnTo>
                      <a:lnTo>
                        <a:pt x="24721" y="45433"/>
                      </a:lnTo>
                      <a:cubicBezTo>
                        <a:pt x="24721" y="57240"/>
                        <a:pt x="29949" y="64638"/>
                        <a:pt x="39957" y="64787"/>
                      </a:cubicBezTo>
                      <a:cubicBezTo>
                        <a:pt x="50861" y="64936"/>
                        <a:pt x="55566" y="57613"/>
                        <a:pt x="55566" y="45583"/>
                      </a:cubicBezTo>
                      <a:lnTo>
                        <a:pt x="55566" y="0"/>
                      </a:lnTo>
                      <a:lnTo>
                        <a:pt x="80287" y="0"/>
                      </a:lnTo>
                      <a:lnTo>
                        <a:pt x="80287" y="47376"/>
                      </a:lnTo>
                      <a:cubicBezTo>
                        <a:pt x="80287" y="69047"/>
                        <a:pt x="63632" y="86457"/>
                        <a:pt x="39957" y="86308"/>
                      </a:cubicBezTo>
                      <a:cubicBezTo>
                        <a:pt x="14116" y="86159"/>
                        <a:pt x="0" y="70018"/>
                        <a:pt x="0" y="47226"/>
                      </a:cubicBezTo>
                      <a:close/>
                    </a:path>
                  </a:pathLst>
                </a:custGeom>
                <a:solidFill>
                  <a:srgbClr val="FFFFFF"/>
                </a:solidFill>
                <a:ln w="0"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247C65DD-6A1C-3106-6FF2-6D63B259168F}"/>
                    </a:ext>
                  </a:extLst>
                </p:cNvPr>
                <p:cNvSpPr/>
                <p:nvPr/>
              </p:nvSpPr>
              <p:spPr>
                <a:xfrm>
                  <a:off x="4758749" y="5468775"/>
                  <a:ext cx="89100" cy="88325"/>
                </a:xfrm>
                <a:custGeom>
                  <a:avLst/>
                  <a:gdLst>
                    <a:gd name="connsiteX0" fmla="*/ 0 w 89100"/>
                    <a:gd name="connsiteY0" fmla="*/ 44088 h 88325"/>
                    <a:gd name="connsiteX1" fmla="*/ 38538 w 89100"/>
                    <a:gd name="connsiteY1" fmla="*/ 0 h 88325"/>
                    <a:gd name="connsiteX2" fmla="*/ 65948 w 89100"/>
                    <a:gd name="connsiteY2" fmla="*/ 15095 h 88325"/>
                    <a:gd name="connsiteX3" fmla="*/ 68113 w 89100"/>
                    <a:gd name="connsiteY3" fmla="*/ 2018 h 88325"/>
                    <a:gd name="connsiteX4" fmla="*/ 89100 w 89100"/>
                    <a:gd name="connsiteY4" fmla="*/ 2018 h 88325"/>
                    <a:gd name="connsiteX5" fmla="*/ 89100 w 89100"/>
                    <a:gd name="connsiteY5" fmla="*/ 86308 h 88325"/>
                    <a:gd name="connsiteX6" fmla="*/ 67217 w 89100"/>
                    <a:gd name="connsiteY6" fmla="*/ 86308 h 88325"/>
                    <a:gd name="connsiteX7" fmla="*/ 65798 w 89100"/>
                    <a:gd name="connsiteY7" fmla="*/ 73605 h 88325"/>
                    <a:gd name="connsiteX8" fmla="*/ 38538 w 89100"/>
                    <a:gd name="connsiteY8" fmla="*/ 88325 h 88325"/>
                    <a:gd name="connsiteX9" fmla="*/ 0 w 89100"/>
                    <a:gd name="connsiteY9" fmla="*/ 44238 h 88325"/>
                    <a:gd name="connsiteX10" fmla="*/ 65425 w 89100"/>
                    <a:gd name="connsiteY10" fmla="*/ 44088 h 88325"/>
                    <a:gd name="connsiteX11" fmla="*/ 45558 w 89100"/>
                    <a:gd name="connsiteY11" fmla="*/ 21521 h 88325"/>
                    <a:gd name="connsiteX12" fmla="*/ 24422 w 89100"/>
                    <a:gd name="connsiteY12" fmla="*/ 44088 h 88325"/>
                    <a:gd name="connsiteX13" fmla="*/ 45558 w 89100"/>
                    <a:gd name="connsiteY13" fmla="*/ 66655 h 88325"/>
                    <a:gd name="connsiteX14" fmla="*/ 65425 w 89100"/>
                    <a:gd name="connsiteY14" fmla="*/ 44088 h 88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9100" h="88325">
                      <a:moveTo>
                        <a:pt x="0" y="44088"/>
                      </a:moveTo>
                      <a:cubicBezTo>
                        <a:pt x="0" y="14646"/>
                        <a:pt x="19568" y="0"/>
                        <a:pt x="38538" y="0"/>
                      </a:cubicBezTo>
                      <a:cubicBezTo>
                        <a:pt x="52131" y="0"/>
                        <a:pt x="61466" y="5754"/>
                        <a:pt x="65948" y="15095"/>
                      </a:cubicBezTo>
                      <a:lnTo>
                        <a:pt x="68113" y="2018"/>
                      </a:lnTo>
                      <a:lnTo>
                        <a:pt x="89100" y="2018"/>
                      </a:lnTo>
                      <a:lnTo>
                        <a:pt x="89100" y="86308"/>
                      </a:lnTo>
                      <a:lnTo>
                        <a:pt x="67217" y="86308"/>
                      </a:lnTo>
                      <a:lnTo>
                        <a:pt x="65798" y="73605"/>
                      </a:lnTo>
                      <a:cubicBezTo>
                        <a:pt x="61317" y="82721"/>
                        <a:pt x="51981" y="88325"/>
                        <a:pt x="38538" y="88325"/>
                      </a:cubicBezTo>
                      <a:cubicBezTo>
                        <a:pt x="19568" y="88325"/>
                        <a:pt x="0" y="73605"/>
                        <a:pt x="0" y="44238"/>
                      </a:cubicBezTo>
                      <a:close/>
                      <a:moveTo>
                        <a:pt x="65425" y="44088"/>
                      </a:moveTo>
                      <a:cubicBezTo>
                        <a:pt x="65425" y="29367"/>
                        <a:pt x="54819" y="21521"/>
                        <a:pt x="45558" y="21521"/>
                      </a:cubicBezTo>
                      <a:cubicBezTo>
                        <a:pt x="33161" y="21521"/>
                        <a:pt x="24422" y="30638"/>
                        <a:pt x="24422" y="44088"/>
                      </a:cubicBezTo>
                      <a:cubicBezTo>
                        <a:pt x="24422" y="57539"/>
                        <a:pt x="33384" y="66655"/>
                        <a:pt x="45558" y="66655"/>
                      </a:cubicBezTo>
                      <a:cubicBezTo>
                        <a:pt x="55267" y="66655"/>
                        <a:pt x="65425" y="59855"/>
                        <a:pt x="65425" y="44088"/>
                      </a:cubicBezTo>
                      <a:close/>
                    </a:path>
                  </a:pathLst>
                </a:custGeom>
                <a:solidFill>
                  <a:srgbClr val="FFFFFF"/>
                </a:solidFill>
                <a:ln w="0"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9B13C68C-B325-DE12-B888-303278DA84DB}"/>
                    </a:ext>
                  </a:extLst>
                </p:cNvPr>
                <p:cNvSpPr/>
                <p:nvPr/>
              </p:nvSpPr>
              <p:spPr>
                <a:xfrm>
                  <a:off x="4872197" y="5432683"/>
                  <a:ext cx="24720" cy="122325"/>
                </a:xfrm>
                <a:custGeom>
                  <a:avLst/>
                  <a:gdLst>
                    <a:gd name="connsiteX0" fmla="*/ 0 w 24720"/>
                    <a:gd name="connsiteY0" fmla="*/ 0 h 122325"/>
                    <a:gd name="connsiteX1" fmla="*/ 24721 w 24720"/>
                    <a:gd name="connsiteY1" fmla="*/ 0 h 122325"/>
                    <a:gd name="connsiteX2" fmla="*/ 24721 w 24720"/>
                    <a:gd name="connsiteY2" fmla="*/ 122325 h 122325"/>
                    <a:gd name="connsiteX3" fmla="*/ 0 w 24720"/>
                    <a:gd name="connsiteY3" fmla="*/ 122325 h 122325"/>
                    <a:gd name="connsiteX4" fmla="*/ 0 w 24720"/>
                    <a:gd name="connsiteY4" fmla="*/ 0 h 122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20" h="122325">
                      <a:moveTo>
                        <a:pt x="0" y="0"/>
                      </a:moveTo>
                      <a:lnTo>
                        <a:pt x="24721" y="0"/>
                      </a:lnTo>
                      <a:lnTo>
                        <a:pt x="24721" y="122325"/>
                      </a:lnTo>
                      <a:lnTo>
                        <a:pt x="0" y="122325"/>
                      </a:lnTo>
                      <a:lnTo>
                        <a:pt x="0" y="0"/>
                      </a:lnTo>
                      <a:close/>
                    </a:path>
                  </a:pathLst>
                </a:custGeom>
                <a:solidFill>
                  <a:srgbClr val="FFFFFF"/>
                </a:solidFill>
                <a:ln w="0" cap="flat">
                  <a:noFill/>
                  <a:prstDash val="solid"/>
                  <a:miter/>
                </a:ln>
              </p:spPr>
              <p:txBody>
                <a:bodyPr rtlCol="0" anchor="ctr"/>
                <a:lstStyle/>
                <a:p>
                  <a:endParaRPr lang="en-US"/>
                </a:p>
              </p:txBody>
            </p:sp>
          </p:grpSp>
        </p:grpSp>
        <p:pic>
          <p:nvPicPr>
            <p:cNvPr id="20" name="Graphic 19">
              <a:extLst>
                <a:ext uri="{FF2B5EF4-FFF2-40B4-BE49-F238E27FC236}">
                  <a16:creationId xmlns:a16="http://schemas.microsoft.com/office/drawing/2014/main" id="{3FD5C4E6-8F03-FD5E-4D24-F7DC827BEC85}"/>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066961" y="1875279"/>
              <a:ext cx="645068" cy="645068"/>
            </a:xfrm>
            <a:prstGeom prst="rect">
              <a:avLst/>
            </a:prstGeom>
          </p:spPr>
        </p:pic>
      </p:grpSp>
      <p:grpSp>
        <p:nvGrpSpPr>
          <p:cNvPr id="33" name="Group 32">
            <a:extLst>
              <a:ext uri="{FF2B5EF4-FFF2-40B4-BE49-F238E27FC236}">
                <a16:creationId xmlns:a16="http://schemas.microsoft.com/office/drawing/2014/main" id="{369F5E75-372B-185F-3333-913E0B5D9315}"/>
              </a:ext>
            </a:extLst>
          </p:cNvPr>
          <p:cNvGrpSpPr/>
          <p:nvPr/>
        </p:nvGrpSpPr>
        <p:grpSpPr>
          <a:xfrm>
            <a:off x="1619643" y="2961798"/>
            <a:ext cx="722146" cy="722527"/>
            <a:chOff x="499836" y="1711717"/>
            <a:chExt cx="1180036" cy="1180659"/>
          </a:xfrm>
        </p:grpSpPr>
        <p:grpSp>
          <p:nvGrpSpPr>
            <p:cNvPr id="34" name="Group 33">
              <a:extLst>
                <a:ext uri="{FF2B5EF4-FFF2-40B4-BE49-F238E27FC236}">
                  <a16:creationId xmlns:a16="http://schemas.microsoft.com/office/drawing/2014/main" id="{6C7DF7DE-2DE7-668B-0988-B9A6CF9FF7CC}"/>
                </a:ext>
              </a:extLst>
            </p:cNvPr>
            <p:cNvGrpSpPr/>
            <p:nvPr/>
          </p:nvGrpSpPr>
          <p:grpSpPr>
            <a:xfrm>
              <a:off x="499836" y="1711717"/>
              <a:ext cx="1180036" cy="1180659"/>
              <a:chOff x="2658359" y="4475676"/>
              <a:chExt cx="1180036" cy="1180659"/>
            </a:xfrm>
          </p:grpSpPr>
          <p:sp>
            <p:nvSpPr>
              <p:cNvPr id="37" name="Freeform 36">
                <a:extLst>
                  <a:ext uri="{FF2B5EF4-FFF2-40B4-BE49-F238E27FC236}">
                    <a16:creationId xmlns:a16="http://schemas.microsoft.com/office/drawing/2014/main" id="{3CC1849C-51AE-A629-52B3-3BED3742CB4B}"/>
                  </a:ext>
                </a:extLst>
              </p:cNvPr>
              <p:cNvSpPr/>
              <p:nvPr/>
            </p:nvSpPr>
            <p:spPr>
              <a:xfrm>
                <a:off x="2658359" y="4475676"/>
                <a:ext cx="1180036" cy="1180659"/>
              </a:xfrm>
              <a:custGeom>
                <a:avLst/>
                <a:gdLst>
                  <a:gd name="connsiteX0" fmla="*/ 86934 w 1180036"/>
                  <a:gd name="connsiteY0" fmla="*/ 1180660 h 1180659"/>
                  <a:gd name="connsiteX1" fmla="*/ 1093102 w 1180036"/>
                  <a:gd name="connsiteY1" fmla="*/ 1180660 h 1180659"/>
                  <a:gd name="connsiteX2" fmla="*/ 1180036 w 1180036"/>
                  <a:gd name="connsiteY2" fmla="*/ 1093680 h 1180659"/>
                  <a:gd name="connsiteX3" fmla="*/ 1180036 w 1180036"/>
                  <a:gd name="connsiteY3" fmla="*/ 86980 h 1180659"/>
                  <a:gd name="connsiteX4" fmla="*/ 1093102 w 1180036"/>
                  <a:gd name="connsiteY4" fmla="*/ 0 h 1180659"/>
                  <a:gd name="connsiteX5" fmla="*/ 86934 w 1180036"/>
                  <a:gd name="connsiteY5" fmla="*/ 0 h 1180659"/>
                  <a:gd name="connsiteX6" fmla="*/ 0 w 1180036"/>
                  <a:gd name="connsiteY6" fmla="*/ 86980 h 1180659"/>
                  <a:gd name="connsiteX7" fmla="*/ 0 w 1180036"/>
                  <a:gd name="connsiteY7" fmla="*/ 1093680 h 1180659"/>
                  <a:gd name="connsiteX8" fmla="*/ 86934 w 1180036"/>
                  <a:gd name="connsiteY8" fmla="*/ 1180660 h 118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036" h="1180659">
                    <a:moveTo>
                      <a:pt x="86934" y="1180660"/>
                    </a:moveTo>
                    <a:lnTo>
                      <a:pt x="1093102" y="1180660"/>
                    </a:lnTo>
                    <a:cubicBezTo>
                      <a:pt x="1141125" y="1180660"/>
                      <a:pt x="1180036" y="1141728"/>
                      <a:pt x="1180036" y="1093680"/>
                    </a:cubicBezTo>
                    <a:lnTo>
                      <a:pt x="1180036" y="86980"/>
                    </a:lnTo>
                    <a:cubicBezTo>
                      <a:pt x="1180036" y="38932"/>
                      <a:pt x="1141125" y="0"/>
                      <a:pt x="1093102" y="0"/>
                    </a:cubicBezTo>
                    <a:lnTo>
                      <a:pt x="86934" y="0"/>
                    </a:lnTo>
                    <a:cubicBezTo>
                      <a:pt x="38911" y="0"/>
                      <a:pt x="0" y="38932"/>
                      <a:pt x="0" y="86980"/>
                    </a:cubicBezTo>
                    <a:lnTo>
                      <a:pt x="0" y="1093680"/>
                    </a:lnTo>
                    <a:cubicBezTo>
                      <a:pt x="0" y="1141728"/>
                      <a:pt x="38911" y="1180660"/>
                      <a:pt x="86934" y="1180660"/>
                    </a:cubicBezTo>
                  </a:path>
                </a:pathLst>
              </a:custGeom>
              <a:solidFill>
                <a:schemeClr val="tx1"/>
              </a:solidFill>
              <a:ln w="0" cap="flat">
                <a:noFill/>
                <a:prstDash val="solid"/>
                <a:miter/>
              </a:ln>
            </p:spPr>
            <p:txBody>
              <a:bodyPr rtlCol="0" anchor="ctr"/>
              <a:lstStyle/>
              <a:p>
                <a:endParaRPr lang="en-US"/>
              </a:p>
            </p:txBody>
          </p:sp>
          <p:grpSp>
            <p:nvGrpSpPr>
              <p:cNvPr id="43" name="Graphic 5">
                <a:extLst>
                  <a:ext uri="{FF2B5EF4-FFF2-40B4-BE49-F238E27FC236}">
                    <a16:creationId xmlns:a16="http://schemas.microsoft.com/office/drawing/2014/main" id="{A51BF685-C3F0-11A3-557D-76A56AAD3DAD}"/>
                  </a:ext>
                </a:extLst>
              </p:cNvPr>
              <p:cNvGrpSpPr/>
              <p:nvPr/>
            </p:nvGrpSpPr>
            <p:grpSpPr>
              <a:xfrm>
                <a:off x="2982495" y="5430741"/>
                <a:ext cx="471417" cy="126285"/>
                <a:chOff x="2982495" y="5430741"/>
                <a:chExt cx="471417" cy="126285"/>
              </a:xfrm>
              <a:solidFill>
                <a:srgbClr val="FFFFFF"/>
              </a:solidFill>
            </p:grpSpPr>
            <p:sp>
              <p:nvSpPr>
                <p:cNvPr id="49" name="Freeform 48">
                  <a:extLst>
                    <a:ext uri="{FF2B5EF4-FFF2-40B4-BE49-F238E27FC236}">
                      <a16:creationId xmlns:a16="http://schemas.microsoft.com/office/drawing/2014/main" id="{0C9ED71A-A935-4338-6295-310F5678E722}"/>
                    </a:ext>
                  </a:extLst>
                </p:cNvPr>
                <p:cNvSpPr/>
                <p:nvPr/>
              </p:nvSpPr>
              <p:spPr>
                <a:xfrm>
                  <a:off x="2982495" y="5430741"/>
                  <a:ext cx="121214" cy="126285"/>
                </a:xfrm>
                <a:custGeom>
                  <a:avLst/>
                  <a:gdLst>
                    <a:gd name="connsiteX0" fmla="*/ 0 w 121214"/>
                    <a:gd name="connsiteY0" fmla="*/ 63143 h 126285"/>
                    <a:gd name="connsiteX1" fmla="*/ 63110 w 121214"/>
                    <a:gd name="connsiteY1" fmla="*/ 0 h 126285"/>
                    <a:gd name="connsiteX2" fmla="*/ 121215 w 121214"/>
                    <a:gd name="connsiteY2" fmla="*/ 42892 h 126285"/>
                    <a:gd name="connsiteX3" fmla="*/ 95374 w 121214"/>
                    <a:gd name="connsiteY3" fmla="*/ 42892 h 126285"/>
                    <a:gd name="connsiteX4" fmla="*/ 63110 w 121214"/>
                    <a:gd name="connsiteY4" fmla="*/ 24061 h 126285"/>
                    <a:gd name="connsiteX5" fmla="*/ 25468 w 121214"/>
                    <a:gd name="connsiteY5" fmla="*/ 63143 h 126285"/>
                    <a:gd name="connsiteX6" fmla="*/ 63110 w 121214"/>
                    <a:gd name="connsiteY6" fmla="*/ 102224 h 126285"/>
                    <a:gd name="connsiteX7" fmla="*/ 95374 w 121214"/>
                    <a:gd name="connsiteY7" fmla="*/ 83393 h 126285"/>
                    <a:gd name="connsiteX8" fmla="*/ 121215 w 121214"/>
                    <a:gd name="connsiteY8" fmla="*/ 83393 h 126285"/>
                    <a:gd name="connsiteX9" fmla="*/ 63110 w 121214"/>
                    <a:gd name="connsiteY9" fmla="*/ 126286 h 126285"/>
                    <a:gd name="connsiteX10" fmla="*/ 0 w 121214"/>
                    <a:gd name="connsiteY10" fmla="*/ 63143 h 126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214" h="126285">
                      <a:moveTo>
                        <a:pt x="0" y="63143"/>
                      </a:moveTo>
                      <a:cubicBezTo>
                        <a:pt x="0" y="26901"/>
                        <a:pt x="27036" y="0"/>
                        <a:pt x="63110" y="0"/>
                      </a:cubicBezTo>
                      <a:cubicBezTo>
                        <a:pt x="94104" y="0"/>
                        <a:pt x="115614" y="17411"/>
                        <a:pt x="121215" y="42892"/>
                      </a:cubicBezTo>
                      <a:lnTo>
                        <a:pt x="95374" y="42892"/>
                      </a:lnTo>
                      <a:cubicBezTo>
                        <a:pt x="90519" y="32879"/>
                        <a:pt x="80661" y="24061"/>
                        <a:pt x="63110" y="24061"/>
                      </a:cubicBezTo>
                      <a:cubicBezTo>
                        <a:pt x="41973" y="24061"/>
                        <a:pt x="25468" y="40576"/>
                        <a:pt x="25468" y="63143"/>
                      </a:cubicBezTo>
                      <a:cubicBezTo>
                        <a:pt x="25468" y="85710"/>
                        <a:pt x="41973" y="102224"/>
                        <a:pt x="63110" y="102224"/>
                      </a:cubicBezTo>
                      <a:cubicBezTo>
                        <a:pt x="80661" y="102224"/>
                        <a:pt x="90519" y="93407"/>
                        <a:pt x="95374" y="83393"/>
                      </a:cubicBezTo>
                      <a:lnTo>
                        <a:pt x="121215" y="83393"/>
                      </a:lnTo>
                      <a:cubicBezTo>
                        <a:pt x="115688" y="108875"/>
                        <a:pt x="94179" y="126286"/>
                        <a:pt x="63110" y="126286"/>
                      </a:cubicBezTo>
                      <a:cubicBezTo>
                        <a:pt x="27111" y="126286"/>
                        <a:pt x="0" y="99385"/>
                        <a:pt x="0" y="63143"/>
                      </a:cubicBezTo>
                      <a:close/>
                    </a:path>
                  </a:pathLst>
                </a:custGeom>
                <a:solidFill>
                  <a:srgbClr val="FFFFFF"/>
                </a:solidFill>
                <a:ln w="0" cap="flat">
                  <a:noFill/>
                  <a:prstDash val="solid"/>
                  <a:miter/>
                </a:ln>
              </p:spPr>
              <p:txBody>
                <a:bodyPr rtlCol="0" anchor="ctr"/>
                <a:lstStyle/>
                <a:p>
                  <a:endParaRPr lang="en-US"/>
                </a:p>
              </p:txBody>
            </p:sp>
            <p:sp>
              <p:nvSpPr>
                <p:cNvPr id="50" name="Freeform 49">
                  <a:extLst>
                    <a:ext uri="{FF2B5EF4-FFF2-40B4-BE49-F238E27FC236}">
                      <a16:creationId xmlns:a16="http://schemas.microsoft.com/office/drawing/2014/main" id="{396C6985-3F26-3816-23FD-086CFB83489F}"/>
                    </a:ext>
                  </a:extLst>
                </p:cNvPr>
                <p:cNvSpPr/>
                <p:nvPr/>
              </p:nvSpPr>
              <p:spPr>
                <a:xfrm>
                  <a:off x="3122979" y="5432683"/>
                  <a:ext cx="24720" cy="122325"/>
                </a:xfrm>
                <a:custGeom>
                  <a:avLst/>
                  <a:gdLst>
                    <a:gd name="connsiteX0" fmla="*/ 0 w 24720"/>
                    <a:gd name="connsiteY0" fmla="*/ 0 h 122325"/>
                    <a:gd name="connsiteX1" fmla="*/ 24721 w 24720"/>
                    <a:gd name="connsiteY1" fmla="*/ 0 h 122325"/>
                    <a:gd name="connsiteX2" fmla="*/ 24721 w 24720"/>
                    <a:gd name="connsiteY2" fmla="*/ 122325 h 122325"/>
                    <a:gd name="connsiteX3" fmla="*/ 0 w 24720"/>
                    <a:gd name="connsiteY3" fmla="*/ 122325 h 122325"/>
                    <a:gd name="connsiteX4" fmla="*/ 0 w 24720"/>
                    <a:gd name="connsiteY4" fmla="*/ 0 h 122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20" h="122325">
                      <a:moveTo>
                        <a:pt x="0" y="0"/>
                      </a:moveTo>
                      <a:lnTo>
                        <a:pt x="24721" y="0"/>
                      </a:lnTo>
                      <a:lnTo>
                        <a:pt x="24721" y="122325"/>
                      </a:lnTo>
                      <a:lnTo>
                        <a:pt x="0" y="122325"/>
                      </a:lnTo>
                      <a:lnTo>
                        <a:pt x="0" y="0"/>
                      </a:lnTo>
                      <a:close/>
                    </a:path>
                  </a:pathLst>
                </a:custGeom>
                <a:solidFill>
                  <a:srgbClr val="FFFFFF"/>
                </a:solidFill>
                <a:ln w="0" cap="flat">
                  <a:noFill/>
                  <a:prstDash val="solid"/>
                  <a:miter/>
                </a:ln>
              </p:spPr>
              <p:txBody>
                <a:bodyPr rtlCol="0" anchor="ctr"/>
                <a:lstStyle/>
                <a:p>
                  <a:endParaRPr lang="en-US"/>
                </a:p>
              </p:txBody>
            </p:sp>
            <p:sp>
              <p:nvSpPr>
                <p:cNvPr id="53" name="Freeform 52">
                  <a:extLst>
                    <a:ext uri="{FF2B5EF4-FFF2-40B4-BE49-F238E27FC236}">
                      <a16:creationId xmlns:a16="http://schemas.microsoft.com/office/drawing/2014/main" id="{B8BF291E-AD68-598E-6C1E-9EF8E1BF5AFE}"/>
                    </a:ext>
                  </a:extLst>
                </p:cNvPr>
                <p:cNvSpPr/>
                <p:nvPr/>
              </p:nvSpPr>
              <p:spPr>
                <a:xfrm>
                  <a:off x="3165326" y="5468775"/>
                  <a:ext cx="91116" cy="88176"/>
                </a:xfrm>
                <a:custGeom>
                  <a:avLst/>
                  <a:gdLst>
                    <a:gd name="connsiteX0" fmla="*/ 0 w 91116"/>
                    <a:gd name="connsiteY0" fmla="*/ 44088 h 88176"/>
                    <a:gd name="connsiteX1" fmla="*/ 45558 w 91116"/>
                    <a:gd name="connsiteY1" fmla="*/ 0 h 88176"/>
                    <a:gd name="connsiteX2" fmla="*/ 91117 w 91116"/>
                    <a:gd name="connsiteY2" fmla="*/ 44088 h 88176"/>
                    <a:gd name="connsiteX3" fmla="*/ 45558 w 91116"/>
                    <a:gd name="connsiteY3" fmla="*/ 88176 h 88176"/>
                    <a:gd name="connsiteX4" fmla="*/ 0 w 91116"/>
                    <a:gd name="connsiteY4" fmla="*/ 44088 h 88176"/>
                    <a:gd name="connsiteX5" fmla="*/ 66694 w 91116"/>
                    <a:gd name="connsiteY5" fmla="*/ 44088 h 88176"/>
                    <a:gd name="connsiteX6" fmla="*/ 45558 w 91116"/>
                    <a:gd name="connsiteY6" fmla="*/ 21297 h 88176"/>
                    <a:gd name="connsiteX7" fmla="*/ 24422 w 91116"/>
                    <a:gd name="connsiteY7" fmla="*/ 44088 h 88176"/>
                    <a:gd name="connsiteX8" fmla="*/ 45558 w 91116"/>
                    <a:gd name="connsiteY8" fmla="*/ 66879 h 88176"/>
                    <a:gd name="connsiteX9" fmla="*/ 66694 w 91116"/>
                    <a:gd name="connsiteY9" fmla="*/ 44088 h 88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116" h="88176">
                      <a:moveTo>
                        <a:pt x="0" y="44088"/>
                      </a:moveTo>
                      <a:cubicBezTo>
                        <a:pt x="0" y="18981"/>
                        <a:pt x="18821" y="0"/>
                        <a:pt x="45558" y="0"/>
                      </a:cubicBezTo>
                      <a:cubicBezTo>
                        <a:pt x="72296" y="0"/>
                        <a:pt x="91117" y="18981"/>
                        <a:pt x="91117" y="44088"/>
                      </a:cubicBezTo>
                      <a:cubicBezTo>
                        <a:pt x="91117" y="69196"/>
                        <a:pt x="72296" y="88176"/>
                        <a:pt x="45558" y="88176"/>
                      </a:cubicBezTo>
                      <a:cubicBezTo>
                        <a:pt x="18821" y="88176"/>
                        <a:pt x="0" y="69196"/>
                        <a:pt x="0" y="44088"/>
                      </a:cubicBezTo>
                      <a:close/>
                      <a:moveTo>
                        <a:pt x="66694" y="44088"/>
                      </a:moveTo>
                      <a:cubicBezTo>
                        <a:pt x="66694" y="30638"/>
                        <a:pt x="57882" y="21297"/>
                        <a:pt x="45558" y="21297"/>
                      </a:cubicBezTo>
                      <a:cubicBezTo>
                        <a:pt x="33235" y="21297"/>
                        <a:pt x="24422" y="30638"/>
                        <a:pt x="24422" y="44088"/>
                      </a:cubicBezTo>
                      <a:cubicBezTo>
                        <a:pt x="24422" y="57539"/>
                        <a:pt x="33235" y="66879"/>
                        <a:pt x="45558" y="66879"/>
                      </a:cubicBezTo>
                      <a:cubicBezTo>
                        <a:pt x="57882" y="66879"/>
                        <a:pt x="66694" y="57539"/>
                        <a:pt x="66694" y="44088"/>
                      </a:cubicBezTo>
                      <a:close/>
                    </a:path>
                  </a:pathLst>
                </a:custGeom>
                <a:solidFill>
                  <a:srgbClr val="FFFFFF"/>
                </a:solidFill>
                <a:ln w="0" cap="flat">
                  <a:noFill/>
                  <a:prstDash val="solid"/>
                  <a:miter/>
                </a:ln>
              </p:spPr>
              <p:txBody>
                <a:bodyPr rtlCol="0" anchor="ctr"/>
                <a:lstStyle/>
                <a:p>
                  <a:endParaRPr lang="en-US"/>
                </a:p>
              </p:txBody>
            </p:sp>
            <p:sp>
              <p:nvSpPr>
                <p:cNvPr id="54" name="Freeform 53">
                  <a:extLst>
                    <a:ext uri="{FF2B5EF4-FFF2-40B4-BE49-F238E27FC236}">
                      <a16:creationId xmlns:a16="http://schemas.microsoft.com/office/drawing/2014/main" id="{DA101427-0894-A832-1A35-1289A185CD32}"/>
                    </a:ext>
                  </a:extLst>
                </p:cNvPr>
                <p:cNvSpPr/>
                <p:nvPr/>
              </p:nvSpPr>
              <p:spPr>
                <a:xfrm>
                  <a:off x="3270334" y="5470644"/>
                  <a:ext cx="80287" cy="86309"/>
                </a:xfrm>
                <a:custGeom>
                  <a:avLst/>
                  <a:gdLst>
                    <a:gd name="connsiteX0" fmla="*/ 0 w 80287"/>
                    <a:gd name="connsiteY0" fmla="*/ 47226 h 86309"/>
                    <a:gd name="connsiteX1" fmla="*/ 0 w 80287"/>
                    <a:gd name="connsiteY1" fmla="*/ 75 h 86309"/>
                    <a:gd name="connsiteX2" fmla="*/ 24721 w 80287"/>
                    <a:gd name="connsiteY2" fmla="*/ 75 h 86309"/>
                    <a:gd name="connsiteX3" fmla="*/ 24721 w 80287"/>
                    <a:gd name="connsiteY3" fmla="*/ 45433 h 86309"/>
                    <a:gd name="connsiteX4" fmla="*/ 39957 w 80287"/>
                    <a:gd name="connsiteY4" fmla="*/ 64787 h 86309"/>
                    <a:gd name="connsiteX5" fmla="*/ 55566 w 80287"/>
                    <a:gd name="connsiteY5" fmla="*/ 45583 h 86309"/>
                    <a:gd name="connsiteX6" fmla="*/ 55566 w 80287"/>
                    <a:gd name="connsiteY6" fmla="*/ 0 h 86309"/>
                    <a:gd name="connsiteX7" fmla="*/ 80287 w 80287"/>
                    <a:gd name="connsiteY7" fmla="*/ 0 h 86309"/>
                    <a:gd name="connsiteX8" fmla="*/ 80287 w 80287"/>
                    <a:gd name="connsiteY8" fmla="*/ 47376 h 86309"/>
                    <a:gd name="connsiteX9" fmla="*/ 39957 w 80287"/>
                    <a:gd name="connsiteY9" fmla="*/ 86308 h 86309"/>
                    <a:gd name="connsiteX10" fmla="*/ 0 w 80287"/>
                    <a:gd name="connsiteY10" fmla="*/ 47226 h 8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0287" h="86309">
                      <a:moveTo>
                        <a:pt x="0" y="47226"/>
                      </a:moveTo>
                      <a:lnTo>
                        <a:pt x="0" y="75"/>
                      </a:lnTo>
                      <a:lnTo>
                        <a:pt x="24721" y="75"/>
                      </a:lnTo>
                      <a:lnTo>
                        <a:pt x="24721" y="45433"/>
                      </a:lnTo>
                      <a:cubicBezTo>
                        <a:pt x="24721" y="57240"/>
                        <a:pt x="29949" y="64638"/>
                        <a:pt x="39957" y="64787"/>
                      </a:cubicBezTo>
                      <a:cubicBezTo>
                        <a:pt x="50861" y="64936"/>
                        <a:pt x="55566" y="57613"/>
                        <a:pt x="55566" y="45583"/>
                      </a:cubicBezTo>
                      <a:lnTo>
                        <a:pt x="55566" y="0"/>
                      </a:lnTo>
                      <a:lnTo>
                        <a:pt x="80287" y="0"/>
                      </a:lnTo>
                      <a:lnTo>
                        <a:pt x="80287" y="47376"/>
                      </a:lnTo>
                      <a:cubicBezTo>
                        <a:pt x="80287" y="69047"/>
                        <a:pt x="63632" y="86457"/>
                        <a:pt x="39957" y="86308"/>
                      </a:cubicBezTo>
                      <a:cubicBezTo>
                        <a:pt x="14116" y="86159"/>
                        <a:pt x="0" y="70018"/>
                        <a:pt x="0" y="47226"/>
                      </a:cubicBezTo>
                      <a:close/>
                    </a:path>
                  </a:pathLst>
                </a:custGeom>
                <a:solidFill>
                  <a:srgbClr val="FFFFFF"/>
                </a:solidFill>
                <a:ln w="0" cap="flat">
                  <a:noFill/>
                  <a:prstDash val="solid"/>
                  <a:miter/>
                </a:ln>
              </p:spPr>
              <p:txBody>
                <a:bodyPr rtlCol="0" anchor="ctr"/>
                <a:lstStyle/>
                <a:p>
                  <a:endParaRPr lang="en-US"/>
                </a:p>
              </p:txBody>
            </p:sp>
            <p:sp>
              <p:nvSpPr>
                <p:cNvPr id="57" name="Freeform 56">
                  <a:extLst>
                    <a:ext uri="{FF2B5EF4-FFF2-40B4-BE49-F238E27FC236}">
                      <a16:creationId xmlns:a16="http://schemas.microsoft.com/office/drawing/2014/main" id="{3FE06D0D-9608-7A50-7E33-D1D2F2FF7306}"/>
                    </a:ext>
                  </a:extLst>
                </p:cNvPr>
                <p:cNvSpPr/>
                <p:nvPr/>
              </p:nvSpPr>
              <p:spPr>
                <a:xfrm>
                  <a:off x="3364663" y="5432833"/>
                  <a:ext cx="89249" cy="124193"/>
                </a:xfrm>
                <a:custGeom>
                  <a:avLst/>
                  <a:gdLst>
                    <a:gd name="connsiteX0" fmla="*/ 65052 w 89249"/>
                    <a:gd name="connsiteY0" fmla="*/ 109473 h 124193"/>
                    <a:gd name="connsiteX1" fmla="*/ 38015 w 89249"/>
                    <a:gd name="connsiteY1" fmla="*/ 124194 h 124193"/>
                    <a:gd name="connsiteX2" fmla="*/ 0 w 89249"/>
                    <a:gd name="connsiteY2" fmla="*/ 80106 h 124193"/>
                    <a:gd name="connsiteX3" fmla="*/ 38015 w 89249"/>
                    <a:gd name="connsiteY3" fmla="*/ 36018 h 124193"/>
                    <a:gd name="connsiteX4" fmla="*/ 64529 w 89249"/>
                    <a:gd name="connsiteY4" fmla="*/ 49842 h 124193"/>
                    <a:gd name="connsiteX5" fmla="*/ 64529 w 89249"/>
                    <a:gd name="connsiteY5" fmla="*/ 0 h 124193"/>
                    <a:gd name="connsiteX6" fmla="*/ 89250 w 89249"/>
                    <a:gd name="connsiteY6" fmla="*/ 0 h 124193"/>
                    <a:gd name="connsiteX7" fmla="*/ 89250 w 89249"/>
                    <a:gd name="connsiteY7" fmla="*/ 122326 h 124193"/>
                    <a:gd name="connsiteX8" fmla="*/ 66471 w 89249"/>
                    <a:gd name="connsiteY8" fmla="*/ 122326 h 124193"/>
                    <a:gd name="connsiteX9" fmla="*/ 65052 w 89249"/>
                    <a:gd name="connsiteY9" fmla="*/ 109622 h 124193"/>
                    <a:gd name="connsiteX10" fmla="*/ 64678 w 89249"/>
                    <a:gd name="connsiteY10" fmla="*/ 80031 h 124193"/>
                    <a:gd name="connsiteX11" fmla="*/ 44961 w 89249"/>
                    <a:gd name="connsiteY11" fmla="*/ 57464 h 124193"/>
                    <a:gd name="connsiteX12" fmla="*/ 24348 w 89249"/>
                    <a:gd name="connsiteY12" fmla="*/ 80031 h 124193"/>
                    <a:gd name="connsiteX13" fmla="*/ 44961 w 89249"/>
                    <a:gd name="connsiteY13" fmla="*/ 102598 h 124193"/>
                    <a:gd name="connsiteX14" fmla="*/ 64678 w 89249"/>
                    <a:gd name="connsiteY14" fmla="*/ 80031 h 124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9249" h="124193">
                      <a:moveTo>
                        <a:pt x="65052" y="109473"/>
                      </a:moveTo>
                      <a:cubicBezTo>
                        <a:pt x="60570" y="118589"/>
                        <a:pt x="51234" y="124194"/>
                        <a:pt x="38015" y="124194"/>
                      </a:cubicBezTo>
                      <a:cubicBezTo>
                        <a:pt x="19344" y="124194"/>
                        <a:pt x="0" y="109473"/>
                        <a:pt x="0" y="80106"/>
                      </a:cubicBezTo>
                      <a:cubicBezTo>
                        <a:pt x="0" y="50739"/>
                        <a:pt x="19344" y="36018"/>
                        <a:pt x="38015" y="36018"/>
                      </a:cubicBezTo>
                      <a:cubicBezTo>
                        <a:pt x="50712" y="36018"/>
                        <a:pt x="59898" y="41249"/>
                        <a:pt x="64529" y="49842"/>
                      </a:cubicBezTo>
                      <a:lnTo>
                        <a:pt x="64529" y="0"/>
                      </a:lnTo>
                      <a:lnTo>
                        <a:pt x="89250" y="0"/>
                      </a:lnTo>
                      <a:lnTo>
                        <a:pt x="89250" y="122326"/>
                      </a:lnTo>
                      <a:lnTo>
                        <a:pt x="66471" y="122326"/>
                      </a:lnTo>
                      <a:lnTo>
                        <a:pt x="65052" y="109622"/>
                      </a:lnTo>
                      <a:close/>
                      <a:moveTo>
                        <a:pt x="64678" y="80031"/>
                      </a:moveTo>
                      <a:cubicBezTo>
                        <a:pt x="64678" y="64264"/>
                        <a:pt x="54446" y="57464"/>
                        <a:pt x="44961" y="57464"/>
                      </a:cubicBezTo>
                      <a:cubicBezTo>
                        <a:pt x="33161" y="57464"/>
                        <a:pt x="24348" y="66057"/>
                        <a:pt x="24348" y="80031"/>
                      </a:cubicBezTo>
                      <a:cubicBezTo>
                        <a:pt x="24348" y="94005"/>
                        <a:pt x="33161" y="102598"/>
                        <a:pt x="44961" y="102598"/>
                      </a:cubicBezTo>
                      <a:cubicBezTo>
                        <a:pt x="54446" y="102598"/>
                        <a:pt x="64678" y="95798"/>
                        <a:pt x="64678" y="80031"/>
                      </a:cubicBezTo>
                      <a:close/>
                    </a:path>
                  </a:pathLst>
                </a:custGeom>
                <a:solidFill>
                  <a:srgbClr val="FFFFFF"/>
                </a:solidFill>
                <a:ln w="0" cap="flat">
                  <a:noFill/>
                  <a:prstDash val="solid"/>
                  <a:miter/>
                </a:ln>
              </p:spPr>
              <p:txBody>
                <a:bodyPr rtlCol="0" anchor="ctr"/>
                <a:lstStyle/>
                <a:p>
                  <a:endParaRPr lang="en-US"/>
                </a:p>
              </p:txBody>
            </p:sp>
          </p:grpSp>
        </p:grpSp>
        <p:pic>
          <p:nvPicPr>
            <p:cNvPr id="35" name="Graphic 34">
              <a:extLst>
                <a:ext uri="{FF2B5EF4-FFF2-40B4-BE49-F238E27FC236}">
                  <a16:creationId xmlns:a16="http://schemas.microsoft.com/office/drawing/2014/main" id="{BC810DDF-8B9E-9B3F-66BC-4F0A2D057C12}"/>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782409" y="1883212"/>
              <a:ext cx="645068" cy="645068"/>
            </a:xfrm>
            <a:prstGeom prst="rect">
              <a:avLst/>
            </a:prstGeom>
          </p:spPr>
        </p:pic>
      </p:grpSp>
      <p:grpSp>
        <p:nvGrpSpPr>
          <p:cNvPr id="60" name="Group 59">
            <a:extLst>
              <a:ext uri="{FF2B5EF4-FFF2-40B4-BE49-F238E27FC236}">
                <a16:creationId xmlns:a16="http://schemas.microsoft.com/office/drawing/2014/main" id="{F79BE248-1559-E9DA-C62D-38F2C88C7EB1}"/>
              </a:ext>
            </a:extLst>
          </p:cNvPr>
          <p:cNvGrpSpPr/>
          <p:nvPr/>
        </p:nvGrpSpPr>
        <p:grpSpPr>
          <a:xfrm>
            <a:off x="4570911" y="2961798"/>
            <a:ext cx="722146" cy="722527"/>
            <a:chOff x="4363224" y="1711717"/>
            <a:chExt cx="1180036" cy="1180659"/>
          </a:xfrm>
        </p:grpSpPr>
        <p:grpSp>
          <p:nvGrpSpPr>
            <p:cNvPr id="63" name="Group 62">
              <a:extLst>
                <a:ext uri="{FF2B5EF4-FFF2-40B4-BE49-F238E27FC236}">
                  <a16:creationId xmlns:a16="http://schemas.microsoft.com/office/drawing/2014/main" id="{0FBAA49D-F2F5-DD26-E6F1-88DC8BB04FF6}"/>
                </a:ext>
              </a:extLst>
            </p:cNvPr>
            <p:cNvGrpSpPr/>
            <p:nvPr/>
          </p:nvGrpSpPr>
          <p:grpSpPr>
            <a:xfrm>
              <a:off x="4363224" y="1711717"/>
              <a:ext cx="1180036" cy="1180659"/>
              <a:chOff x="6798046" y="4475676"/>
              <a:chExt cx="1180036" cy="1180659"/>
            </a:xfrm>
          </p:grpSpPr>
          <p:sp>
            <p:nvSpPr>
              <p:cNvPr id="67" name="Freeform 66">
                <a:extLst>
                  <a:ext uri="{FF2B5EF4-FFF2-40B4-BE49-F238E27FC236}">
                    <a16:creationId xmlns:a16="http://schemas.microsoft.com/office/drawing/2014/main" id="{2B362BFE-8CE7-5562-8C6B-2E3867E689C8}"/>
                  </a:ext>
                </a:extLst>
              </p:cNvPr>
              <p:cNvSpPr/>
              <p:nvPr/>
            </p:nvSpPr>
            <p:spPr>
              <a:xfrm>
                <a:off x="6798046" y="4475676"/>
                <a:ext cx="1180036" cy="1180659"/>
              </a:xfrm>
              <a:custGeom>
                <a:avLst/>
                <a:gdLst>
                  <a:gd name="connsiteX0" fmla="*/ 1093102 w 1180036"/>
                  <a:gd name="connsiteY0" fmla="*/ 1180660 h 1180659"/>
                  <a:gd name="connsiteX1" fmla="*/ 86934 w 1180036"/>
                  <a:gd name="connsiteY1" fmla="*/ 1180660 h 1180659"/>
                  <a:gd name="connsiteX2" fmla="*/ 0 w 1180036"/>
                  <a:gd name="connsiteY2" fmla="*/ 1093680 h 1180659"/>
                  <a:gd name="connsiteX3" fmla="*/ 0 w 1180036"/>
                  <a:gd name="connsiteY3" fmla="*/ 86980 h 1180659"/>
                  <a:gd name="connsiteX4" fmla="*/ 86934 w 1180036"/>
                  <a:gd name="connsiteY4" fmla="*/ 0 h 1180659"/>
                  <a:gd name="connsiteX5" fmla="*/ 1093102 w 1180036"/>
                  <a:gd name="connsiteY5" fmla="*/ 0 h 1180659"/>
                  <a:gd name="connsiteX6" fmla="*/ 1180036 w 1180036"/>
                  <a:gd name="connsiteY6" fmla="*/ 86980 h 1180659"/>
                  <a:gd name="connsiteX7" fmla="*/ 1180036 w 1180036"/>
                  <a:gd name="connsiteY7" fmla="*/ 1093680 h 1180659"/>
                  <a:gd name="connsiteX8" fmla="*/ 1093102 w 1180036"/>
                  <a:gd name="connsiteY8" fmla="*/ 1180660 h 118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036" h="1180659">
                    <a:moveTo>
                      <a:pt x="1093102" y="1180660"/>
                    </a:moveTo>
                    <a:lnTo>
                      <a:pt x="86934" y="1180660"/>
                    </a:lnTo>
                    <a:cubicBezTo>
                      <a:pt x="38911" y="1180660"/>
                      <a:pt x="0" y="1141728"/>
                      <a:pt x="0" y="1093680"/>
                    </a:cubicBezTo>
                    <a:lnTo>
                      <a:pt x="0" y="86980"/>
                    </a:lnTo>
                    <a:cubicBezTo>
                      <a:pt x="0" y="38932"/>
                      <a:pt x="38911" y="0"/>
                      <a:pt x="86934" y="0"/>
                    </a:cubicBezTo>
                    <a:lnTo>
                      <a:pt x="1093102" y="0"/>
                    </a:lnTo>
                    <a:cubicBezTo>
                      <a:pt x="1141125" y="0"/>
                      <a:pt x="1180036" y="38932"/>
                      <a:pt x="1180036" y="86980"/>
                    </a:cubicBezTo>
                    <a:lnTo>
                      <a:pt x="1180036" y="1093680"/>
                    </a:lnTo>
                    <a:cubicBezTo>
                      <a:pt x="1180036" y="1141728"/>
                      <a:pt x="1141125" y="1180660"/>
                      <a:pt x="1093102" y="1180660"/>
                    </a:cubicBezTo>
                  </a:path>
                </a:pathLst>
              </a:custGeom>
              <a:solidFill>
                <a:schemeClr val="tx1"/>
              </a:solidFill>
              <a:ln w="0" cap="flat">
                <a:noFill/>
                <a:prstDash val="solid"/>
                <a:miter/>
              </a:ln>
            </p:spPr>
            <p:txBody>
              <a:bodyPr rtlCol="0" anchor="ctr"/>
              <a:lstStyle/>
              <a:p>
                <a:endParaRPr lang="en-US"/>
              </a:p>
            </p:txBody>
          </p:sp>
          <p:grpSp>
            <p:nvGrpSpPr>
              <p:cNvPr id="70" name="Graphic 5">
                <a:extLst>
                  <a:ext uri="{FF2B5EF4-FFF2-40B4-BE49-F238E27FC236}">
                    <a16:creationId xmlns:a16="http://schemas.microsoft.com/office/drawing/2014/main" id="{AD137564-C2D1-576A-BFAA-A1B5E53D64CF}"/>
                  </a:ext>
                </a:extLst>
              </p:cNvPr>
              <p:cNvGrpSpPr/>
              <p:nvPr/>
            </p:nvGrpSpPr>
            <p:grpSpPr>
              <a:xfrm>
                <a:off x="7182529" y="5432683"/>
                <a:ext cx="406066" cy="157819"/>
                <a:chOff x="7182529" y="5432683"/>
                <a:chExt cx="406066" cy="157819"/>
              </a:xfrm>
              <a:solidFill>
                <a:srgbClr val="FFFFFF"/>
              </a:solidFill>
            </p:grpSpPr>
            <p:sp>
              <p:nvSpPr>
                <p:cNvPr id="71" name="Freeform 70">
                  <a:extLst>
                    <a:ext uri="{FF2B5EF4-FFF2-40B4-BE49-F238E27FC236}">
                      <a16:creationId xmlns:a16="http://schemas.microsoft.com/office/drawing/2014/main" id="{3CD4D09C-8651-51E0-043C-05CBFEDF657F}"/>
                    </a:ext>
                  </a:extLst>
                </p:cNvPr>
                <p:cNvSpPr/>
                <p:nvPr/>
              </p:nvSpPr>
              <p:spPr>
                <a:xfrm>
                  <a:off x="7182529" y="5432683"/>
                  <a:ext cx="118750" cy="122325"/>
                </a:xfrm>
                <a:custGeom>
                  <a:avLst/>
                  <a:gdLst>
                    <a:gd name="connsiteX0" fmla="*/ 43094 w 118750"/>
                    <a:gd name="connsiteY0" fmla="*/ 0 h 122325"/>
                    <a:gd name="connsiteX1" fmla="*/ 75732 w 118750"/>
                    <a:gd name="connsiteY1" fmla="*/ 0 h 122325"/>
                    <a:gd name="connsiteX2" fmla="*/ 118751 w 118750"/>
                    <a:gd name="connsiteY2" fmla="*/ 122325 h 122325"/>
                    <a:gd name="connsiteX3" fmla="*/ 92386 w 118750"/>
                    <a:gd name="connsiteY3" fmla="*/ 122325 h 122325"/>
                    <a:gd name="connsiteX4" fmla="*/ 83947 w 118750"/>
                    <a:gd name="connsiteY4" fmla="*/ 97591 h 122325"/>
                    <a:gd name="connsiteX5" fmla="*/ 34804 w 118750"/>
                    <a:gd name="connsiteY5" fmla="*/ 97591 h 122325"/>
                    <a:gd name="connsiteX6" fmla="*/ 26364 w 118750"/>
                    <a:gd name="connsiteY6" fmla="*/ 122325 h 122325"/>
                    <a:gd name="connsiteX7" fmla="*/ 0 w 118750"/>
                    <a:gd name="connsiteY7" fmla="*/ 122325 h 122325"/>
                    <a:gd name="connsiteX8" fmla="*/ 43019 w 118750"/>
                    <a:gd name="connsiteY8" fmla="*/ 0 h 122325"/>
                    <a:gd name="connsiteX9" fmla="*/ 77524 w 118750"/>
                    <a:gd name="connsiteY9" fmla="*/ 75697 h 122325"/>
                    <a:gd name="connsiteX10" fmla="*/ 61392 w 118750"/>
                    <a:gd name="connsiteY10" fmla="*/ 28694 h 122325"/>
                    <a:gd name="connsiteX11" fmla="*/ 59599 w 118750"/>
                    <a:gd name="connsiteY11" fmla="*/ 22044 h 122325"/>
                    <a:gd name="connsiteX12" fmla="*/ 59226 w 118750"/>
                    <a:gd name="connsiteY12" fmla="*/ 22044 h 122325"/>
                    <a:gd name="connsiteX13" fmla="*/ 57434 w 118750"/>
                    <a:gd name="connsiteY13" fmla="*/ 28694 h 122325"/>
                    <a:gd name="connsiteX14" fmla="*/ 41301 w 118750"/>
                    <a:gd name="connsiteY14" fmla="*/ 75697 h 122325"/>
                    <a:gd name="connsiteX15" fmla="*/ 77524 w 118750"/>
                    <a:gd name="connsiteY15" fmla="*/ 75697 h 122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0" h="122325">
                      <a:moveTo>
                        <a:pt x="43094" y="0"/>
                      </a:moveTo>
                      <a:lnTo>
                        <a:pt x="75732" y="0"/>
                      </a:lnTo>
                      <a:lnTo>
                        <a:pt x="118751" y="122325"/>
                      </a:lnTo>
                      <a:lnTo>
                        <a:pt x="92386" y="122325"/>
                      </a:lnTo>
                      <a:lnTo>
                        <a:pt x="83947" y="97591"/>
                      </a:lnTo>
                      <a:lnTo>
                        <a:pt x="34804" y="97591"/>
                      </a:lnTo>
                      <a:lnTo>
                        <a:pt x="26364" y="122325"/>
                      </a:lnTo>
                      <a:lnTo>
                        <a:pt x="0" y="122325"/>
                      </a:lnTo>
                      <a:lnTo>
                        <a:pt x="43019" y="0"/>
                      </a:lnTo>
                      <a:close/>
                      <a:moveTo>
                        <a:pt x="77524" y="75697"/>
                      </a:moveTo>
                      <a:lnTo>
                        <a:pt x="61392" y="28694"/>
                      </a:lnTo>
                      <a:cubicBezTo>
                        <a:pt x="60495" y="25855"/>
                        <a:pt x="59973" y="23837"/>
                        <a:pt x="59599" y="22044"/>
                      </a:cubicBezTo>
                      <a:lnTo>
                        <a:pt x="59226" y="22044"/>
                      </a:lnTo>
                      <a:cubicBezTo>
                        <a:pt x="58852" y="23837"/>
                        <a:pt x="58330" y="25780"/>
                        <a:pt x="57434" y="28694"/>
                      </a:cubicBezTo>
                      <a:lnTo>
                        <a:pt x="41301" y="75697"/>
                      </a:lnTo>
                      <a:lnTo>
                        <a:pt x="77524" y="75697"/>
                      </a:lnTo>
                      <a:close/>
                    </a:path>
                  </a:pathLst>
                </a:custGeom>
                <a:solidFill>
                  <a:srgbClr val="FFFFFF"/>
                </a:solidFill>
                <a:ln w="0" cap="flat">
                  <a:noFill/>
                  <a:prstDash val="solid"/>
                  <a:miter/>
                </a:ln>
              </p:spPr>
              <p:txBody>
                <a:bodyPr rtlCol="0" anchor="ctr"/>
                <a:lstStyle/>
                <a:p>
                  <a:endParaRPr lang="en-US"/>
                </a:p>
              </p:txBody>
            </p:sp>
            <p:sp>
              <p:nvSpPr>
                <p:cNvPr id="72" name="Freeform 71">
                  <a:extLst>
                    <a:ext uri="{FF2B5EF4-FFF2-40B4-BE49-F238E27FC236}">
                      <a16:creationId xmlns:a16="http://schemas.microsoft.com/office/drawing/2014/main" id="{86C6F817-0253-BB0E-9060-322004220B1D}"/>
                    </a:ext>
                  </a:extLst>
                </p:cNvPr>
                <p:cNvSpPr/>
                <p:nvPr/>
              </p:nvSpPr>
              <p:spPr>
                <a:xfrm>
                  <a:off x="7314125" y="5468701"/>
                  <a:ext cx="89250" cy="121802"/>
                </a:xfrm>
                <a:custGeom>
                  <a:avLst/>
                  <a:gdLst>
                    <a:gd name="connsiteX0" fmla="*/ 24721 w 89250"/>
                    <a:gd name="connsiteY0" fmla="*/ 73380 h 121802"/>
                    <a:gd name="connsiteX1" fmla="*/ 24721 w 89250"/>
                    <a:gd name="connsiteY1" fmla="*/ 121802 h 121802"/>
                    <a:gd name="connsiteX2" fmla="*/ 0 w 89250"/>
                    <a:gd name="connsiteY2" fmla="*/ 121802 h 121802"/>
                    <a:gd name="connsiteX3" fmla="*/ 0 w 89250"/>
                    <a:gd name="connsiteY3" fmla="*/ 2017 h 121802"/>
                    <a:gd name="connsiteX4" fmla="*/ 21883 w 89250"/>
                    <a:gd name="connsiteY4" fmla="*/ 2017 h 121802"/>
                    <a:gd name="connsiteX5" fmla="*/ 24198 w 89250"/>
                    <a:gd name="connsiteY5" fmla="*/ 15991 h 121802"/>
                    <a:gd name="connsiteX6" fmla="*/ 51085 w 89250"/>
                    <a:gd name="connsiteY6" fmla="*/ 0 h 121802"/>
                    <a:gd name="connsiteX7" fmla="*/ 89250 w 89250"/>
                    <a:gd name="connsiteY7" fmla="*/ 44088 h 121802"/>
                    <a:gd name="connsiteX8" fmla="*/ 51085 w 89250"/>
                    <a:gd name="connsiteY8" fmla="*/ 88176 h 121802"/>
                    <a:gd name="connsiteX9" fmla="*/ 24721 w 89250"/>
                    <a:gd name="connsiteY9" fmla="*/ 73306 h 121802"/>
                    <a:gd name="connsiteX10" fmla="*/ 64902 w 89250"/>
                    <a:gd name="connsiteY10" fmla="*/ 44162 h 121802"/>
                    <a:gd name="connsiteX11" fmla="*/ 44140 w 89250"/>
                    <a:gd name="connsiteY11" fmla="*/ 21595 h 121802"/>
                    <a:gd name="connsiteX12" fmla="*/ 24572 w 89250"/>
                    <a:gd name="connsiteY12" fmla="*/ 44162 h 121802"/>
                    <a:gd name="connsiteX13" fmla="*/ 44140 w 89250"/>
                    <a:gd name="connsiteY13" fmla="*/ 66730 h 121802"/>
                    <a:gd name="connsiteX14" fmla="*/ 64902 w 89250"/>
                    <a:gd name="connsiteY14" fmla="*/ 44162 h 12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9250" h="121802">
                      <a:moveTo>
                        <a:pt x="24721" y="73380"/>
                      </a:moveTo>
                      <a:lnTo>
                        <a:pt x="24721" y="121802"/>
                      </a:lnTo>
                      <a:lnTo>
                        <a:pt x="0" y="121802"/>
                      </a:lnTo>
                      <a:lnTo>
                        <a:pt x="0" y="2017"/>
                      </a:lnTo>
                      <a:lnTo>
                        <a:pt x="21883" y="2017"/>
                      </a:lnTo>
                      <a:lnTo>
                        <a:pt x="24198" y="15991"/>
                      </a:lnTo>
                      <a:cubicBezTo>
                        <a:pt x="29202" y="6128"/>
                        <a:pt x="38389" y="0"/>
                        <a:pt x="51085" y="0"/>
                      </a:cubicBezTo>
                      <a:cubicBezTo>
                        <a:pt x="69906" y="0"/>
                        <a:pt x="89250" y="14721"/>
                        <a:pt x="89250" y="44088"/>
                      </a:cubicBezTo>
                      <a:cubicBezTo>
                        <a:pt x="89250" y="73455"/>
                        <a:pt x="69906" y="88176"/>
                        <a:pt x="51085" y="88176"/>
                      </a:cubicBezTo>
                      <a:cubicBezTo>
                        <a:pt x="38688" y="88176"/>
                        <a:pt x="29725" y="82646"/>
                        <a:pt x="24721" y="73306"/>
                      </a:cubicBezTo>
                      <a:close/>
                      <a:moveTo>
                        <a:pt x="64902" y="44162"/>
                      </a:moveTo>
                      <a:cubicBezTo>
                        <a:pt x="64902" y="30712"/>
                        <a:pt x="56313" y="21595"/>
                        <a:pt x="44140" y="21595"/>
                      </a:cubicBezTo>
                      <a:cubicBezTo>
                        <a:pt x="35178" y="21595"/>
                        <a:pt x="24572" y="28919"/>
                        <a:pt x="24572" y="44162"/>
                      </a:cubicBezTo>
                      <a:cubicBezTo>
                        <a:pt x="24572" y="60453"/>
                        <a:pt x="34804" y="66730"/>
                        <a:pt x="44140" y="66730"/>
                      </a:cubicBezTo>
                      <a:cubicBezTo>
                        <a:pt x="56164" y="66730"/>
                        <a:pt x="64902" y="58136"/>
                        <a:pt x="64902" y="44162"/>
                      </a:cubicBezTo>
                      <a:close/>
                    </a:path>
                  </a:pathLst>
                </a:custGeom>
                <a:solidFill>
                  <a:srgbClr val="FFFFFF"/>
                </a:solidFill>
                <a:ln w="0" cap="flat">
                  <a:noFill/>
                  <a:prstDash val="solid"/>
                  <a:miter/>
                </a:ln>
              </p:spPr>
              <p:txBody>
                <a:bodyPr rtlCol="0" anchor="ctr"/>
                <a:lstStyle/>
                <a:p>
                  <a:endParaRPr lang="en-US"/>
                </a:p>
              </p:txBody>
            </p:sp>
            <p:sp>
              <p:nvSpPr>
                <p:cNvPr id="73" name="Freeform 72">
                  <a:extLst>
                    <a:ext uri="{FF2B5EF4-FFF2-40B4-BE49-F238E27FC236}">
                      <a16:creationId xmlns:a16="http://schemas.microsoft.com/office/drawing/2014/main" id="{180FD332-E13F-7A58-87A7-BFF5C26A13D4}"/>
                    </a:ext>
                  </a:extLst>
                </p:cNvPr>
                <p:cNvSpPr/>
                <p:nvPr/>
              </p:nvSpPr>
              <p:spPr>
                <a:xfrm>
                  <a:off x="7420254" y="5468701"/>
                  <a:ext cx="89249" cy="121802"/>
                </a:xfrm>
                <a:custGeom>
                  <a:avLst/>
                  <a:gdLst>
                    <a:gd name="connsiteX0" fmla="*/ 24721 w 89249"/>
                    <a:gd name="connsiteY0" fmla="*/ 73380 h 121802"/>
                    <a:gd name="connsiteX1" fmla="*/ 24721 w 89249"/>
                    <a:gd name="connsiteY1" fmla="*/ 121802 h 121802"/>
                    <a:gd name="connsiteX2" fmla="*/ 0 w 89249"/>
                    <a:gd name="connsiteY2" fmla="*/ 121802 h 121802"/>
                    <a:gd name="connsiteX3" fmla="*/ 0 w 89249"/>
                    <a:gd name="connsiteY3" fmla="*/ 2017 h 121802"/>
                    <a:gd name="connsiteX4" fmla="*/ 21882 w 89249"/>
                    <a:gd name="connsiteY4" fmla="*/ 2017 h 121802"/>
                    <a:gd name="connsiteX5" fmla="*/ 24198 w 89249"/>
                    <a:gd name="connsiteY5" fmla="*/ 15991 h 121802"/>
                    <a:gd name="connsiteX6" fmla="*/ 51085 w 89249"/>
                    <a:gd name="connsiteY6" fmla="*/ 0 h 121802"/>
                    <a:gd name="connsiteX7" fmla="*/ 89249 w 89249"/>
                    <a:gd name="connsiteY7" fmla="*/ 44088 h 121802"/>
                    <a:gd name="connsiteX8" fmla="*/ 51085 w 89249"/>
                    <a:gd name="connsiteY8" fmla="*/ 88176 h 121802"/>
                    <a:gd name="connsiteX9" fmla="*/ 24721 w 89249"/>
                    <a:gd name="connsiteY9" fmla="*/ 73306 h 121802"/>
                    <a:gd name="connsiteX10" fmla="*/ 64902 w 89249"/>
                    <a:gd name="connsiteY10" fmla="*/ 44162 h 121802"/>
                    <a:gd name="connsiteX11" fmla="*/ 44139 w 89249"/>
                    <a:gd name="connsiteY11" fmla="*/ 21595 h 121802"/>
                    <a:gd name="connsiteX12" fmla="*/ 24571 w 89249"/>
                    <a:gd name="connsiteY12" fmla="*/ 44162 h 121802"/>
                    <a:gd name="connsiteX13" fmla="*/ 44139 w 89249"/>
                    <a:gd name="connsiteY13" fmla="*/ 66730 h 121802"/>
                    <a:gd name="connsiteX14" fmla="*/ 64902 w 89249"/>
                    <a:gd name="connsiteY14" fmla="*/ 44162 h 12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9249" h="121802">
                      <a:moveTo>
                        <a:pt x="24721" y="73380"/>
                      </a:moveTo>
                      <a:lnTo>
                        <a:pt x="24721" y="121802"/>
                      </a:lnTo>
                      <a:lnTo>
                        <a:pt x="0" y="121802"/>
                      </a:lnTo>
                      <a:lnTo>
                        <a:pt x="0" y="2017"/>
                      </a:lnTo>
                      <a:lnTo>
                        <a:pt x="21882" y="2017"/>
                      </a:lnTo>
                      <a:lnTo>
                        <a:pt x="24198" y="15991"/>
                      </a:lnTo>
                      <a:cubicBezTo>
                        <a:pt x="29202" y="6128"/>
                        <a:pt x="38388" y="0"/>
                        <a:pt x="51085" y="0"/>
                      </a:cubicBezTo>
                      <a:cubicBezTo>
                        <a:pt x="69906" y="0"/>
                        <a:pt x="89249" y="14721"/>
                        <a:pt x="89249" y="44088"/>
                      </a:cubicBezTo>
                      <a:cubicBezTo>
                        <a:pt x="89249" y="73455"/>
                        <a:pt x="69906" y="88176"/>
                        <a:pt x="51085" y="88176"/>
                      </a:cubicBezTo>
                      <a:cubicBezTo>
                        <a:pt x="38687" y="88176"/>
                        <a:pt x="29725" y="82646"/>
                        <a:pt x="24721" y="73306"/>
                      </a:cubicBezTo>
                      <a:close/>
                      <a:moveTo>
                        <a:pt x="64902" y="44162"/>
                      </a:moveTo>
                      <a:cubicBezTo>
                        <a:pt x="64902" y="30712"/>
                        <a:pt x="56313" y="21595"/>
                        <a:pt x="44139" y="21595"/>
                      </a:cubicBezTo>
                      <a:cubicBezTo>
                        <a:pt x="35177" y="21595"/>
                        <a:pt x="24571" y="28919"/>
                        <a:pt x="24571" y="44162"/>
                      </a:cubicBezTo>
                      <a:cubicBezTo>
                        <a:pt x="24571" y="60453"/>
                        <a:pt x="34803" y="66730"/>
                        <a:pt x="44139" y="66730"/>
                      </a:cubicBezTo>
                      <a:cubicBezTo>
                        <a:pt x="56163" y="66730"/>
                        <a:pt x="64902" y="58136"/>
                        <a:pt x="64902" y="44162"/>
                      </a:cubicBezTo>
                      <a:close/>
                    </a:path>
                  </a:pathLst>
                </a:custGeom>
                <a:solidFill>
                  <a:srgbClr val="FFFFFF"/>
                </a:solidFill>
                <a:ln w="0" cap="flat">
                  <a:noFill/>
                  <a:prstDash val="solid"/>
                  <a:miter/>
                </a:ln>
              </p:spPr>
              <p:txBody>
                <a:bodyPr rtlCol="0" anchor="ctr"/>
                <a:lstStyle/>
                <a:p>
                  <a:endParaRPr lang="en-US"/>
                </a:p>
              </p:txBody>
            </p:sp>
            <p:sp>
              <p:nvSpPr>
                <p:cNvPr id="74" name="Freeform 73">
                  <a:extLst>
                    <a:ext uri="{FF2B5EF4-FFF2-40B4-BE49-F238E27FC236}">
                      <a16:creationId xmlns:a16="http://schemas.microsoft.com/office/drawing/2014/main" id="{DC5BF030-CE38-8784-27B6-FD80A36F6299}"/>
                    </a:ext>
                  </a:extLst>
                </p:cNvPr>
                <p:cNvSpPr/>
                <p:nvPr/>
              </p:nvSpPr>
              <p:spPr>
                <a:xfrm>
                  <a:off x="7520632" y="5468774"/>
                  <a:ext cx="67963" cy="88177"/>
                </a:xfrm>
                <a:custGeom>
                  <a:avLst/>
                  <a:gdLst>
                    <a:gd name="connsiteX0" fmla="*/ 0 w 67963"/>
                    <a:gd name="connsiteY0" fmla="*/ 61127 h 88177"/>
                    <a:gd name="connsiteX1" fmla="*/ 23302 w 67963"/>
                    <a:gd name="connsiteY1" fmla="*/ 61127 h 88177"/>
                    <a:gd name="connsiteX2" fmla="*/ 35476 w 67963"/>
                    <a:gd name="connsiteY2" fmla="*/ 69197 h 88177"/>
                    <a:gd name="connsiteX3" fmla="*/ 44587 w 67963"/>
                    <a:gd name="connsiteY3" fmla="*/ 62921 h 88177"/>
                    <a:gd name="connsiteX4" fmla="*/ 2091 w 67963"/>
                    <a:gd name="connsiteY4" fmla="*/ 25633 h 88177"/>
                    <a:gd name="connsiteX5" fmla="*/ 33310 w 67963"/>
                    <a:gd name="connsiteY5" fmla="*/ 2 h 88177"/>
                    <a:gd name="connsiteX6" fmla="*/ 66321 w 67963"/>
                    <a:gd name="connsiteY6" fmla="*/ 26156 h 88177"/>
                    <a:gd name="connsiteX7" fmla="*/ 43393 w 67963"/>
                    <a:gd name="connsiteY7" fmla="*/ 26156 h 88177"/>
                    <a:gd name="connsiteX8" fmla="*/ 33384 w 67963"/>
                    <a:gd name="connsiteY8" fmla="*/ 18982 h 88177"/>
                    <a:gd name="connsiteX9" fmla="*/ 24795 w 67963"/>
                    <a:gd name="connsiteY9" fmla="*/ 25633 h 88177"/>
                    <a:gd name="connsiteX10" fmla="*/ 67964 w 67963"/>
                    <a:gd name="connsiteY10" fmla="*/ 62921 h 88177"/>
                    <a:gd name="connsiteX11" fmla="*/ 35551 w 67963"/>
                    <a:gd name="connsiteY11" fmla="*/ 88178 h 88177"/>
                    <a:gd name="connsiteX12" fmla="*/ 75 w 67963"/>
                    <a:gd name="connsiteY12" fmla="*/ 61127 h 88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963" h="88177">
                      <a:moveTo>
                        <a:pt x="0" y="61127"/>
                      </a:moveTo>
                      <a:lnTo>
                        <a:pt x="23302" y="61127"/>
                      </a:lnTo>
                      <a:cubicBezTo>
                        <a:pt x="24572" y="66881"/>
                        <a:pt x="29725" y="69197"/>
                        <a:pt x="35476" y="69197"/>
                      </a:cubicBezTo>
                      <a:cubicBezTo>
                        <a:pt x="40853" y="69197"/>
                        <a:pt x="44587" y="66881"/>
                        <a:pt x="44587" y="62921"/>
                      </a:cubicBezTo>
                      <a:cubicBezTo>
                        <a:pt x="44587" y="50740"/>
                        <a:pt x="2091" y="58811"/>
                        <a:pt x="2091" y="25633"/>
                      </a:cubicBezTo>
                      <a:cubicBezTo>
                        <a:pt x="2091" y="10912"/>
                        <a:pt x="14489" y="151"/>
                        <a:pt x="33310" y="2"/>
                      </a:cubicBezTo>
                      <a:cubicBezTo>
                        <a:pt x="52280" y="-147"/>
                        <a:pt x="65051" y="9865"/>
                        <a:pt x="66321" y="26156"/>
                      </a:cubicBezTo>
                      <a:lnTo>
                        <a:pt x="43393" y="26156"/>
                      </a:lnTo>
                      <a:cubicBezTo>
                        <a:pt x="42496" y="22046"/>
                        <a:pt x="38911" y="18982"/>
                        <a:pt x="33384" y="18982"/>
                      </a:cubicBezTo>
                      <a:cubicBezTo>
                        <a:pt x="27858" y="18982"/>
                        <a:pt x="24795" y="22046"/>
                        <a:pt x="24795" y="25633"/>
                      </a:cubicBezTo>
                      <a:cubicBezTo>
                        <a:pt x="24795" y="37140"/>
                        <a:pt x="67964" y="30639"/>
                        <a:pt x="67964" y="62921"/>
                      </a:cubicBezTo>
                      <a:cubicBezTo>
                        <a:pt x="67964" y="78538"/>
                        <a:pt x="52579" y="88178"/>
                        <a:pt x="35551" y="88178"/>
                      </a:cubicBezTo>
                      <a:cubicBezTo>
                        <a:pt x="15460" y="88178"/>
                        <a:pt x="1493" y="76670"/>
                        <a:pt x="75" y="61127"/>
                      </a:cubicBezTo>
                      <a:close/>
                    </a:path>
                  </a:pathLst>
                </a:custGeom>
                <a:solidFill>
                  <a:srgbClr val="FFFFFF"/>
                </a:solidFill>
                <a:ln w="0" cap="flat">
                  <a:noFill/>
                  <a:prstDash val="solid"/>
                  <a:miter/>
                </a:ln>
              </p:spPr>
              <p:txBody>
                <a:bodyPr rtlCol="0" anchor="ctr"/>
                <a:lstStyle/>
                <a:p>
                  <a:endParaRPr lang="en-US"/>
                </a:p>
              </p:txBody>
            </p:sp>
          </p:grpSp>
        </p:grpSp>
        <p:pic>
          <p:nvPicPr>
            <p:cNvPr id="64" name="Graphic 63">
              <a:extLst>
                <a:ext uri="{FF2B5EF4-FFF2-40B4-BE49-F238E27FC236}">
                  <a16:creationId xmlns:a16="http://schemas.microsoft.com/office/drawing/2014/main" id="{0C91CE62-7846-2B85-2D31-E6D9E4AB41DB}"/>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4629538" y="1891786"/>
              <a:ext cx="645068" cy="645068"/>
            </a:xfrm>
            <a:prstGeom prst="rect">
              <a:avLst/>
            </a:prstGeom>
          </p:spPr>
        </p:pic>
      </p:grpSp>
      <p:grpSp>
        <p:nvGrpSpPr>
          <p:cNvPr id="75" name="Group 74">
            <a:extLst>
              <a:ext uri="{FF2B5EF4-FFF2-40B4-BE49-F238E27FC236}">
                <a16:creationId xmlns:a16="http://schemas.microsoft.com/office/drawing/2014/main" id="{6121E4B3-D924-952F-2D35-0A51D3CDD120}"/>
              </a:ext>
            </a:extLst>
          </p:cNvPr>
          <p:cNvGrpSpPr/>
          <p:nvPr/>
        </p:nvGrpSpPr>
        <p:grpSpPr>
          <a:xfrm>
            <a:off x="2151445" y="4107766"/>
            <a:ext cx="724982" cy="749962"/>
            <a:chOff x="6938815" y="1703572"/>
            <a:chExt cx="1184671" cy="1225489"/>
          </a:xfrm>
        </p:grpSpPr>
        <p:grpSp>
          <p:nvGrpSpPr>
            <p:cNvPr id="97" name="Group 96">
              <a:extLst>
                <a:ext uri="{FF2B5EF4-FFF2-40B4-BE49-F238E27FC236}">
                  <a16:creationId xmlns:a16="http://schemas.microsoft.com/office/drawing/2014/main" id="{B95CE413-245E-DFD0-3932-230E677D39AE}"/>
                </a:ext>
              </a:extLst>
            </p:cNvPr>
            <p:cNvGrpSpPr/>
            <p:nvPr/>
          </p:nvGrpSpPr>
          <p:grpSpPr>
            <a:xfrm>
              <a:off x="6938815" y="1703572"/>
              <a:ext cx="1184671" cy="1225489"/>
              <a:chOff x="7186368" y="3251663"/>
              <a:chExt cx="1184671" cy="1225489"/>
            </a:xfrm>
          </p:grpSpPr>
          <p:sp>
            <p:nvSpPr>
              <p:cNvPr id="99" name="Freeform 98">
                <a:extLst>
                  <a:ext uri="{FF2B5EF4-FFF2-40B4-BE49-F238E27FC236}">
                    <a16:creationId xmlns:a16="http://schemas.microsoft.com/office/drawing/2014/main" id="{6DEECB2C-3E4B-F4A9-2508-75D72218D422}"/>
                  </a:ext>
                </a:extLst>
              </p:cNvPr>
              <p:cNvSpPr/>
              <p:nvPr/>
            </p:nvSpPr>
            <p:spPr>
              <a:xfrm>
                <a:off x="7186368" y="3251663"/>
                <a:ext cx="1180036" cy="1180659"/>
              </a:xfrm>
              <a:custGeom>
                <a:avLst/>
                <a:gdLst>
                  <a:gd name="connsiteX0" fmla="*/ 1093102 w 1180036"/>
                  <a:gd name="connsiteY0" fmla="*/ 1180660 h 1180659"/>
                  <a:gd name="connsiteX1" fmla="*/ 86934 w 1180036"/>
                  <a:gd name="connsiteY1" fmla="*/ 1180660 h 1180659"/>
                  <a:gd name="connsiteX2" fmla="*/ 0 w 1180036"/>
                  <a:gd name="connsiteY2" fmla="*/ 1093680 h 1180659"/>
                  <a:gd name="connsiteX3" fmla="*/ 0 w 1180036"/>
                  <a:gd name="connsiteY3" fmla="*/ 86980 h 1180659"/>
                  <a:gd name="connsiteX4" fmla="*/ 86934 w 1180036"/>
                  <a:gd name="connsiteY4" fmla="*/ 0 h 1180659"/>
                  <a:gd name="connsiteX5" fmla="*/ 1093102 w 1180036"/>
                  <a:gd name="connsiteY5" fmla="*/ 0 h 1180659"/>
                  <a:gd name="connsiteX6" fmla="*/ 1180036 w 1180036"/>
                  <a:gd name="connsiteY6" fmla="*/ 86980 h 1180659"/>
                  <a:gd name="connsiteX7" fmla="*/ 1180036 w 1180036"/>
                  <a:gd name="connsiteY7" fmla="*/ 1093680 h 1180659"/>
                  <a:gd name="connsiteX8" fmla="*/ 1093102 w 1180036"/>
                  <a:gd name="connsiteY8" fmla="*/ 1180660 h 118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036" h="1180659">
                    <a:moveTo>
                      <a:pt x="1093102" y="1180660"/>
                    </a:moveTo>
                    <a:lnTo>
                      <a:pt x="86934" y="1180660"/>
                    </a:lnTo>
                    <a:cubicBezTo>
                      <a:pt x="38911" y="1180660"/>
                      <a:pt x="0" y="1141728"/>
                      <a:pt x="0" y="1093680"/>
                    </a:cubicBezTo>
                    <a:lnTo>
                      <a:pt x="0" y="86980"/>
                    </a:lnTo>
                    <a:cubicBezTo>
                      <a:pt x="0" y="38932"/>
                      <a:pt x="38911" y="0"/>
                      <a:pt x="86934" y="0"/>
                    </a:cubicBezTo>
                    <a:lnTo>
                      <a:pt x="1093102" y="0"/>
                    </a:lnTo>
                    <a:cubicBezTo>
                      <a:pt x="1141125" y="0"/>
                      <a:pt x="1180036" y="38932"/>
                      <a:pt x="1180036" y="86980"/>
                    </a:cubicBezTo>
                    <a:lnTo>
                      <a:pt x="1180036" y="1093680"/>
                    </a:lnTo>
                    <a:cubicBezTo>
                      <a:pt x="1180036" y="1141728"/>
                      <a:pt x="1141125" y="1180660"/>
                      <a:pt x="1093102" y="1180660"/>
                    </a:cubicBezTo>
                  </a:path>
                </a:pathLst>
              </a:custGeom>
              <a:solidFill>
                <a:schemeClr val="tx1"/>
              </a:solidFill>
              <a:ln w="0" cap="flat">
                <a:noFill/>
                <a:prstDash val="solid"/>
                <a:miter/>
              </a:ln>
            </p:spPr>
            <p:txBody>
              <a:bodyPr rtlCol="0" anchor="ctr"/>
              <a:lstStyle/>
              <a:p>
                <a:endParaRPr lang="en-US"/>
              </a:p>
            </p:txBody>
          </p:sp>
          <p:sp>
            <p:nvSpPr>
              <p:cNvPr id="100" name="TextBox 99">
                <a:extLst>
                  <a:ext uri="{FF2B5EF4-FFF2-40B4-BE49-F238E27FC236}">
                    <a16:creationId xmlns:a16="http://schemas.microsoft.com/office/drawing/2014/main" id="{7578B9D5-64CE-4E52-4C66-51783F0DEC71}"/>
                  </a:ext>
                </a:extLst>
              </p:cNvPr>
              <p:cNvSpPr txBox="1"/>
              <p:nvPr/>
            </p:nvSpPr>
            <p:spPr>
              <a:xfrm>
                <a:off x="7186368" y="4125102"/>
                <a:ext cx="1184671" cy="352050"/>
              </a:xfrm>
              <a:prstGeom prst="rect">
                <a:avLst/>
              </a:prstGeom>
              <a:noFill/>
            </p:spPr>
            <p:txBody>
              <a:bodyPr wrap="square" rtlCol="0">
                <a:spAutoFit/>
              </a:bodyPr>
              <a:lstStyle/>
              <a:p>
                <a:pPr algn="ctr"/>
                <a:r>
                  <a:rPr lang="en-US" sz="800" b="1">
                    <a:solidFill>
                      <a:schemeClr val="bg1"/>
                    </a:solidFill>
                    <a:latin typeface="ES Build SemiBold" pitchFamily="2" charset="77"/>
                    <a:ea typeface="ES Build SemiBold" pitchFamily="2" charset="77"/>
                    <a:cs typeface="Microsoft Sans Serif" panose="020B0604020202020204" pitchFamily="34" charset="0"/>
                  </a:rPr>
                  <a:t>Kubernetes</a:t>
                </a:r>
              </a:p>
            </p:txBody>
          </p:sp>
        </p:grpSp>
        <p:pic>
          <p:nvPicPr>
            <p:cNvPr id="98" name="Graphic 97">
              <a:extLst>
                <a:ext uri="{FF2B5EF4-FFF2-40B4-BE49-F238E27FC236}">
                  <a16:creationId xmlns:a16="http://schemas.microsoft.com/office/drawing/2014/main" id="{2DCA4406-1BD7-75E3-56E9-76A2035755EB}"/>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7202814" y="1895796"/>
              <a:ext cx="645068" cy="645068"/>
            </a:xfrm>
            <a:prstGeom prst="rect">
              <a:avLst/>
            </a:prstGeom>
          </p:spPr>
        </p:pic>
      </p:grpSp>
      <p:grpSp>
        <p:nvGrpSpPr>
          <p:cNvPr id="110" name="Group 109">
            <a:extLst>
              <a:ext uri="{FF2B5EF4-FFF2-40B4-BE49-F238E27FC236}">
                <a16:creationId xmlns:a16="http://schemas.microsoft.com/office/drawing/2014/main" id="{FF857E25-94A1-F595-0FA4-F8B1CB9CA5C8}"/>
              </a:ext>
            </a:extLst>
          </p:cNvPr>
          <p:cNvGrpSpPr/>
          <p:nvPr/>
        </p:nvGrpSpPr>
        <p:grpSpPr>
          <a:xfrm>
            <a:off x="3115300" y="4107766"/>
            <a:ext cx="724982" cy="749962"/>
            <a:chOff x="6938815" y="1703572"/>
            <a:chExt cx="1184671" cy="1225489"/>
          </a:xfrm>
        </p:grpSpPr>
        <p:grpSp>
          <p:nvGrpSpPr>
            <p:cNvPr id="111" name="Group 110">
              <a:extLst>
                <a:ext uri="{FF2B5EF4-FFF2-40B4-BE49-F238E27FC236}">
                  <a16:creationId xmlns:a16="http://schemas.microsoft.com/office/drawing/2014/main" id="{A0E28B87-92C9-4B15-E505-DC0F6C2BF41A}"/>
                </a:ext>
              </a:extLst>
            </p:cNvPr>
            <p:cNvGrpSpPr/>
            <p:nvPr/>
          </p:nvGrpSpPr>
          <p:grpSpPr>
            <a:xfrm>
              <a:off x="6938815" y="1703572"/>
              <a:ext cx="1184671" cy="1225489"/>
              <a:chOff x="7186368" y="3251663"/>
              <a:chExt cx="1184671" cy="1225489"/>
            </a:xfrm>
          </p:grpSpPr>
          <p:sp>
            <p:nvSpPr>
              <p:cNvPr id="113" name="Freeform 112">
                <a:extLst>
                  <a:ext uri="{FF2B5EF4-FFF2-40B4-BE49-F238E27FC236}">
                    <a16:creationId xmlns:a16="http://schemas.microsoft.com/office/drawing/2014/main" id="{153780E4-3AA3-FED1-1236-9FDAD7180410}"/>
                  </a:ext>
                </a:extLst>
              </p:cNvPr>
              <p:cNvSpPr/>
              <p:nvPr/>
            </p:nvSpPr>
            <p:spPr>
              <a:xfrm>
                <a:off x="7186368" y="3251663"/>
                <a:ext cx="1180036" cy="1180659"/>
              </a:xfrm>
              <a:custGeom>
                <a:avLst/>
                <a:gdLst>
                  <a:gd name="connsiteX0" fmla="*/ 1093102 w 1180036"/>
                  <a:gd name="connsiteY0" fmla="*/ 1180660 h 1180659"/>
                  <a:gd name="connsiteX1" fmla="*/ 86934 w 1180036"/>
                  <a:gd name="connsiteY1" fmla="*/ 1180660 h 1180659"/>
                  <a:gd name="connsiteX2" fmla="*/ 0 w 1180036"/>
                  <a:gd name="connsiteY2" fmla="*/ 1093680 h 1180659"/>
                  <a:gd name="connsiteX3" fmla="*/ 0 w 1180036"/>
                  <a:gd name="connsiteY3" fmla="*/ 86980 h 1180659"/>
                  <a:gd name="connsiteX4" fmla="*/ 86934 w 1180036"/>
                  <a:gd name="connsiteY4" fmla="*/ 0 h 1180659"/>
                  <a:gd name="connsiteX5" fmla="*/ 1093102 w 1180036"/>
                  <a:gd name="connsiteY5" fmla="*/ 0 h 1180659"/>
                  <a:gd name="connsiteX6" fmla="*/ 1180036 w 1180036"/>
                  <a:gd name="connsiteY6" fmla="*/ 86980 h 1180659"/>
                  <a:gd name="connsiteX7" fmla="*/ 1180036 w 1180036"/>
                  <a:gd name="connsiteY7" fmla="*/ 1093680 h 1180659"/>
                  <a:gd name="connsiteX8" fmla="*/ 1093102 w 1180036"/>
                  <a:gd name="connsiteY8" fmla="*/ 1180660 h 118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036" h="1180659">
                    <a:moveTo>
                      <a:pt x="1093102" y="1180660"/>
                    </a:moveTo>
                    <a:lnTo>
                      <a:pt x="86934" y="1180660"/>
                    </a:lnTo>
                    <a:cubicBezTo>
                      <a:pt x="38911" y="1180660"/>
                      <a:pt x="0" y="1141728"/>
                      <a:pt x="0" y="1093680"/>
                    </a:cubicBezTo>
                    <a:lnTo>
                      <a:pt x="0" y="86980"/>
                    </a:lnTo>
                    <a:cubicBezTo>
                      <a:pt x="0" y="38932"/>
                      <a:pt x="38911" y="0"/>
                      <a:pt x="86934" y="0"/>
                    </a:cubicBezTo>
                    <a:lnTo>
                      <a:pt x="1093102" y="0"/>
                    </a:lnTo>
                    <a:cubicBezTo>
                      <a:pt x="1141125" y="0"/>
                      <a:pt x="1180036" y="38932"/>
                      <a:pt x="1180036" y="86980"/>
                    </a:cubicBezTo>
                    <a:lnTo>
                      <a:pt x="1180036" y="1093680"/>
                    </a:lnTo>
                    <a:cubicBezTo>
                      <a:pt x="1180036" y="1141728"/>
                      <a:pt x="1141125" y="1180660"/>
                      <a:pt x="1093102" y="1180660"/>
                    </a:cubicBezTo>
                  </a:path>
                </a:pathLst>
              </a:custGeom>
              <a:solidFill>
                <a:schemeClr val="tx1"/>
              </a:solidFill>
              <a:ln w="0" cap="flat">
                <a:noFill/>
                <a:prstDash val="solid"/>
                <a:miter/>
              </a:ln>
            </p:spPr>
            <p:txBody>
              <a:bodyPr rtlCol="0" anchor="ctr"/>
              <a:lstStyle/>
              <a:p>
                <a:endParaRPr lang="en-US"/>
              </a:p>
            </p:txBody>
          </p:sp>
          <p:sp>
            <p:nvSpPr>
              <p:cNvPr id="114" name="TextBox 113">
                <a:extLst>
                  <a:ext uri="{FF2B5EF4-FFF2-40B4-BE49-F238E27FC236}">
                    <a16:creationId xmlns:a16="http://schemas.microsoft.com/office/drawing/2014/main" id="{A2C40949-82E9-4F44-8371-F2F7BE508FA5}"/>
                  </a:ext>
                </a:extLst>
              </p:cNvPr>
              <p:cNvSpPr txBox="1"/>
              <p:nvPr/>
            </p:nvSpPr>
            <p:spPr>
              <a:xfrm>
                <a:off x="7186368" y="4125102"/>
                <a:ext cx="1184671" cy="352050"/>
              </a:xfrm>
              <a:prstGeom prst="rect">
                <a:avLst/>
              </a:prstGeom>
              <a:noFill/>
            </p:spPr>
            <p:txBody>
              <a:bodyPr wrap="square" rtlCol="0">
                <a:spAutoFit/>
              </a:bodyPr>
              <a:lstStyle/>
              <a:p>
                <a:pPr algn="ctr"/>
                <a:r>
                  <a:rPr lang="en-US" sz="800" b="1">
                    <a:solidFill>
                      <a:schemeClr val="bg1"/>
                    </a:solidFill>
                    <a:latin typeface="ES Build SemiBold" pitchFamily="2" charset="77"/>
                    <a:ea typeface="ES Build SemiBold" pitchFamily="2" charset="77"/>
                    <a:cs typeface="Microsoft Sans Serif" panose="020B0604020202020204" pitchFamily="34" charset="0"/>
                  </a:rPr>
                  <a:t>M365</a:t>
                </a:r>
              </a:p>
            </p:txBody>
          </p:sp>
        </p:grpSp>
        <p:pic>
          <p:nvPicPr>
            <p:cNvPr id="112" name="Graphic 111">
              <a:extLst>
                <a:ext uri="{FF2B5EF4-FFF2-40B4-BE49-F238E27FC236}">
                  <a16:creationId xmlns:a16="http://schemas.microsoft.com/office/drawing/2014/main" id="{C581D704-6A1C-E90D-2E47-43E187332F93}"/>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7292400" y="1941358"/>
              <a:ext cx="472867" cy="527853"/>
            </a:xfrm>
            <a:prstGeom prst="rect">
              <a:avLst/>
            </a:prstGeom>
          </p:spPr>
        </p:pic>
      </p:grpSp>
      <p:grpSp>
        <p:nvGrpSpPr>
          <p:cNvPr id="115" name="Group 114">
            <a:extLst>
              <a:ext uri="{FF2B5EF4-FFF2-40B4-BE49-F238E27FC236}">
                <a16:creationId xmlns:a16="http://schemas.microsoft.com/office/drawing/2014/main" id="{D7915E88-ED9C-3A9A-1646-D5C9193104A1}"/>
              </a:ext>
            </a:extLst>
          </p:cNvPr>
          <p:cNvGrpSpPr/>
          <p:nvPr/>
        </p:nvGrpSpPr>
        <p:grpSpPr>
          <a:xfrm>
            <a:off x="4079155" y="4107766"/>
            <a:ext cx="724982" cy="749962"/>
            <a:chOff x="6938815" y="1703572"/>
            <a:chExt cx="1184671" cy="1225489"/>
          </a:xfrm>
        </p:grpSpPr>
        <p:grpSp>
          <p:nvGrpSpPr>
            <p:cNvPr id="116" name="Group 115">
              <a:extLst>
                <a:ext uri="{FF2B5EF4-FFF2-40B4-BE49-F238E27FC236}">
                  <a16:creationId xmlns:a16="http://schemas.microsoft.com/office/drawing/2014/main" id="{8213F1B3-E8A5-26B6-4BFC-0385073FBB48}"/>
                </a:ext>
              </a:extLst>
            </p:cNvPr>
            <p:cNvGrpSpPr/>
            <p:nvPr/>
          </p:nvGrpSpPr>
          <p:grpSpPr>
            <a:xfrm>
              <a:off x="6938815" y="1703572"/>
              <a:ext cx="1184671" cy="1225489"/>
              <a:chOff x="7186368" y="3251663"/>
              <a:chExt cx="1184671" cy="1225489"/>
            </a:xfrm>
          </p:grpSpPr>
          <p:sp>
            <p:nvSpPr>
              <p:cNvPr id="118" name="Freeform 117">
                <a:extLst>
                  <a:ext uri="{FF2B5EF4-FFF2-40B4-BE49-F238E27FC236}">
                    <a16:creationId xmlns:a16="http://schemas.microsoft.com/office/drawing/2014/main" id="{418D1167-ED8F-143B-827C-0C0EFD469085}"/>
                  </a:ext>
                </a:extLst>
              </p:cNvPr>
              <p:cNvSpPr/>
              <p:nvPr/>
            </p:nvSpPr>
            <p:spPr>
              <a:xfrm>
                <a:off x="7186368" y="3251663"/>
                <a:ext cx="1180036" cy="1180659"/>
              </a:xfrm>
              <a:custGeom>
                <a:avLst/>
                <a:gdLst>
                  <a:gd name="connsiteX0" fmla="*/ 1093102 w 1180036"/>
                  <a:gd name="connsiteY0" fmla="*/ 1180660 h 1180659"/>
                  <a:gd name="connsiteX1" fmla="*/ 86934 w 1180036"/>
                  <a:gd name="connsiteY1" fmla="*/ 1180660 h 1180659"/>
                  <a:gd name="connsiteX2" fmla="*/ 0 w 1180036"/>
                  <a:gd name="connsiteY2" fmla="*/ 1093680 h 1180659"/>
                  <a:gd name="connsiteX3" fmla="*/ 0 w 1180036"/>
                  <a:gd name="connsiteY3" fmla="*/ 86980 h 1180659"/>
                  <a:gd name="connsiteX4" fmla="*/ 86934 w 1180036"/>
                  <a:gd name="connsiteY4" fmla="*/ 0 h 1180659"/>
                  <a:gd name="connsiteX5" fmla="*/ 1093102 w 1180036"/>
                  <a:gd name="connsiteY5" fmla="*/ 0 h 1180659"/>
                  <a:gd name="connsiteX6" fmla="*/ 1180036 w 1180036"/>
                  <a:gd name="connsiteY6" fmla="*/ 86980 h 1180659"/>
                  <a:gd name="connsiteX7" fmla="*/ 1180036 w 1180036"/>
                  <a:gd name="connsiteY7" fmla="*/ 1093680 h 1180659"/>
                  <a:gd name="connsiteX8" fmla="*/ 1093102 w 1180036"/>
                  <a:gd name="connsiteY8" fmla="*/ 1180660 h 118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036" h="1180659">
                    <a:moveTo>
                      <a:pt x="1093102" y="1180660"/>
                    </a:moveTo>
                    <a:lnTo>
                      <a:pt x="86934" y="1180660"/>
                    </a:lnTo>
                    <a:cubicBezTo>
                      <a:pt x="38911" y="1180660"/>
                      <a:pt x="0" y="1141728"/>
                      <a:pt x="0" y="1093680"/>
                    </a:cubicBezTo>
                    <a:lnTo>
                      <a:pt x="0" y="86980"/>
                    </a:lnTo>
                    <a:cubicBezTo>
                      <a:pt x="0" y="38932"/>
                      <a:pt x="38911" y="0"/>
                      <a:pt x="86934" y="0"/>
                    </a:cubicBezTo>
                    <a:lnTo>
                      <a:pt x="1093102" y="0"/>
                    </a:lnTo>
                    <a:cubicBezTo>
                      <a:pt x="1141125" y="0"/>
                      <a:pt x="1180036" y="38932"/>
                      <a:pt x="1180036" y="86980"/>
                    </a:cubicBezTo>
                    <a:lnTo>
                      <a:pt x="1180036" y="1093680"/>
                    </a:lnTo>
                    <a:cubicBezTo>
                      <a:pt x="1180036" y="1141728"/>
                      <a:pt x="1141125" y="1180660"/>
                      <a:pt x="1093102" y="1180660"/>
                    </a:cubicBezTo>
                  </a:path>
                </a:pathLst>
              </a:custGeom>
              <a:solidFill>
                <a:schemeClr val="tx1"/>
              </a:solidFill>
              <a:ln w="0" cap="flat">
                <a:noFill/>
                <a:prstDash val="solid"/>
                <a:miter/>
              </a:ln>
            </p:spPr>
            <p:txBody>
              <a:bodyPr rtlCol="0" anchor="ctr"/>
              <a:lstStyle/>
              <a:p>
                <a:endParaRPr lang="en-US"/>
              </a:p>
            </p:txBody>
          </p:sp>
          <p:sp>
            <p:nvSpPr>
              <p:cNvPr id="119" name="TextBox 118">
                <a:extLst>
                  <a:ext uri="{FF2B5EF4-FFF2-40B4-BE49-F238E27FC236}">
                    <a16:creationId xmlns:a16="http://schemas.microsoft.com/office/drawing/2014/main" id="{ABEA5653-DD41-ED60-85AD-46277455552F}"/>
                  </a:ext>
                </a:extLst>
              </p:cNvPr>
              <p:cNvSpPr txBox="1"/>
              <p:nvPr/>
            </p:nvSpPr>
            <p:spPr>
              <a:xfrm>
                <a:off x="7186368" y="4125102"/>
                <a:ext cx="1184671" cy="352050"/>
              </a:xfrm>
              <a:prstGeom prst="rect">
                <a:avLst/>
              </a:prstGeom>
              <a:noFill/>
            </p:spPr>
            <p:txBody>
              <a:bodyPr wrap="square" rtlCol="0">
                <a:spAutoFit/>
              </a:bodyPr>
              <a:lstStyle/>
              <a:p>
                <a:pPr algn="ctr"/>
                <a:r>
                  <a:rPr lang="en-US" sz="800" b="1">
                    <a:solidFill>
                      <a:schemeClr val="bg1"/>
                    </a:solidFill>
                    <a:latin typeface="ES Build SemiBold" pitchFamily="2" charset="77"/>
                    <a:ea typeface="ES Build SemiBold" pitchFamily="2" charset="77"/>
                    <a:cs typeface="Microsoft Sans Serif" panose="020B0604020202020204" pitchFamily="34" charset="0"/>
                  </a:rPr>
                  <a:t>Salesforce</a:t>
                </a:r>
              </a:p>
            </p:txBody>
          </p:sp>
        </p:grpSp>
        <p:pic>
          <p:nvPicPr>
            <p:cNvPr id="117" name="Graphic 116">
              <a:extLst>
                <a:ext uri="{FF2B5EF4-FFF2-40B4-BE49-F238E27FC236}">
                  <a16:creationId xmlns:a16="http://schemas.microsoft.com/office/drawing/2014/main" id="{058578D0-2F54-610E-0836-5CDF5EFD5D6D}"/>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a:xfrm>
              <a:off x="7229576" y="1992993"/>
              <a:ext cx="628824" cy="445891"/>
            </a:xfrm>
            <a:prstGeom prst="rect">
              <a:avLst/>
            </a:prstGeom>
          </p:spPr>
        </p:pic>
      </p:grpSp>
      <p:grpSp>
        <p:nvGrpSpPr>
          <p:cNvPr id="120" name="Group 119">
            <a:extLst>
              <a:ext uri="{FF2B5EF4-FFF2-40B4-BE49-F238E27FC236}">
                <a16:creationId xmlns:a16="http://schemas.microsoft.com/office/drawing/2014/main" id="{F9B5DF48-FDEB-DF79-00BA-6FB0E6AFD0C4}"/>
              </a:ext>
            </a:extLst>
          </p:cNvPr>
          <p:cNvGrpSpPr/>
          <p:nvPr/>
        </p:nvGrpSpPr>
        <p:grpSpPr>
          <a:xfrm>
            <a:off x="8287183" y="2961798"/>
            <a:ext cx="722146" cy="722527"/>
            <a:chOff x="3075428" y="1711717"/>
            <a:chExt cx="1180036" cy="1180659"/>
          </a:xfrm>
        </p:grpSpPr>
        <p:grpSp>
          <p:nvGrpSpPr>
            <p:cNvPr id="121" name="Group 120">
              <a:extLst>
                <a:ext uri="{FF2B5EF4-FFF2-40B4-BE49-F238E27FC236}">
                  <a16:creationId xmlns:a16="http://schemas.microsoft.com/office/drawing/2014/main" id="{C28304A7-C2E2-7A39-A08E-A25FA6463B8F}"/>
                </a:ext>
              </a:extLst>
            </p:cNvPr>
            <p:cNvGrpSpPr/>
            <p:nvPr/>
          </p:nvGrpSpPr>
          <p:grpSpPr>
            <a:xfrm>
              <a:off x="3075428" y="1711717"/>
              <a:ext cx="1180036" cy="1180659"/>
              <a:chOff x="5412399" y="4475676"/>
              <a:chExt cx="1180036" cy="1180659"/>
            </a:xfrm>
          </p:grpSpPr>
          <p:sp>
            <p:nvSpPr>
              <p:cNvPr id="123" name="Freeform 122">
                <a:extLst>
                  <a:ext uri="{FF2B5EF4-FFF2-40B4-BE49-F238E27FC236}">
                    <a16:creationId xmlns:a16="http://schemas.microsoft.com/office/drawing/2014/main" id="{860CE9CD-0DEF-ACAE-CA05-F9A5C52DBEDA}"/>
                  </a:ext>
                </a:extLst>
              </p:cNvPr>
              <p:cNvSpPr/>
              <p:nvPr/>
            </p:nvSpPr>
            <p:spPr>
              <a:xfrm>
                <a:off x="5412399" y="4475676"/>
                <a:ext cx="1180036" cy="1180659"/>
              </a:xfrm>
              <a:custGeom>
                <a:avLst/>
                <a:gdLst>
                  <a:gd name="connsiteX0" fmla="*/ 1093102 w 1180036"/>
                  <a:gd name="connsiteY0" fmla="*/ 1180660 h 1180659"/>
                  <a:gd name="connsiteX1" fmla="*/ 86934 w 1180036"/>
                  <a:gd name="connsiteY1" fmla="*/ 1180660 h 1180659"/>
                  <a:gd name="connsiteX2" fmla="*/ 0 w 1180036"/>
                  <a:gd name="connsiteY2" fmla="*/ 1093680 h 1180659"/>
                  <a:gd name="connsiteX3" fmla="*/ 0 w 1180036"/>
                  <a:gd name="connsiteY3" fmla="*/ 86980 h 1180659"/>
                  <a:gd name="connsiteX4" fmla="*/ 86934 w 1180036"/>
                  <a:gd name="connsiteY4" fmla="*/ 0 h 1180659"/>
                  <a:gd name="connsiteX5" fmla="*/ 1093102 w 1180036"/>
                  <a:gd name="connsiteY5" fmla="*/ 0 h 1180659"/>
                  <a:gd name="connsiteX6" fmla="*/ 1180036 w 1180036"/>
                  <a:gd name="connsiteY6" fmla="*/ 86980 h 1180659"/>
                  <a:gd name="connsiteX7" fmla="*/ 1180036 w 1180036"/>
                  <a:gd name="connsiteY7" fmla="*/ 1093680 h 1180659"/>
                  <a:gd name="connsiteX8" fmla="*/ 1093102 w 1180036"/>
                  <a:gd name="connsiteY8" fmla="*/ 1180660 h 118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036" h="1180659">
                    <a:moveTo>
                      <a:pt x="1093102" y="1180660"/>
                    </a:moveTo>
                    <a:lnTo>
                      <a:pt x="86934" y="1180660"/>
                    </a:lnTo>
                    <a:cubicBezTo>
                      <a:pt x="38911" y="1180660"/>
                      <a:pt x="0" y="1141728"/>
                      <a:pt x="0" y="1093680"/>
                    </a:cubicBezTo>
                    <a:lnTo>
                      <a:pt x="0" y="86980"/>
                    </a:lnTo>
                    <a:cubicBezTo>
                      <a:pt x="0" y="38932"/>
                      <a:pt x="38911" y="0"/>
                      <a:pt x="86934" y="0"/>
                    </a:cubicBezTo>
                    <a:lnTo>
                      <a:pt x="1093102" y="0"/>
                    </a:lnTo>
                    <a:cubicBezTo>
                      <a:pt x="1141125" y="0"/>
                      <a:pt x="1180036" y="38932"/>
                      <a:pt x="1180036" y="86980"/>
                    </a:cubicBezTo>
                    <a:lnTo>
                      <a:pt x="1180036" y="1093680"/>
                    </a:lnTo>
                    <a:cubicBezTo>
                      <a:pt x="1180036" y="1141728"/>
                      <a:pt x="1141125" y="1180660"/>
                      <a:pt x="1093102" y="1180660"/>
                    </a:cubicBezTo>
                  </a:path>
                </a:pathLst>
              </a:custGeom>
              <a:solidFill>
                <a:schemeClr val="tx1"/>
              </a:solidFill>
              <a:ln w="0" cap="flat">
                <a:noFill/>
                <a:prstDash val="solid"/>
                <a:miter/>
              </a:ln>
            </p:spPr>
            <p:txBody>
              <a:bodyPr rtlCol="0" anchor="ctr"/>
              <a:lstStyle/>
              <a:p>
                <a:endParaRPr lang="en-US"/>
              </a:p>
            </p:txBody>
          </p:sp>
          <p:grpSp>
            <p:nvGrpSpPr>
              <p:cNvPr id="129" name="Graphic 5">
                <a:extLst>
                  <a:ext uri="{FF2B5EF4-FFF2-40B4-BE49-F238E27FC236}">
                    <a16:creationId xmlns:a16="http://schemas.microsoft.com/office/drawing/2014/main" id="{C73B2FF3-FB44-9BC6-24B7-EDB738E44941}"/>
                  </a:ext>
                </a:extLst>
              </p:cNvPr>
              <p:cNvGrpSpPr/>
              <p:nvPr/>
            </p:nvGrpSpPr>
            <p:grpSpPr>
              <a:xfrm>
                <a:off x="5677235" y="5428200"/>
                <a:ext cx="649692" cy="162303"/>
                <a:chOff x="5677235" y="5428200"/>
                <a:chExt cx="649692" cy="162303"/>
              </a:xfrm>
              <a:solidFill>
                <a:srgbClr val="FFFFFF"/>
              </a:solidFill>
            </p:grpSpPr>
            <p:sp>
              <p:nvSpPr>
                <p:cNvPr id="130" name="Freeform 129">
                  <a:extLst>
                    <a:ext uri="{FF2B5EF4-FFF2-40B4-BE49-F238E27FC236}">
                      <a16:creationId xmlns:a16="http://schemas.microsoft.com/office/drawing/2014/main" id="{A4CFDB2A-0C1F-32D4-EE10-DD7B053AEE52}"/>
                    </a:ext>
                  </a:extLst>
                </p:cNvPr>
                <p:cNvSpPr/>
                <p:nvPr/>
              </p:nvSpPr>
              <p:spPr>
                <a:xfrm>
                  <a:off x="5677235" y="5432683"/>
                  <a:ext cx="92909" cy="122325"/>
                </a:xfrm>
                <a:custGeom>
                  <a:avLst/>
                  <a:gdLst>
                    <a:gd name="connsiteX0" fmla="*/ 0 w 92909"/>
                    <a:gd name="connsiteY0" fmla="*/ 0 h 122325"/>
                    <a:gd name="connsiteX1" fmla="*/ 50936 w 92909"/>
                    <a:gd name="connsiteY1" fmla="*/ 0 h 122325"/>
                    <a:gd name="connsiteX2" fmla="*/ 92909 w 92909"/>
                    <a:gd name="connsiteY2" fmla="*/ 39455 h 122325"/>
                    <a:gd name="connsiteX3" fmla="*/ 50936 w 92909"/>
                    <a:gd name="connsiteY3" fmla="*/ 78910 h 122325"/>
                    <a:gd name="connsiteX4" fmla="*/ 25094 w 92909"/>
                    <a:gd name="connsiteY4" fmla="*/ 78910 h 122325"/>
                    <a:gd name="connsiteX5" fmla="*/ 25094 w 92909"/>
                    <a:gd name="connsiteY5" fmla="*/ 122325 h 122325"/>
                    <a:gd name="connsiteX6" fmla="*/ 0 w 92909"/>
                    <a:gd name="connsiteY6" fmla="*/ 122325 h 122325"/>
                    <a:gd name="connsiteX7" fmla="*/ 0 w 92909"/>
                    <a:gd name="connsiteY7" fmla="*/ 0 h 122325"/>
                    <a:gd name="connsiteX8" fmla="*/ 47351 w 92909"/>
                    <a:gd name="connsiteY8" fmla="*/ 55222 h 122325"/>
                    <a:gd name="connsiteX9" fmla="*/ 67442 w 92909"/>
                    <a:gd name="connsiteY9" fmla="*/ 39455 h 122325"/>
                    <a:gd name="connsiteX10" fmla="*/ 47351 w 92909"/>
                    <a:gd name="connsiteY10" fmla="*/ 23688 h 122325"/>
                    <a:gd name="connsiteX11" fmla="*/ 25094 w 92909"/>
                    <a:gd name="connsiteY11" fmla="*/ 23688 h 122325"/>
                    <a:gd name="connsiteX12" fmla="*/ 25094 w 92909"/>
                    <a:gd name="connsiteY12" fmla="*/ 55222 h 122325"/>
                    <a:gd name="connsiteX13" fmla="*/ 47351 w 92909"/>
                    <a:gd name="connsiteY13" fmla="*/ 55222 h 122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2909" h="122325">
                      <a:moveTo>
                        <a:pt x="0" y="0"/>
                      </a:moveTo>
                      <a:lnTo>
                        <a:pt x="50936" y="0"/>
                      </a:lnTo>
                      <a:cubicBezTo>
                        <a:pt x="73342" y="0"/>
                        <a:pt x="92909" y="12554"/>
                        <a:pt x="92909" y="39455"/>
                      </a:cubicBezTo>
                      <a:cubicBezTo>
                        <a:pt x="92909" y="66356"/>
                        <a:pt x="73342" y="78910"/>
                        <a:pt x="50936" y="78910"/>
                      </a:cubicBezTo>
                      <a:lnTo>
                        <a:pt x="25094" y="78910"/>
                      </a:lnTo>
                      <a:lnTo>
                        <a:pt x="25094" y="122325"/>
                      </a:lnTo>
                      <a:lnTo>
                        <a:pt x="0" y="122325"/>
                      </a:lnTo>
                      <a:lnTo>
                        <a:pt x="0" y="0"/>
                      </a:lnTo>
                      <a:close/>
                      <a:moveTo>
                        <a:pt x="47351" y="55222"/>
                      </a:moveTo>
                      <a:cubicBezTo>
                        <a:pt x="58479" y="55222"/>
                        <a:pt x="67442" y="50589"/>
                        <a:pt x="67442" y="39455"/>
                      </a:cubicBezTo>
                      <a:cubicBezTo>
                        <a:pt x="67442" y="28321"/>
                        <a:pt x="58479" y="23688"/>
                        <a:pt x="47351" y="23688"/>
                      </a:cubicBezTo>
                      <a:lnTo>
                        <a:pt x="25094" y="23688"/>
                      </a:lnTo>
                      <a:lnTo>
                        <a:pt x="25094" y="55222"/>
                      </a:lnTo>
                      <a:lnTo>
                        <a:pt x="47351" y="55222"/>
                      </a:lnTo>
                      <a:close/>
                    </a:path>
                  </a:pathLst>
                </a:custGeom>
                <a:solidFill>
                  <a:srgbClr val="FFFFFF"/>
                </a:solidFill>
                <a:ln w="0" cap="flat">
                  <a:noFill/>
                  <a:prstDash val="solid"/>
                  <a:miter/>
                </a:ln>
              </p:spPr>
              <p:txBody>
                <a:bodyPr rtlCol="0" anchor="ctr"/>
                <a:lstStyle/>
                <a:p>
                  <a:endParaRPr lang="en-US"/>
                </a:p>
              </p:txBody>
            </p:sp>
            <p:sp>
              <p:nvSpPr>
                <p:cNvPr id="131" name="Freeform 130">
                  <a:extLst>
                    <a:ext uri="{FF2B5EF4-FFF2-40B4-BE49-F238E27FC236}">
                      <a16:creationId xmlns:a16="http://schemas.microsoft.com/office/drawing/2014/main" id="{3731992B-11F3-C189-FF86-EB958C39C838}"/>
                    </a:ext>
                  </a:extLst>
                </p:cNvPr>
                <p:cNvSpPr/>
                <p:nvPr/>
              </p:nvSpPr>
              <p:spPr>
                <a:xfrm>
                  <a:off x="5785455" y="5432683"/>
                  <a:ext cx="82303" cy="122325"/>
                </a:xfrm>
                <a:custGeom>
                  <a:avLst/>
                  <a:gdLst>
                    <a:gd name="connsiteX0" fmla="*/ 0 w 82303"/>
                    <a:gd name="connsiteY0" fmla="*/ 0 h 122325"/>
                    <a:gd name="connsiteX1" fmla="*/ 24721 w 82303"/>
                    <a:gd name="connsiteY1" fmla="*/ 0 h 122325"/>
                    <a:gd name="connsiteX2" fmla="*/ 24721 w 82303"/>
                    <a:gd name="connsiteY2" fmla="*/ 49468 h 122325"/>
                    <a:gd name="connsiteX3" fmla="*/ 50562 w 82303"/>
                    <a:gd name="connsiteY3" fmla="*/ 36018 h 122325"/>
                    <a:gd name="connsiteX4" fmla="*/ 82304 w 82303"/>
                    <a:gd name="connsiteY4" fmla="*/ 73156 h 122325"/>
                    <a:gd name="connsiteX5" fmla="*/ 82304 w 82303"/>
                    <a:gd name="connsiteY5" fmla="*/ 122325 h 122325"/>
                    <a:gd name="connsiteX6" fmla="*/ 57583 w 82303"/>
                    <a:gd name="connsiteY6" fmla="*/ 122325 h 122325"/>
                    <a:gd name="connsiteX7" fmla="*/ 57583 w 82303"/>
                    <a:gd name="connsiteY7" fmla="*/ 77117 h 122325"/>
                    <a:gd name="connsiteX8" fmla="*/ 41973 w 82303"/>
                    <a:gd name="connsiteY8" fmla="*/ 57912 h 122325"/>
                    <a:gd name="connsiteX9" fmla="*/ 24796 w 82303"/>
                    <a:gd name="connsiteY9" fmla="*/ 79283 h 122325"/>
                    <a:gd name="connsiteX10" fmla="*/ 24796 w 82303"/>
                    <a:gd name="connsiteY10" fmla="*/ 122325 h 122325"/>
                    <a:gd name="connsiteX11" fmla="*/ 75 w 82303"/>
                    <a:gd name="connsiteY11" fmla="*/ 122325 h 122325"/>
                    <a:gd name="connsiteX12" fmla="*/ 75 w 82303"/>
                    <a:gd name="connsiteY12" fmla="*/ 0 h 122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303" h="122325">
                      <a:moveTo>
                        <a:pt x="0" y="0"/>
                      </a:moveTo>
                      <a:lnTo>
                        <a:pt x="24721" y="0"/>
                      </a:lnTo>
                      <a:lnTo>
                        <a:pt x="24721" y="49468"/>
                      </a:lnTo>
                      <a:cubicBezTo>
                        <a:pt x="29725" y="41547"/>
                        <a:pt x="39210" y="36018"/>
                        <a:pt x="50562" y="36018"/>
                      </a:cubicBezTo>
                      <a:cubicBezTo>
                        <a:pt x="67591" y="36018"/>
                        <a:pt x="82304" y="47152"/>
                        <a:pt x="82304" y="73156"/>
                      </a:cubicBezTo>
                      <a:lnTo>
                        <a:pt x="82304" y="122325"/>
                      </a:lnTo>
                      <a:lnTo>
                        <a:pt x="57583" y="122325"/>
                      </a:lnTo>
                      <a:lnTo>
                        <a:pt x="57583" y="77117"/>
                      </a:lnTo>
                      <a:cubicBezTo>
                        <a:pt x="57583" y="62395"/>
                        <a:pt x="49890" y="57912"/>
                        <a:pt x="41973" y="57912"/>
                      </a:cubicBezTo>
                      <a:cubicBezTo>
                        <a:pt x="30472" y="57912"/>
                        <a:pt x="24796" y="67028"/>
                        <a:pt x="24796" y="79283"/>
                      </a:cubicBezTo>
                      <a:lnTo>
                        <a:pt x="24796" y="122325"/>
                      </a:lnTo>
                      <a:lnTo>
                        <a:pt x="75" y="122325"/>
                      </a:lnTo>
                      <a:lnTo>
                        <a:pt x="75" y="0"/>
                      </a:lnTo>
                      <a:close/>
                    </a:path>
                  </a:pathLst>
                </a:custGeom>
                <a:solidFill>
                  <a:srgbClr val="FFFFFF"/>
                </a:solidFill>
                <a:ln w="0" cap="flat">
                  <a:noFill/>
                  <a:prstDash val="solid"/>
                  <a:miter/>
                </a:ln>
              </p:spPr>
              <p:txBody>
                <a:bodyPr rtlCol="0" anchor="ctr"/>
                <a:lstStyle/>
                <a:p>
                  <a:endParaRPr lang="en-US"/>
                </a:p>
              </p:txBody>
            </p:sp>
            <p:sp>
              <p:nvSpPr>
                <p:cNvPr id="132" name="Freeform 131">
                  <a:extLst>
                    <a:ext uri="{FF2B5EF4-FFF2-40B4-BE49-F238E27FC236}">
                      <a16:creationId xmlns:a16="http://schemas.microsoft.com/office/drawing/2014/main" id="{F2C43850-AC33-82EA-733B-FA94FF926E8A}"/>
                    </a:ext>
                  </a:extLst>
                </p:cNvPr>
                <p:cNvSpPr/>
                <p:nvPr/>
              </p:nvSpPr>
              <p:spPr>
                <a:xfrm>
                  <a:off x="5874182" y="5470644"/>
                  <a:ext cx="91266" cy="119859"/>
                </a:xfrm>
                <a:custGeom>
                  <a:avLst/>
                  <a:gdLst>
                    <a:gd name="connsiteX0" fmla="*/ 49293 w 91266"/>
                    <a:gd name="connsiteY0" fmla="*/ 46703 h 119859"/>
                    <a:gd name="connsiteX1" fmla="*/ 64006 w 91266"/>
                    <a:gd name="connsiteY1" fmla="*/ 75 h 119859"/>
                    <a:gd name="connsiteX2" fmla="*/ 91266 w 91266"/>
                    <a:gd name="connsiteY2" fmla="*/ 75 h 119859"/>
                    <a:gd name="connsiteX3" fmla="*/ 45409 w 91266"/>
                    <a:gd name="connsiteY3" fmla="*/ 119860 h 119859"/>
                    <a:gd name="connsiteX4" fmla="*/ 17626 w 91266"/>
                    <a:gd name="connsiteY4" fmla="*/ 119860 h 119859"/>
                    <a:gd name="connsiteX5" fmla="*/ 33011 w 91266"/>
                    <a:gd name="connsiteY5" fmla="*/ 85037 h 119859"/>
                    <a:gd name="connsiteX6" fmla="*/ 0 w 91266"/>
                    <a:gd name="connsiteY6" fmla="*/ 0 h 119859"/>
                    <a:gd name="connsiteX7" fmla="*/ 27783 w 91266"/>
                    <a:gd name="connsiteY7" fmla="*/ 0 h 119859"/>
                    <a:gd name="connsiteX8" fmla="*/ 42496 w 91266"/>
                    <a:gd name="connsiteY8" fmla="*/ 46629 h 119859"/>
                    <a:gd name="connsiteX9" fmla="*/ 45708 w 91266"/>
                    <a:gd name="connsiteY9" fmla="*/ 61350 h 119859"/>
                    <a:gd name="connsiteX10" fmla="*/ 46081 w 91266"/>
                    <a:gd name="connsiteY10" fmla="*/ 61350 h 119859"/>
                    <a:gd name="connsiteX11" fmla="*/ 49293 w 91266"/>
                    <a:gd name="connsiteY11" fmla="*/ 46629 h 119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266" h="119859">
                      <a:moveTo>
                        <a:pt x="49293" y="46703"/>
                      </a:moveTo>
                      <a:lnTo>
                        <a:pt x="64006" y="75"/>
                      </a:lnTo>
                      <a:lnTo>
                        <a:pt x="91266" y="75"/>
                      </a:lnTo>
                      <a:lnTo>
                        <a:pt x="45409" y="119860"/>
                      </a:lnTo>
                      <a:lnTo>
                        <a:pt x="17626" y="119860"/>
                      </a:lnTo>
                      <a:lnTo>
                        <a:pt x="33011" y="85037"/>
                      </a:lnTo>
                      <a:lnTo>
                        <a:pt x="0" y="0"/>
                      </a:lnTo>
                      <a:lnTo>
                        <a:pt x="27783" y="0"/>
                      </a:lnTo>
                      <a:lnTo>
                        <a:pt x="42496" y="46629"/>
                      </a:lnTo>
                      <a:cubicBezTo>
                        <a:pt x="44140" y="51635"/>
                        <a:pt x="45036" y="55970"/>
                        <a:pt x="45708" y="61350"/>
                      </a:cubicBezTo>
                      <a:lnTo>
                        <a:pt x="46081" y="61350"/>
                      </a:lnTo>
                      <a:cubicBezTo>
                        <a:pt x="46828" y="55970"/>
                        <a:pt x="47724" y="51635"/>
                        <a:pt x="49293" y="46629"/>
                      </a:cubicBezTo>
                      <a:close/>
                    </a:path>
                  </a:pathLst>
                </a:custGeom>
                <a:solidFill>
                  <a:srgbClr val="FFFFFF"/>
                </a:solidFill>
                <a:ln w="0" cap="flat">
                  <a:noFill/>
                  <a:prstDash val="solid"/>
                  <a:miter/>
                </a:ln>
              </p:spPr>
              <p:txBody>
                <a:bodyPr rtlCol="0" anchor="ctr"/>
                <a:lstStyle/>
                <a:p>
                  <a:endParaRPr lang="en-US"/>
                </a:p>
              </p:txBody>
            </p:sp>
            <p:sp>
              <p:nvSpPr>
                <p:cNvPr id="133" name="Freeform 132">
                  <a:extLst>
                    <a:ext uri="{FF2B5EF4-FFF2-40B4-BE49-F238E27FC236}">
                      <a16:creationId xmlns:a16="http://schemas.microsoft.com/office/drawing/2014/main" id="{BDB202C1-112D-D880-FCA7-BB9AC39F507A}"/>
                    </a:ext>
                  </a:extLst>
                </p:cNvPr>
                <p:cNvSpPr/>
                <p:nvPr/>
              </p:nvSpPr>
              <p:spPr>
                <a:xfrm>
                  <a:off x="5971199" y="5468774"/>
                  <a:ext cx="67964" cy="88177"/>
                </a:xfrm>
                <a:custGeom>
                  <a:avLst/>
                  <a:gdLst>
                    <a:gd name="connsiteX0" fmla="*/ 0 w 67964"/>
                    <a:gd name="connsiteY0" fmla="*/ 61127 h 88177"/>
                    <a:gd name="connsiteX1" fmla="*/ 23302 w 67964"/>
                    <a:gd name="connsiteY1" fmla="*/ 61127 h 88177"/>
                    <a:gd name="connsiteX2" fmla="*/ 35476 w 67964"/>
                    <a:gd name="connsiteY2" fmla="*/ 69197 h 88177"/>
                    <a:gd name="connsiteX3" fmla="*/ 44588 w 67964"/>
                    <a:gd name="connsiteY3" fmla="*/ 62921 h 88177"/>
                    <a:gd name="connsiteX4" fmla="*/ 2091 w 67964"/>
                    <a:gd name="connsiteY4" fmla="*/ 25633 h 88177"/>
                    <a:gd name="connsiteX5" fmla="*/ 33310 w 67964"/>
                    <a:gd name="connsiteY5" fmla="*/ 2 h 88177"/>
                    <a:gd name="connsiteX6" fmla="*/ 66321 w 67964"/>
                    <a:gd name="connsiteY6" fmla="*/ 26156 h 88177"/>
                    <a:gd name="connsiteX7" fmla="*/ 43392 w 67964"/>
                    <a:gd name="connsiteY7" fmla="*/ 26156 h 88177"/>
                    <a:gd name="connsiteX8" fmla="*/ 33385 w 67964"/>
                    <a:gd name="connsiteY8" fmla="*/ 18982 h 88177"/>
                    <a:gd name="connsiteX9" fmla="*/ 24796 w 67964"/>
                    <a:gd name="connsiteY9" fmla="*/ 25633 h 88177"/>
                    <a:gd name="connsiteX10" fmla="*/ 67964 w 67964"/>
                    <a:gd name="connsiteY10" fmla="*/ 62921 h 88177"/>
                    <a:gd name="connsiteX11" fmla="*/ 35551 w 67964"/>
                    <a:gd name="connsiteY11" fmla="*/ 88178 h 88177"/>
                    <a:gd name="connsiteX12" fmla="*/ 75 w 67964"/>
                    <a:gd name="connsiteY12" fmla="*/ 61127 h 88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964" h="88177">
                      <a:moveTo>
                        <a:pt x="0" y="61127"/>
                      </a:moveTo>
                      <a:lnTo>
                        <a:pt x="23302" y="61127"/>
                      </a:lnTo>
                      <a:cubicBezTo>
                        <a:pt x="24572" y="66881"/>
                        <a:pt x="29725" y="69197"/>
                        <a:pt x="35476" y="69197"/>
                      </a:cubicBezTo>
                      <a:cubicBezTo>
                        <a:pt x="40853" y="69197"/>
                        <a:pt x="44588" y="66881"/>
                        <a:pt x="44588" y="62921"/>
                      </a:cubicBezTo>
                      <a:cubicBezTo>
                        <a:pt x="44588" y="50740"/>
                        <a:pt x="2091" y="58811"/>
                        <a:pt x="2091" y="25633"/>
                      </a:cubicBezTo>
                      <a:cubicBezTo>
                        <a:pt x="2091" y="10912"/>
                        <a:pt x="14489" y="151"/>
                        <a:pt x="33310" y="2"/>
                      </a:cubicBezTo>
                      <a:cubicBezTo>
                        <a:pt x="52280" y="-147"/>
                        <a:pt x="65052" y="9865"/>
                        <a:pt x="66321" y="26156"/>
                      </a:cubicBezTo>
                      <a:lnTo>
                        <a:pt x="43392" y="26156"/>
                      </a:lnTo>
                      <a:cubicBezTo>
                        <a:pt x="42496" y="22046"/>
                        <a:pt x="38911" y="18982"/>
                        <a:pt x="33385" y="18982"/>
                      </a:cubicBezTo>
                      <a:cubicBezTo>
                        <a:pt x="27858" y="18982"/>
                        <a:pt x="24796" y="22046"/>
                        <a:pt x="24796" y="25633"/>
                      </a:cubicBezTo>
                      <a:cubicBezTo>
                        <a:pt x="24796" y="37140"/>
                        <a:pt x="67964" y="30639"/>
                        <a:pt x="67964" y="62921"/>
                      </a:cubicBezTo>
                      <a:cubicBezTo>
                        <a:pt x="67964" y="78538"/>
                        <a:pt x="52579" y="88178"/>
                        <a:pt x="35551" y="88178"/>
                      </a:cubicBezTo>
                      <a:cubicBezTo>
                        <a:pt x="15460" y="88178"/>
                        <a:pt x="1494" y="76670"/>
                        <a:pt x="75" y="61127"/>
                      </a:cubicBezTo>
                      <a:close/>
                    </a:path>
                  </a:pathLst>
                </a:custGeom>
                <a:solidFill>
                  <a:srgbClr val="FFFFFF"/>
                </a:solidFill>
                <a:ln w="0" cap="flat">
                  <a:noFill/>
                  <a:prstDash val="solid"/>
                  <a:miter/>
                </a:ln>
              </p:spPr>
              <p:txBody>
                <a:bodyPr rtlCol="0" anchor="ctr"/>
                <a:lstStyle/>
                <a:p>
                  <a:endParaRPr lang="en-US"/>
                </a:p>
              </p:txBody>
            </p:sp>
            <p:sp>
              <p:nvSpPr>
                <p:cNvPr id="134" name="Freeform 133">
                  <a:extLst>
                    <a:ext uri="{FF2B5EF4-FFF2-40B4-BE49-F238E27FC236}">
                      <a16:creationId xmlns:a16="http://schemas.microsoft.com/office/drawing/2014/main" id="{FCAD7AC6-7DF0-E257-5EC5-4B3576EBB9B4}"/>
                    </a:ext>
                  </a:extLst>
                </p:cNvPr>
                <p:cNvSpPr/>
                <p:nvPr/>
              </p:nvSpPr>
              <p:spPr>
                <a:xfrm>
                  <a:off x="6050963" y="5428200"/>
                  <a:ext cx="30770" cy="126809"/>
                </a:xfrm>
                <a:custGeom>
                  <a:avLst/>
                  <a:gdLst>
                    <a:gd name="connsiteX0" fmla="*/ 0 w 30770"/>
                    <a:gd name="connsiteY0" fmla="*/ 15095 h 126809"/>
                    <a:gd name="connsiteX1" fmla="*/ 15386 w 30770"/>
                    <a:gd name="connsiteY1" fmla="*/ 0 h 126809"/>
                    <a:gd name="connsiteX2" fmla="*/ 30771 w 30770"/>
                    <a:gd name="connsiteY2" fmla="*/ 15095 h 126809"/>
                    <a:gd name="connsiteX3" fmla="*/ 15386 w 30770"/>
                    <a:gd name="connsiteY3" fmla="*/ 29816 h 126809"/>
                    <a:gd name="connsiteX4" fmla="*/ 0 w 30770"/>
                    <a:gd name="connsiteY4" fmla="*/ 15095 h 126809"/>
                    <a:gd name="connsiteX5" fmla="*/ 3062 w 30770"/>
                    <a:gd name="connsiteY5" fmla="*/ 42519 h 126809"/>
                    <a:gd name="connsiteX6" fmla="*/ 27783 w 30770"/>
                    <a:gd name="connsiteY6" fmla="*/ 42519 h 126809"/>
                    <a:gd name="connsiteX7" fmla="*/ 27783 w 30770"/>
                    <a:gd name="connsiteY7" fmla="*/ 126809 h 126809"/>
                    <a:gd name="connsiteX8" fmla="*/ 3062 w 30770"/>
                    <a:gd name="connsiteY8" fmla="*/ 126809 h 126809"/>
                    <a:gd name="connsiteX9" fmla="*/ 3062 w 30770"/>
                    <a:gd name="connsiteY9" fmla="*/ 42519 h 126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770" h="126809">
                      <a:moveTo>
                        <a:pt x="0" y="15095"/>
                      </a:moveTo>
                      <a:cubicBezTo>
                        <a:pt x="0" y="6651"/>
                        <a:pt x="7020" y="0"/>
                        <a:pt x="15386" y="0"/>
                      </a:cubicBezTo>
                      <a:cubicBezTo>
                        <a:pt x="23751" y="0"/>
                        <a:pt x="30771" y="6651"/>
                        <a:pt x="30771" y="15095"/>
                      </a:cubicBezTo>
                      <a:cubicBezTo>
                        <a:pt x="30771" y="23539"/>
                        <a:pt x="23751" y="29816"/>
                        <a:pt x="15386" y="29816"/>
                      </a:cubicBezTo>
                      <a:cubicBezTo>
                        <a:pt x="7020" y="29816"/>
                        <a:pt x="0" y="23389"/>
                        <a:pt x="0" y="15095"/>
                      </a:cubicBezTo>
                      <a:close/>
                      <a:moveTo>
                        <a:pt x="3062" y="42519"/>
                      </a:moveTo>
                      <a:lnTo>
                        <a:pt x="27783" y="42519"/>
                      </a:lnTo>
                      <a:lnTo>
                        <a:pt x="27783" y="126809"/>
                      </a:lnTo>
                      <a:lnTo>
                        <a:pt x="3062" y="126809"/>
                      </a:lnTo>
                      <a:lnTo>
                        <a:pt x="3062" y="42519"/>
                      </a:lnTo>
                      <a:close/>
                    </a:path>
                  </a:pathLst>
                </a:custGeom>
                <a:solidFill>
                  <a:srgbClr val="FFFFFF"/>
                </a:solidFill>
                <a:ln w="0" cap="flat">
                  <a:noFill/>
                  <a:prstDash val="solid"/>
                  <a:miter/>
                </a:ln>
              </p:spPr>
              <p:txBody>
                <a:bodyPr rtlCol="0" anchor="ctr"/>
                <a:lstStyle/>
                <a:p>
                  <a:endParaRPr lang="en-US"/>
                </a:p>
              </p:txBody>
            </p:sp>
            <p:sp>
              <p:nvSpPr>
                <p:cNvPr id="135" name="Freeform 134">
                  <a:extLst>
                    <a:ext uri="{FF2B5EF4-FFF2-40B4-BE49-F238E27FC236}">
                      <a16:creationId xmlns:a16="http://schemas.microsoft.com/office/drawing/2014/main" id="{E406C263-7C43-5297-7756-5C27A233DE0A}"/>
                    </a:ext>
                  </a:extLst>
                </p:cNvPr>
                <p:cNvSpPr/>
                <p:nvPr/>
              </p:nvSpPr>
              <p:spPr>
                <a:xfrm>
                  <a:off x="6092489" y="5468775"/>
                  <a:ext cx="86933" cy="88176"/>
                </a:xfrm>
                <a:custGeom>
                  <a:avLst/>
                  <a:gdLst>
                    <a:gd name="connsiteX0" fmla="*/ 0 w 86933"/>
                    <a:gd name="connsiteY0" fmla="*/ 44088 h 88176"/>
                    <a:gd name="connsiteX1" fmla="*/ 44961 w 86933"/>
                    <a:gd name="connsiteY1" fmla="*/ 0 h 88176"/>
                    <a:gd name="connsiteX2" fmla="*/ 86934 w 86933"/>
                    <a:gd name="connsiteY2" fmla="*/ 33178 h 88176"/>
                    <a:gd name="connsiteX3" fmla="*/ 63109 w 86933"/>
                    <a:gd name="connsiteY3" fmla="*/ 33178 h 88176"/>
                    <a:gd name="connsiteX4" fmla="*/ 45558 w 86933"/>
                    <a:gd name="connsiteY4" fmla="*/ 21521 h 88176"/>
                    <a:gd name="connsiteX5" fmla="*/ 24422 w 86933"/>
                    <a:gd name="connsiteY5" fmla="*/ 44088 h 88176"/>
                    <a:gd name="connsiteX6" fmla="*/ 45558 w 86933"/>
                    <a:gd name="connsiteY6" fmla="*/ 66655 h 88176"/>
                    <a:gd name="connsiteX7" fmla="*/ 63109 w 86933"/>
                    <a:gd name="connsiteY7" fmla="*/ 54998 h 88176"/>
                    <a:gd name="connsiteX8" fmla="*/ 86934 w 86933"/>
                    <a:gd name="connsiteY8" fmla="*/ 54998 h 88176"/>
                    <a:gd name="connsiteX9" fmla="*/ 44961 w 86933"/>
                    <a:gd name="connsiteY9" fmla="*/ 88176 h 88176"/>
                    <a:gd name="connsiteX10" fmla="*/ 0 w 86933"/>
                    <a:gd name="connsiteY10" fmla="*/ 44088 h 88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933" h="88176">
                      <a:moveTo>
                        <a:pt x="0" y="44088"/>
                      </a:moveTo>
                      <a:cubicBezTo>
                        <a:pt x="0" y="18981"/>
                        <a:pt x="18821" y="0"/>
                        <a:pt x="44961" y="0"/>
                      </a:cubicBezTo>
                      <a:cubicBezTo>
                        <a:pt x="67217" y="0"/>
                        <a:pt x="83648" y="13077"/>
                        <a:pt x="86934" y="33178"/>
                      </a:cubicBezTo>
                      <a:lnTo>
                        <a:pt x="63109" y="33178"/>
                      </a:lnTo>
                      <a:cubicBezTo>
                        <a:pt x="60047" y="25482"/>
                        <a:pt x="54147" y="21521"/>
                        <a:pt x="45558" y="21521"/>
                      </a:cubicBezTo>
                      <a:cubicBezTo>
                        <a:pt x="33160" y="21521"/>
                        <a:pt x="24422" y="30862"/>
                        <a:pt x="24422" y="44088"/>
                      </a:cubicBezTo>
                      <a:cubicBezTo>
                        <a:pt x="24422" y="57315"/>
                        <a:pt x="33235" y="66655"/>
                        <a:pt x="45558" y="66655"/>
                      </a:cubicBezTo>
                      <a:cubicBezTo>
                        <a:pt x="54147" y="66655"/>
                        <a:pt x="60047" y="62695"/>
                        <a:pt x="63109" y="54998"/>
                      </a:cubicBezTo>
                      <a:lnTo>
                        <a:pt x="86934" y="54998"/>
                      </a:lnTo>
                      <a:cubicBezTo>
                        <a:pt x="83723" y="75099"/>
                        <a:pt x="67217" y="88176"/>
                        <a:pt x="44961" y="88176"/>
                      </a:cubicBezTo>
                      <a:cubicBezTo>
                        <a:pt x="18821" y="88176"/>
                        <a:pt x="0" y="69196"/>
                        <a:pt x="0" y="44088"/>
                      </a:cubicBezTo>
                      <a:close/>
                    </a:path>
                  </a:pathLst>
                </a:custGeom>
                <a:solidFill>
                  <a:srgbClr val="FFFFFF"/>
                </a:solidFill>
                <a:ln w="0" cap="flat">
                  <a:noFill/>
                  <a:prstDash val="solid"/>
                  <a:miter/>
                </a:ln>
              </p:spPr>
              <p:txBody>
                <a:bodyPr rtlCol="0" anchor="ctr"/>
                <a:lstStyle/>
                <a:p>
                  <a:endParaRPr lang="en-US"/>
                </a:p>
              </p:txBody>
            </p:sp>
            <p:sp>
              <p:nvSpPr>
                <p:cNvPr id="136" name="Freeform 135">
                  <a:extLst>
                    <a:ext uri="{FF2B5EF4-FFF2-40B4-BE49-F238E27FC236}">
                      <a16:creationId xmlns:a16="http://schemas.microsoft.com/office/drawing/2014/main" id="{7774AF3A-C75B-D238-B22D-F6341E606226}"/>
                    </a:ext>
                  </a:extLst>
                </p:cNvPr>
                <p:cNvSpPr/>
                <p:nvPr/>
              </p:nvSpPr>
              <p:spPr>
                <a:xfrm>
                  <a:off x="6188759" y="5468775"/>
                  <a:ext cx="89100" cy="88325"/>
                </a:xfrm>
                <a:custGeom>
                  <a:avLst/>
                  <a:gdLst>
                    <a:gd name="connsiteX0" fmla="*/ 0 w 89100"/>
                    <a:gd name="connsiteY0" fmla="*/ 44088 h 88325"/>
                    <a:gd name="connsiteX1" fmla="*/ 38538 w 89100"/>
                    <a:gd name="connsiteY1" fmla="*/ 0 h 88325"/>
                    <a:gd name="connsiteX2" fmla="*/ 65948 w 89100"/>
                    <a:gd name="connsiteY2" fmla="*/ 15095 h 88325"/>
                    <a:gd name="connsiteX3" fmla="*/ 68113 w 89100"/>
                    <a:gd name="connsiteY3" fmla="*/ 2018 h 88325"/>
                    <a:gd name="connsiteX4" fmla="*/ 89100 w 89100"/>
                    <a:gd name="connsiteY4" fmla="*/ 2018 h 88325"/>
                    <a:gd name="connsiteX5" fmla="*/ 89100 w 89100"/>
                    <a:gd name="connsiteY5" fmla="*/ 86308 h 88325"/>
                    <a:gd name="connsiteX6" fmla="*/ 67217 w 89100"/>
                    <a:gd name="connsiteY6" fmla="*/ 86308 h 88325"/>
                    <a:gd name="connsiteX7" fmla="*/ 65798 w 89100"/>
                    <a:gd name="connsiteY7" fmla="*/ 73605 h 88325"/>
                    <a:gd name="connsiteX8" fmla="*/ 38538 w 89100"/>
                    <a:gd name="connsiteY8" fmla="*/ 88325 h 88325"/>
                    <a:gd name="connsiteX9" fmla="*/ 0 w 89100"/>
                    <a:gd name="connsiteY9" fmla="*/ 44238 h 88325"/>
                    <a:gd name="connsiteX10" fmla="*/ 65425 w 89100"/>
                    <a:gd name="connsiteY10" fmla="*/ 44088 h 88325"/>
                    <a:gd name="connsiteX11" fmla="*/ 45559 w 89100"/>
                    <a:gd name="connsiteY11" fmla="*/ 21521 h 88325"/>
                    <a:gd name="connsiteX12" fmla="*/ 24422 w 89100"/>
                    <a:gd name="connsiteY12" fmla="*/ 44088 h 88325"/>
                    <a:gd name="connsiteX13" fmla="*/ 45559 w 89100"/>
                    <a:gd name="connsiteY13" fmla="*/ 66655 h 88325"/>
                    <a:gd name="connsiteX14" fmla="*/ 65425 w 89100"/>
                    <a:gd name="connsiteY14" fmla="*/ 44088 h 88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9100" h="88325">
                      <a:moveTo>
                        <a:pt x="0" y="44088"/>
                      </a:moveTo>
                      <a:cubicBezTo>
                        <a:pt x="0" y="14646"/>
                        <a:pt x="19568" y="0"/>
                        <a:pt x="38538" y="0"/>
                      </a:cubicBezTo>
                      <a:cubicBezTo>
                        <a:pt x="52131" y="0"/>
                        <a:pt x="61467" y="5754"/>
                        <a:pt x="65948" y="15095"/>
                      </a:cubicBezTo>
                      <a:lnTo>
                        <a:pt x="68113" y="2018"/>
                      </a:lnTo>
                      <a:lnTo>
                        <a:pt x="89100" y="2018"/>
                      </a:lnTo>
                      <a:lnTo>
                        <a:pt x="89100" y="86308"/>
                      </a:lnTo>
                      <a:lnTo>
                        <a:pt x="67217" y="86308"/>
                      </a:lnTo>
                      <a:lnTo>
                        <a:pt x="65798" y="73605"/>
                      </a:lnTo>
                      <a:cubicBezTo>
                        <a:pt x="61317" y="82721"/>
                        <a:pt x="51982" y="88325"/>
                        <a:pt x="38538" y="88325"/>
                      </a:cubicBezTo>
                      <a:cubicBezTo>
                        <a:pt x="19568" y="88325"/>
                        <a:pt x="0" y="73605"/>
                        <a:pt x="0" y="44238"/>
                      </a:cubicBezTo>
                      <a:close/>
                      <a:moveTo>
                        <a:pt x="65425" y="44088"/>
                      </a:moveTo>
                      <a:cubicBezTo>
                        <a:pt x="65425" y="29367"/>
                        <a:pt x="54820" y="21521"/>
                        <a:pt x="45559" y="21521"/>
                      </a:cubicBezTo>
                      <a:cubicBezTo>
                        <a:pt x="33161" y="21521"/>
                        <a:pt x="24422" y="30638"/>
                        <a:pt x="24422" y="44088"/>
                      </a:cubicBezTo>
                      <a:cubicBezTo>
                        <a:pt x="24422" y="57539"/>
                        <a:pt x="33385" y="66655"/>
                        <a:pt x="45559" y="66655"/>
                      </a:cubicBezTo>
                      <a:cubicBezTo>
                        <a:pt x="55268" y="66655"/>
                        <a:pt x="65425" y="59855"/>
                        <a:pt x="65425" y="44088"/>
                      </a:cubicBezTo>
                      <a:close/>
                    </a:path>
                  </a:pathLst>
                </a:custGeom>
                <a:solidFill>
                  <a:srgbClr val="FFFFFF"/>
                </a:solidFill>
                <a:ln w="0" cap="flat">
                  <a:noFill/>
                  <a:prstDash val="solid"/>
                  <a:miter/>
                </a:ln>
              </p:spPr>
              <p:txBody>
                <a:bodyPr rtlCol="0" anchor="ctr"/>
                <a:lstStyle/>
                <a:p>
                  <a:endParaRPr lang="en-US"/>
                </a:p>
              </p:txBody>
            </p:sp>
            <p:sp>
              <p:nvSpPr>
                <p:cNvPr id="137" name="Freeform 136">
                  <a:extLst>
                    <a:ext uri="{FF2B5EF4-FFF2-40B4-BE49-F238E27FC236}">
                      <a16:creationId xmlns:a16="http://schemas.microsoft.com/office/drawing/2014/main" id="{810EF6BC-E145-3821-B4B6-1740ADA8115F}"/>
                    </a:ext>
                  </a:extLst>
                </p:cNvPr>
                <p:cNvSpPr/>
                <p:nvPr/>
              </p:nvSpPr>
              <p:spPr>
                <a:xfrm>
                  <a:off x="6302207" y="5432683"/>
                  <a:ext cx="24720" cy="122325"/>
                </a:xfrm>
                <a:custGeom>
                  <a:avLst/>
                  <a:gdLst>
                    <a:gd name="connsiteX0" fmla="*/ 0 w 24720"/>
                    <a:gd name="connsiteY0" fmla="*/ 0 h 122325"/>
                    <a:gd name="connsiteX1" fmla="*/ 24721 w 24720"/>
                    <a:gd name="connsiteY1" fmla="*/ 0 h 122325"/>
                    <a:gd name="connsiteX2" fmla="*/ 24721 w 24720"/>
                    <a:gd name="connsiteY2" fmla="*/ 122325 h 122325"/>
                    <a:gd name="connsiteX3" fmla="*/ 0 w 24720"/>
                    <a:gd name="connsiteY3" fmla="*/ 122325 h 122325"/>
                    <a:gd name="connsiteX4" fmla="*/ 0 w 24720"/>
                    <a:gd name="connsiteY4" fmla="*/ 0 h 122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20" h="122325">
                      <a:moveTo>
                        <a:pt x="0" y="0"/>
                      </a:moveTo>
                      <a:lnTo>
                        <a:pt x="24721" y="0"/>
                      </a:lnTo>
                      <a:lnTo>
                        <a:pt x="24721" y="122325"/>
                      </a:lnTo>
                      <a:lnTo>
                        <a:pt x="0" y="122325"/>
                      </a:lnTo>
                      <a:lnTo>
                        <a:pt x="0" y="0"/>
                      </a:lnTo>
                      <a:close/>
                    </a:path>
                  </a:pathLst>
                </a:custGeom>
                <a:solidFill>
                  <a:srgbClr val="FFFFFF"/>
                </a:solidFill>
                <a:ln w="0" cap="flat">
                  <a:noFill/>
                  <a:prstDash val="solid"/>
                  <a:miter/>
                </a:ln>
              </p:spPr>
              <p:txBody>
                <a:bodyPr rtlCol="0" anchor="ctr"/>
                <a:lstStyle/>
                <a:p>
                  <a:endParaRPr lang="en-US"/>
                </a:p>
              </p:txBody>
            </p:sp>
          </p:grpSp>
        </p:grpSp>
        <p:pic>
          <p:nvPicPr>
            <p:cNvPr id="122" name="Graphic 121">
              <a:extLst>
                <a:ext uri="{FF2B5EF4-FFF2-40B4-BE49-F238E27FC236}">
                  <a16:creationId xmlns:a16="http://schemas.microsoft.com/office/drawing/2014/main" id="{07B5CD24-8FBB-BF9B-20E2-65FAF58212C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40264" y="1891786"/>
              <a:ext cx="645068" cy="645068"/>
            </a:xfrm>
            <a:prstGeom prst="rect">
              <a:avLst/>
            </a:prstGeom>
          </p:spPr>
        </p:pic>
      </p:grpSp>
      <p:grpSp>
        <p:nvGrpSpPr>
          <p:cNvPr id="138" name="Group 137">
            <a:extLst>
              <a:ext uri="{FF2B5EF4-FFF2-40B4-BE49-F238E27FC236}">
                <a16:creationId xmlns:a16="http://schemas.microsoft.com/office/drawing/2014/main" id="{EF19C51F-6C63-8E49-F334-614CA78FC808}"/>
              </a:ext>
            </a:extLst>
          </p:cNvPr>
          <p:cNvGrpSpPr/>
          <p:nvPr/>
        </p:nvGrpSpPr>
        <p:grpSpPr>
          <a:xfrm>
            <a:off x="7438540" y="2961798"/>
            <a:ext cx="722146" cy="722527"/>
            <a:chOff x="1787632" y="1711717"/>
            <a:chExt cx="1180036" cy="1180659"/>
          </a:xfrm>
        </p:grpSpPr>
        <p:grpSp>
          <p:nvGrpSpPr>
            <p:cNvPr id="139" name="Group 138">
              <a:extLst>
                <a:ext uri="{FF2B5EF4-FFF2-40B4-BE49-F238E27FC236}">
                  <a16:creationId xmlns:a16="http://schemas.microsoft.com/office/drawing/2014/main" id="{7377A584-AF5E-B61B-96D9-3CD6D9D520BC}"/>
                </a:ext>
              </a:extLst>
            </p:cNvPr>
            <p:cNvGrpSpPr/>
            <p:nvPr/>
          </p:nvGrpSpPr>
          <p:grpSpPr>
            <a:xfrm>
              <a:off x="1787632" y="1711717"/>
              <a:ext cx="1180036" cy="1180659"/>
              <a:chOff x="4043781" y="4475676"/>
              <a:chExt cx="1180036" cy="1180659"/>
            </a:xfrm>
          </p:grpSpPr>
          <p:sp>
            <p:nvSpPr>
              <p:cNvPr id="141" name="Freeform 140">
                <a:extLst>
                  <a:ext uri="{FF2B5EF4-FFF2-40B4-BE49-F238E27FC236}">
                    <a16:creationId xmlns:a16="http://schemas.microsoft.com/office/drawing/2014/main" id="{5C85AB43-E468-9668-F609-03C787D46F9F}"/>
                  </a:ext>
                </a:extLst>
              </p:cNvPr>
              <p:cNvSpPr/>
              <p:nvPr/>
            </p:nvSpPr>
            <p:spPr>
              <a:xfrm>
                <a:off x="4043781" y="4475676"/>
                <a:ext cx="1180036" cy="1180659"/>
              </a:xfrm>
              <a:custGeom>
                <a:avLst/>
                <a:gdLst>
                  <a:gd name="connsiteX0" fmla="*/ 1093102 w 1180036"/>
                  <a:gd name="connsiteY0" fmla="*/ 1180660 h 1180659"/>
                  <a:gd name="connsiteX1" fmla="*/ 86934 w 1180036"/>
                  <a:gd name="connsiteY1" fmla="*/ 1180660 h 1180659"/>
                  <a:gd name="connsiteX2" fmla="*/ 0 w 1180036"/>
                  <a:gd name="connsiteY2" fmla="*/ 1093680 h 1180659"/>
                  <a:gd name="connsiteX3" fmla="*/ 0 w 1180036"/>
                  <a:gd name="connsiteY3" fmla="*/ 86980 h 1180659"/>
                  <a:gd name="connsiteX4" fmla="*/ 86934 w 1180036"/>
                  <a:gd name="connsiteY4" fmla="*/ 0 h 1180659"/>
                  <a:gd name="connsiteX5" fmla="*/ 1093102 w 1180036"/>
                  <a:gd name="connsiteY5" fmla="*/ 0 h 1180659"/>
                  <a:gd name="connsiteX6" fmla="*/ 1180036 w 1180036"/>
                  <a:gd name="connsiteY6" fmla="*/ 86980 h 1180659"/>
                  <a:gd name="connsiteX7" fmla="*/ 1180036 w 1180036"/>
                  <a:gd name="connsiteY7" fmla="*/ 1093680 h 1180659"/>
                  <a:gd name="connsiteX8" fmla="*/ 1093102 w 1180036"/>
                  <a:gd name="connsiteY8" fmla="*/ 1180660 h 118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036" h="1180659">
                    <a:moveTo>
                      <a:pt x="1093102" y="1180660"/>
                    </a:moveTo>
                    <a:lnTo>
                      <a:pt x="86934" y="1180660"/>
                    </a:lnTo>
                    <a:cubicBezTo>
                      <a:pt x="38911" y="1180660"/>
                      <a:pt x="0" y="1141728"/>
                      <a:pt x="0" y="1093680"/>
                    </a:cubicBezTo>
                    <a:lnTo>
                      <a:pt x="0" y="86980"/>
                    </a:lnTo>
                    <a:cubicBezTo>
                      <a:pt x="0" y="38932"/>
                      <a:pt x="38911" y="0"/>
                      <a:pt x="86934" y="0"/>
                    </a:cubicBezTo>
                    <a:lnTo>
                      <a:pt x="1093102" y="0"/>
                    </a:lnTo>
                    <a:cubicBezTo>
                      <a:pt x="1141125" y="0"/>
                      <a:pt x="1180036" y="38932"/>
                      <a:pt x="1180036" y="86980"/>
                    </a:cubicBezTo>
                    <a:lnTo>
                      <a:pt x="1180036" y="1093680"/>
                    </a:lnTo>
                    <a:cubicBezTo>
                      <a:pt x="1180036" y="1141728"/>
                      <a:pt x="1141125" y="1180660"/>
                      <a:pt x="1093102" y="1180660"/>
                    </a:cubicBezTo>
                  </a:path>
                </a:pathLst>
              </a:custGeom>
              <a:solidFill>
                <a:schemeClr val="tx1"/>
              </a:solidFill>
              <a:ln w="0" cap="flat">
                <a:noFill/>
                <a:prstDash val="solid"/>
                <a:miter/>
              </a:ln>
            </p:spPr>
            <p:txBody>
              <a:bodyPr rtlCol="0" anchor="ctr"/>
              <a:lstStyle/>
              <a:p>
                <a:endParaRPr lang="en-US"/>
              </a:p>
            </p:txBody>
          </p:sp>
          <p:grpSp>
            <p:nvGrpSpPr>
              <p:cNvPr id="142" name="Graphic 5">
                <a:extLst>
                  <a:ext uri="{FF2B5EF4-FFF2-40B4-BE49-F238E27FC236}">
                    <a16:creationId xmlns:a16="http://schemas.microsoft.com/office/drawing/2014/main" id="{3A8920E2-9DE8-9D2B-2C60-271F810064E8}"/>
                  </a:ext>
                </a:extLst>
              </p:cNvPr>
              <p:cNvGrpSpPr/>
              <p:nvPr/>
            </p:nvGrpSpPr>
            <p:grpSpPr>
              <a:xfrm>
                <a:off x="4359553" y="5428200"/>
                <a:ext cx="537364" cy="128901"/>
                <a:chOff x="4359553" y="5428200"/>
                <a:chExt cx="537364" cy="128901"/>
              </a:xfrm>
              <a:solidFill>
                <a:srgbClr val="FFFFFF"/>
              </a:solidFill>
            </p:grpSpPr>
            <p:sp>
              <p:nvSpPr>
                <p:cNvPr id="143" name="Freeform 142">
                  <a:extLst>
                    <a:ext uri="{FF2B5EF4-FFF2-40B4-BE49-F238E27FC236}">
                      <a16:creationId xmlns:a16="http://schemas.microsoft.com/office/drawing/2014/main" id="{67FBEF4A-8A31-2CC7-3999-9FA3A97D14C2}"/>
                    </a:ext>
                  </a:extLst>
                </p:cNvPr>
                <p:cNvSpPr/>
                <p:nvPr/>
              </p:nvSpPr>
              <p:spPr>
                <a:xfrm>
                  <a:off x="4359553" y="5432683"/>
                  <a:ext cx="117630" cy="122325"/>
                </a:xfrm>
                <a:custGeom>
                  <a:avLst/>
                  <a:gdLst>
                    <a:gd name="connsiteX0" fmla="*/ 0 w 117630"/>
                    <a:gd name="connsiteY0" fmla="*/ 0 h 122325"/>
                    <a:gd name="connsiteX1" fmla="*/ 27783 w 117630"/>
                    <a:gd name="connsiteY1" fmla="*/ 0 h 122325"/>
                    <a:gd name="connsiteX2" fmla="*/ 56089 w 117630"/>
                    <a:gd name="connsiteY2" fmla="*/ 85037 h 122325"/>
                    <a:gd name="connsiteX3" fmla="*/ 58628 w 117630"/>
                    <a:gd name="connsiteY3" fmla="*/ 95648 h 122325"/>
                    <a:gd name="connsiteX4" fmla="*/ 59002 w 117630"/>
                    <a:gd name="connsiteY4" fmla="*/ 95648 h 122325"/>
                    <a:gd name="connsiteX5" fmla="*/ 61541 w 117630"/>
                    <a:gd name="connsiteY5" fmla="*/ 85037 h 122325"/>
                    <a:gd name="connsiteX6" fmla="*/ 89847 w 117630"/>
                    <a:gd name="connsiteY6" fmla="*/ 0 h 122325"/>
                    <a:gd name="connsiteX7" fmla="*/ 117630 w 117630"/>
                    <a:gd name="connsiteY7" fmla="*/ 0 h 122325"/>
                    <a:gd name="connsiteX8" fmla="*/ 72819 w 117630"/>
                    <a:gd name="connsiteY8" fmla="*/ 122325 h 122325"/>
                    <a:gd name="connsiteX9" fmla="*/ 44886 w 117630"/>
                    <a:gd name="connsiteY9" fmla="*/ 122325 h 122325"/>
                    <a:gd name="connsiteX10" fmla="*/ 75 w 117630"/>
                    <a:gd name="connsiteY10" fmla="*/ 0 h 122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630" h="122325">
                      <a:moveTo>
                        <a:pt x="0" y="0"/>
                      </a:moveTo>
                      <a:lnTo>
                        <a:pt x="27783" y="0"/>
                      </a:lnTo>
                      <a:lnTo>
                        <a:pt x="56089" y="85037"/>
                      </a:lnTo>
                      <a:cubicBezTo>
                        <a:pt x="57359" y="88998"/>
                        <a:pt x="58404" y="92958"/>
                        <a:pt x="58628" y="95648"/>
                      </a:cubicBezTo>
                      <a:lnTo>
                        <a:pt x="59002" y="95648"/>
                      </a:lnTo>
                      <a:cubicBezTo>
                        <a:pt x="59151" y="92958"/>
                        <a:pt x="60272" y="88998"/>
                        <a:pt x="61541" y="85037"/>
                      </a:cubicBezTo>
                      <a:lnTo>
                        <a:pt x="89847" y="0"/>
                      </a:lnTo>
                      <a:lnTo>
                        <a:pt x="117630" y="0"/>
                      </a:lnTo>
                      <a:lnTo>
                        <a:pt x="72819" y="122325"/>
                      </a:lnTo>
                      <a:lnTo>
                        <a:pt x="44886" y="122325"/>
                      </a:lnTo>
                      <a:lnTo>
                        <a:pt x="75" y="0"/>
                      </a:lnTo>
                      <a:close/>
                    </a:path>
                  </a:pathLst>
                </a:custGeom>
                <a:solidFill>
                  <a:srgbClr val="FFFFFF"/>
                </a:solidFill>
                <a:ln w="0" cap="flat">
                  <a:noFill/>
                  <a:prstDash val="solid"/>
                  <a:miter/>
                </a:ln>
              </p:spPr>
              <p:txBody>
                <a:bodyPr rtlCol="0" anchor="ctr"/>
                <a:lstStyle/>
                <a:p>
                  <a:endParaRPr lang="en-US"/>
                </a:p>
              </p:txBody>
            </p:sp>
            <p:sp>
              <p:nvSpPr>
                <p:cNvPr id="144" name="Freeform 143">
                  <a:extLst>
                    <a:ext uri="{FF2B5EF4-FFF2-40B4-BE49-F238E27FC236}">
                      <a16:creationId xmlns:a16="http://schemas.microsoft.com/office/drawing/2014/main" id="{69F0CE8D-7BD9-7A57-9177-F43938A3B249}"/>
                    </a:ext>
                  </a:extLst>
                </p:cNvPr>
                <p:cNvSpPr/>
                <p:nvPr/>
              </p:nvSpPr>
              <p:spPr>
                <a:xfrm>
                  <a:off x="4485025" y="5428200"/>
                  <a:ext cx="30770" cy="126809"/>
                </a:xfrm>
                <a:custGeom>
                  <a:avLst/>
                  <a:gdLst>
                    <a:gd name="connsiteX0" fmla="*/ 0 w 30770"/>
                    <a:gd name="connsiteY0" fmla="*/ 15095 h 126809"/>
                    <a:gd name="connsiteX1" fmla="*/ 15385 w 30770"/>
                    <a:gd name="connsiteY1" fmla="*/ 0 h 126809"/>
                    <a:gd name="connsiteX2" fmla="*/ 30771 w 30770"/>
                    <a:gd name="connsiteY2" fmla="*/ 15095 h 126809"/>
                    <a:gd name="connsiteX3" fmla="*/ 15385 w 30770"/>
                    <a:gd name="connsiteY3" fmla="*/ 29816 h 126809"/>
                    <a:gd name="connsiteX4" fmla="*/ 0 w 30770"/>
                    <a:gd name="connsiteY4" fmla="*/ 15095 h 126809"/>
                    <a:gd name="connsiteX5" fmla="*/ 3062 w 30770"/>
                    <a:gd name="connsiteY5" fmla="*/ 42519 h 126809"/>
                    <a:gd name="connsiteX6" fmla="*/ 27783 w 30770"/>
                    <a:gd name="connsiteY6" fmla="*/ 42519 h 126809"/>
                    <a:gd name="connsiteX7" fmla="*/ 27783 w 30770"/>
                    <a:gd name="connsiteY7" fmla="*/ 126809 h 126809"/>
                    <a:gd name="connsiteX8" fmla="*/ 3062 w 30770"/>
                    <a:gd name="connsiteY8" fmla="*/ 126809 h 126809"/>
                    <a:gd name="connsiteX9" fmla="*/ 3062 w 30770"/>
                    <a:gd name="connsiteY9" fmla="*/ 42519 h 126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770" h="126809">
                      <a:moveTo>
                        <a:pt x="0" y="15095"/>
                      </a:moveTo>
                      <a:cubicBezTo>
                        <a:pt x="0" y="6651"/>
                        <a:pt x="7020" y="0"/>
                        <a:pt x="15385" y="0"/>
                      </a:cubicBezTo>
                      <a:cubicBezTo>
                        <a:pt x="23750" y="0"/>
                        <a:pt x="30771" y="6651"/>
                        <a:pt x="30771" y="15095"/>
                      </a:cubicBezTo>
                      <a:cubicBezTo>
                        <a:pt x="30771" y="23539"/>
                        <a:pt x="23750" y="29816"/>
                        <a:pt x="15385" y="29816"/>
                      </a:cubicBezTo>
                      <a:cubicBezTo>
                        <a:pt x="7020" y="29816"/>
                        <a:pt x="0" y="23389"/>
                        <a:pt x="0" y="15095"/>
                      </a:cubicBezTo>
                      <a:close/>
                      <a:moveTo>
                        <a:pt x="3062" y="42519"/>
                      </a:moveTo>
                      <a:lnTo>
                        <a:pt x="27783" y="42519"/>
                      </a:lnTo>
                      <a:lnTo>
                        <a:pt x="27783" y="126809"/>
                      </a:lnTo>
                      <a:lnTo>
                        <a:pt x="3062" y="126809"/>
                      </a:lnTo>
                      <a:lnTo>
                        <a:pt x="3062" y="42519"/>
                      </a:lnTo>
                      <a:close/>
                    </a:path>
                  </a:pathLst>
                </a:custGeom>
                <a:solidFill>
                  <a:srgbClr val="FFFFFF"/>
                </a:solidFill>
                <a:ln w="0" cap="flat">
                  <a:noFill/>
                  <a:prstDash val="solid"/>
                  <a:miter/>
                </a:ln>
              </p:spPr>
              <p:txBody>
                <a:bodyPr rtlCol="0" anchor="ctr"/>
                <a:lstStyle/>
                <a:p>
                  <a:endParaRPr lang="en-US"/>
                </a:p>
              </p:txBody>
            </p:sp>
            <p:sp>
              <p:nvSpPr>
                <p:cNvPr id="145" name="Freeform 144">
                  <a:extLst>
                    <a:ext uri="{FF2B5EF4-FFF2-40B4-BE49-F238E27FC236}">
                      <a16:creationId xmlns:a16="http://schemas.microsoft.com/office/drawing/2014/main" id="{A5CD66F6-6F66-AEB5-0146-E3BB1D305927}"/>
                    </a:ext>
                  </a:extLst>
                </p:cNvPr>
                <p:cNvSpPr/>
                <p:nvPr/>
              </p:nvSpPr>
              <p:spPr>
                <a:xfrm>
                  <a:off x="4531330" y="5468701"/>
                  <a:ext cx="48919" cy="86307"/>
                </a:xfrm>
                <a:custGeom>
                  <a:avLst/>
                  <a:gdLst>
                    <a:gd name="connsiteX0" fmla="*/ 36895 w 48919"/>
                    <a:gd name="connsiteY0" fmla="*/ 0 h 86307"/>
                    <a:gd name="connsiteX1" fmla="*/ 48919 w 48919"/>
                    <a:gd name="connsiteY1" fmla="*/ 1420 h 86307"/>
                    <a:gd name="connsiteX2" fmla="*/ 48919 w 48919"/>
                    <a:gd name="connsiteY2" fmla="*/ 23688 h 86307"/>
                    <a:gd name="connsiteX3" fmla="*/ 42795 w 48919"/>
                    <a:gd name="connsiteY3" fmla="*/ 23538 h 86307"/>
                    <a:gd name="connsiteX4" fmla="*/ 24721 w 48919"/>
                    <a:gd name="connsiteY4" fmla="*/ 39828 h 86307"/>
                    <a:gd name="connsiteX5" fmla="*/ 24721 w 48919"/>
                    <a:gd name="connsiteY5" fmla="*/ 86308 h 86307"/>
                    <a:gd name="connsiteX6" fmla="*/ 0 w 48919"/>
                    <a:gd name="connsiteY6" fmla="*/ 86308 h 86307"/>
                    <a:gd name="connsiteX7" fmla="*/ 0 w 48919"/>
                    <a:gd name="connsiteY7" fmla="*/ 37886 h 86307"/>
                    <a:gd name="connsiteX8" fmla="*/ 36895 w 48919"/>
                    <a:gd name="connsiteY8" fmla="*/ 74 h 86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919" h="86307">
                      <a:moveTo>
                        <a:pt x="36895" y="0"/>
                      </a:moveTo>
                      <a:cubicBezTo>
                        <a:pt x="41376" y="0"/>
                        <a:pt x="44812" y="374"/>
                        <a:pt x="48919" y="1420"/>
                      </a:cubicBezTo>
                      <a:lnTo>
                        <a:pt x="48919" y="23688"/>
                      </a:lnTo>
                      <a:cubicBezTo>
                        <a:pt x="46380" y="23538"/>
                        <a:pt x="43915" y="23538"/>
                        <a:pt x="42795" y="23538"/>
                      </a:cubicBezTo>
                      <a:cubicBezTo>
                        <a:pt x="29725" y="23538"/>
                        <a:pt x="24721" y="29442"/>
                        <a:pt x="24721" y="39828"/>
                      </a:cubicBezTo>
                      <a:lnTo>
                        <a:pt x="24721" y="86308"/>
                      </a:lnTo>
                      <a:lnTo>
                        <a:pt x="0" y="86308"/>
                      </a:lnTo>
                      <a:lnTo>
                        <a:pt x="0" y="37886"/>
                      </a:lnTo>
                      <a:cubicBezTo>
                        <a:pt x="0" y="17635"/>
                        <a:pt x="11501" y="74"/>
                        <a:pt x="36895" y="74"/>
                      </a:cubicBezTo>
                      <a:close/>
                    </a:path>
                  </a:pathLst>
                </a:custGeom>
                <a:solidFill>
                  <a:srgbClr val="FFFFFF"/>
                </a:solidFill>
                <a:ln w="0" cap="flat">
                  <a:noFill/>
                  <a:prstDash val="solid"/>
                  <a:miter/>
                </a:ln>
              </p:spPr>
              <p:txBody>
                <a:bodyPr rtlCol="0" anchor="ctr"/>
                <a:lstStyle/>
                <a:p>
                  <a:endParaRPr lang="en-US"/>
                </a:p>
              </p:txBody>
            </p:sp>
            <p:sp>
              <p:nvSpPr>
                <p:cNvPr id="146" name="Freeform 145">
                  <a:extLst>
                    <a:ext uri="{FF2B5EF4-FFF2-40B4-BE49-F238E27FC236}">
                      <a16:creationId xmlns:a16="http://schemas.microsoft.com/office/drawing/2014/main" id="{EE638595-80B7-8CDA-5309-7C2DCDC321D6}"/>
                    </a:ext>
                  </a:extLst>
                </p:cNvPr>
                <p:cNvSpPr/>
                <p:nvPr/>
              </p:nvSpPr>
              <p:spPr>
                <a:xfrm>
                  <a:off x="4585627" y="5442024"/>
                  <a:ext cx="64827" cy="114404"/>
                </a:xfrm>
                <a:custGeom>
                  <a:avLst/>
                  <a:gdLst>
                    <a:gd name="connsiteX0" fmla="*/ 15385 w 64827"/>
                    <a:gd name="connsiteY0" fmla="*/ 79807 h 114404"/>
                    <a:gd name="connsiteX1" fmla="*/ 15385 w 64827"/>
                    <a:gd name="connsiteY1" fmla="*/ 48048 h 114404"/>
                    <a:gd name="connsiteX2" fmla="*/ 0 w 64827"/>
                    <a:gd name="connsiteY2" fmla="*/ 48048 h 114404"/>
                    <a:gd name="connsiteX3" fmla="*/ 0 w 64827"/>
                    <a:gd name="connsiteY3" fmla="*/ 28694 h 114404"/>
                    <a:gd name="connsiteX4" fmla="*/ 15385 w 64827"/>
                    <a:gd name="connsiteY4" fmla="*/ 28694 h 114404"/>
                    <a:gd name="connsiteX5" fmla="*/ 15385 w 64827"/>
                    <a:gd name="connsiteY5" fmla="*/ 0 h 114404"/>
                    <a:gd name="connsiteX6" fmla="*/ 40106 w 64827"/>
                    <a:gd name="connsiteY6" fmla="*/ 0 h 114404"/>
                    <a:gd name="connsiteX7" fmla="*/ 40106 w 64827"/>
                    <a:gd name="connsiteY7" fmla="*/ 28694 h 114404"/>
                    <a:gd name="connsiteX8" fmla="*/ 64827 w 64827"/>
                    <a:gd name="connsiteY8" fmla="*/ 28694 h 114404"/>
                    <a:gd name="connsiteX9" fmla="*/ 64827 w 64827"/>
                    <a:gd name="connsiteY9" fmla="*/ 48048 h 114404"/>
                    <a:gd name="connsiteX10" fmla="*/ 40106 w 64827"/>
                    <a:gd name="connsiteY10" fmla="*/ 48048 h 114404"/>
                    <a:gd name="connsiteX11" fmla="*/ 40106 w 64827"/>
                    <a:gd name="connsiteY11" fmla="*/ 76369 h 114404"/>
                    <a:gd name="connsiteX12" fmla="*/ 54969 w 64827"/>
                    <a:gd name="connsiteY12" fmla="*/ 92510 h 114404"/>
                    <a:gd name="connsiteX13" fmla="*/ 62288 w 64827"/>
                    <a:gd name="connsiteY13" fmla="*/ 92360 h 114404"/>
                    <a:gd name="connsiteX14" fmla="*/ 62288 w 64827"/>
                    <a:gd name="connsiteY14" fmla="*/ 112237 h 114404"/>
                    <a:gd name="connsiteX15" fmla="*/ 48098 w 64827"/>
                    <a:gd name="connsiteY15" fmla="*/ 114404 h 114404"/>
                    <a:gd name="connsiteX16" fmla="*/ 15311 w 64827"/>
                    <a:gd name="connsiteY16" fmla="*/ 79807 h 114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4827" h="114404">
                      <a:moveTo>
                        <a:pt x="15385" y="79807"/>
                      </a:moveTo>
                      <a:lnTo>
                        <a:pt x="15385" y="48048"/>
                      </a:lnTo>
                      <a:lnTo>
                        <a:pt x="0" y="48048"/>
                      </a:lnTo>
                      <a:lnTo>
                        <a:pt x="0" y="28694"/>
                      </a:lnTo>
                      <a:lnTo>
                        <a:pt x="15385" y="28694"/>
                      </a:lnTo>
                      <a:lnTo>
                        <a:pt x="15385" y="0"/>
                      </a:lnTo>
                      <a:lnTo>
                        <a:pt x="40106" y="0"/>
                      </a:lnTo>
                      <a:lnTo>
                        <a:pt x="40106" y="28694"/>
                      </a:lnTo>
                      <a:lnTo>
                        <a:pt x="64827" y="28694"/>
                      </a:lnTo>
                      <a:lnTo>
                        <a:pt x="64827" y="48048"/>
                      </a:lnTo>
                      <a:lnTo>
                        <a:pt x="40106" y="48048"/>
                      </a:lnTo>
                      <a:lnTo>
                        <a:pt x="40106" y="76369"/>
                      </a:lnTo>
                      <a:cubicBezTo>
                        <a:pt x="40106" y="86980"/>
                        <a:pt x="43691" y="92510"/>
                        <a:pt x="54969" y="92510"/>
                      </a:cubicBezTo>
                      <a:cubicBezTo>
                        <a:pt x="56014" y="92510"/>
                        <a:pt x="59076" y="92510"/>
                        <a:pt x="62288" y="92360"/>
                      </a:cubicBezTo>
                      <a:lnTo>
                        <a:pt x="62288" y="112237"/>
                      </a:lnTo>
                      <a:cubicBezTo>
                        <a:pt x="57284" y="113657"/>
                        <a:pt x="53176" y="114404"/>
                        <a:pt x="48098" y="114404"/>
                      </a:cubicBezTo>
                      <a:cubicBezTo>
                        <a:pt x="28381" y="114404"/>
                        <a:pt x="15311" y="102598"/>
                        <a:pt x="15311" y="79807"/>
                      </a:cubicBezTo>
                      <a:close/>
                    </a:path>
                  </a:pathLst>
                </a:custGeom>
                <a:solidFill>
                  <a:srgbClr val="FFFFFF"/>
                </a:solidFill>
                <a:ln w="0" cap="flat">
                  <a:noFill/>
                  <a:prstDash val="solid"/>
                  <a:miter/>
                </a:ln>
              </p:spPr>
              <p:txBody>
                <a:bodyPr rtlCol="0" anchor="ctr"/>
                <a:lstStyle/>
                <a:p>
                  <a:endParaRPr lang="en-US"/>
                </a:p>
              </p:txBody>
            </p:sp>
            <p:sp>
              <p:nvSpPr>
                <p:cNvPr id="147" name="Freeform 146">
                  <a:extLst>
                    <a:ext uri="{FF2B5EF4-FFF2-40B4-BE49-F238E27FC236}">
                      <a16:creationId xmlns:a16="http://schemas.microsoft.com/office/drawing/2014/main" id="{12AA2B6F-B657-5E7A-1696-EC7C1978937E}"/>
                    </a:ext>
                  </a:extLst>
                </p:cNvPr>
                <p:cNvSpPr/>
                <p:nvPr/>
              </p:nvSpPr>
              <p:spPr>
                <a:xfrm>
                  <a:off x="4664421" y="5470644"/>
                  <a:ext cx="80287" cy="86309"/>
                </a:xfrm>
                <a:custGeom>
                  <a:avLst/>
                  <a:gdLst>
                    <a:gd name="connsiteX0" fmla="*/ 0 w 80287"/>
                    <a:gd name="connsiteY0" fmla="*/ 47226 h 86309"/>
                    <a:gd name="connsiteX1" fmla="*/ 0 w 80287"/>
                    <a:gd name="connsiteY1" fmla="*/ 75 h 86309"/>
                    <a:gd name="connsiteX2" fmla="*/ 24721 w 80287"/>
                    <a:gd name="connsiteY2" fmla="*/ 75 h 86309"/>
                    <a:gd name="connsiteX3" fmla="*/ 24721 w 80287"/>
                    <a:gd name="connsiteY3" fmla="*/ 45433 h 86309"/>
                    <a:gd name="connsiteX4" fmla="*/ 39957 w 80287"/>
                    <a:gd name="connsiteY4" fmla="*/ 64787 h 86309"/>
                    <a:gd name="connsiteX5" fmla="*/ 55566 w 80287"/>
                    <a:gd name="connsiteY5" fmla="*/ 45583 h 86309"/>
                    <a:gd name="connsiteX6" fmla="*/ 55566 w 80287"/>
                    <a:gd name="connsiteY6" fmla="*/ 0 h 86309"/>
                    <a:gd name="connsiteX7" fmla="*/ 80287 w 80287"/>
                    <a:gd name="connsiteY7" fmla="*/ 0 h 86309"/>
                    <a:gd name="connsiteX8" fmla="*/ 80287 w 80287"/>
                    <a:gd name="connsiteY8" fmla="*/ 47376 h 86309"/>
                    <a:gd name="connsiteX9" fmla="*/ 39957 w 80287"/>
                    <a:gd name="connsiteY9" fmla="*/ 86308 h 86309"/>
                    <a:gd name="connsiteX10" fmla="*/ 0 w 80287"/>
                    <a:gd name="connsiteY10" fmla="*/ 47226 h 8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0287" h="86309">
                      <a:moveTo>
                        <a:pt x="0" y="47226"/>
                      </a:moveTo>
                      <a:lnTo>
                        <a:pt x="0" y="75"/>
                      </a:lnTo>
                      <a:lnTo>
                        <a:pt x="24721" y="75"/>
                      </a:lnTo>
                      <a:lnTo>
                        <a:pt x="24721" y="45433"/>
                      </a:lnTo>
                      <a:cubicBezTo>
                        <a:pt x="24721" y="57240"/>
                        <a:pt x="29949" y="64638"/>
                        <a:pt x="39957" y="64787"/>
                      </a:cubicBezTo>
                      <a:cubicBezTo>
                        <a:pt x="50861" y="64936"/>
                        <a:pt x="55566" y="57613"/>
                        <a:pt x="55566" y="45583"/>
                      </a:cubicBezTo>
                      <a:lnTo>
                        <a:pt x="55566" y="0"/>
                      </a:lnTo>
                      <a:lnTo>
                        <a:pt x="80287" y="0"/>
                      </a:lnTo>
                      <a:lnTo>
                        <a:pt x="80287" y="47376"/>
                      </a:lnTo>
                      <a:cubicBezTo>
                        <a:pt x="80287" y="69047"/>
                        <a:pt x="63632" y="86457"/>
                        <a:pt x="39957" y="86308"/>
                      </a:cubicBezTo>
                      <a:cubicBezTo>
                        <a:pt x="14116" y="86159"/>
                        <a:pt x="0" y="70018"/>
                        <a:pt x="0" y="47226"/>
                      </a:cubicBezTo>
                      <a:close/>
                    </a:path>
                  </a:pathLst>
                </a:custGeom>
                <a:solidFill>
                  <a:srgbClr val="FFFFFF"/>
                </a:solidFill>
                <a:ln w="0" cap="flat">
                  <a:noFill/>
                  <a:prstDash val="solid"/>
                  <a:miter/>
                </a:ln>
              </p:spPr>
              <p:txBody>
                <a:bodyPr rtlCol="0" anchor="ctr"/>
                <a:lstStyle/>
                <a:p>
                  <a:endParaRPr lang="en-US"/>
                </a:p>
              </p:txBody>
            </p:sp>
            <p:sp>
              <p:nvSpPr>
                <p:cNvPr id="159" name="Freeform 158">
                  <a:extLst>
                    <a:ext uri="{FF2B5EF4-FFF2-40B4-BE49-F238E27FC236}">
                      <a16:creationId xmlns:a16="http://schemas.microsoft.com/office/drawing/2014/main" id="{C7F76C29-D43B-76B5-7049-8967BEF60C78}"/>
                    </a:ext>
                  </a:extLst>
                </p:cNvPr>
                <p:cNvSpPr/>
                <p:nvPr/>
              </p:nvSpPr>
              <p:spPr>
                <a:xfrm>
                  <a:off x="4758749" y="5468775"/>
                  <a:ext cx="89100" cy="88325"/>
                </a:xfrm>
                <a:custGeom>
                  <a:avLst/>
                  <a:gdLst>
                    <a:gd name="connsiteX0" fmla="*/ 0 w 89100"/>
                    <a:gd name="connsiteY0" fmla="*/ 44088 h 88325"/>
                    <a:gd name="connsiteX1" fmla="*/ 38538 w 89100"/>
                    <a:gd name="connsiteY1" fmla="*/ 0 h 88325"/>
                    <a:gd name="connsiteX2" fmla="*/ 65948 w 89100"/>
                    <a:gd name="connsiteY2" fmla="*/ 15095 h 88325"/>
                    <a:gd name="connsiteX3" fmla="*/ 68113 w 89100"/>
                    <a:gd name="connsiteY3" fmla="*/ 2018 h 88325"/>
                    <a:gd name="connsiteX4" fmla="*/ 89100 w 89100"/>
                    <a:gd name="connsiteY4" fmla="*/ 2018 h 88325"/>
                    <a:gd name="connsiteX5" fmla="*/ 89100 w 89100"/>
                    <a:gd name="connsiteY5" fmla="*/ 86308 h 88325"/>
                    <a:gd name="connsiteX6" fmla="*/ 67217 w 89100"/>
                    <a:gd name="connsiteY6" fmla="*/ 86308 h 88325"/>
                    <a:gd name="connsiteX7" fmla="*/ 65798 w 89100"/>
                    <a:gd name="connsiteY7" fmla="*/ 73605 h 88325"/>
                    <a:gd name="connsiteX8" fmla="*/ 38538 w 89100"/>
                    <a:gd name="connsiteY8" fmla="*/ 88325 h 88325"/>
                    <a:gd name="connsiteX9" fmla="*/ 0 w 89100"/>
                    <a:gd name="connsiteY9" fmla="*/ 44238 h 88325"/>
                    <a:gd name="connsiteX10" fmla="*/ 65425 w 89100"/>
                    <a:gd name="connsiteY10" fmla="*/ 44088 h 88325"/>
                    <a:gd name="connsiteX11" fmla="*/ 45558 w 89100"/>
                    <a:gd name="connsiteY11" fmla="*/ 21521 h 88325"/>
                    <a:gd name="connsiteX12" fmla="*/ 24422 w 89100"/>
                    <a:gd name="connsiteY12" fmla="*/ 44088 h 88325"/>
                    <a:gd name="connsiteX13" fmla="*/ 45558 w 89100"/>
                    <a:gd name="connsiteY13" fmla="*/ 66655 h 88325"/>
                    <a:gd name="connsiteX14" fmla="*/ 65425 w 89100"/>
                    <a:gd name="connsiteY14" fmla="*/ 44088 h 88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9100" h="88325">
                      <a:moveTo>
                        <a:pt x="0" y="44088"/>
                      </a:moveTo>
                      <a:cubicBezTo>
                        <a:pt x="0" y="14646"/>
                        <a:pt x="19568" y="0"/>
                        <a:pt x="38538" y="0"/>
                      </a:cubicBezTo>
                      <a:cubicBezTo>
                        <a:pt x="52131" y="0"/>
                        <a:pt x="61466" y="5754"/>
                        <a:pt x="65948" y="15095"/>
                      </a:cubicBezTo>
                      <a:lnTo>
                        <a:pt x="68113" y="2018"/>
                      </a:lnTo>
                      <a:lnTo>
                        <a:pt x="89100" y="2018"/>
                      </a:lnTo>
                      <a:lnTo>
                        <a:pt x="89100" y="86308"/>
                      </a:lnTo>
                      <a:lnTo>
                        <a:pt x="67217" y="86308"/>
                      </a:lnTo>
                      <a:lnTo>
                        <a:pt x="65798" y="73605"/>
                      </a:lnTo>
                      <a:cubicBezTo>
                        <a:pt x="61317" y="82721"/>
                        <a:pt x="51981" y="88325"/>
                        <a:pt x="38538" y="88325"/>
                      </a:cubicBezTo>
                      <a:cubicBezTo>
                        <a:pt x="19568" y="88325"/>
                        <a:pt x="0" y="73605"/>
                        <a:pt x="0" y="44238"/>
                      </a:cubicBezTo>
                      <a:close/>
                      <a:moveTo>
                        <a:pt x="65425" y="44088"/>
                      </a:moveTo>
                      <a:cubicBezTo>
                        <a:pt x="65425" y="29367"/>
                        <a:pt x="54819" y="21521"/>
                        <a:pt x="45558" y="21521"/>
                      </a:cubicBezTo>
                      <a:cubicBezTo>
                        <a:pt x="33161" y="21521"/>
                        <a:pt x="24422" y="30638"/>
                        <a:pt x="24422" y="44088"/>
                      </a:cubicBezTo>
                      <a:cubicBezTo>
                        <a:pt x="24422" y="57539"/>
                        <a:pt x="33384" y="66655"/>
                        <a:pt x="45558" y="66655"/>
                      </a:cubicBezTo>
                      <a:cubicBezTo>
                        <a:pt x="55267" y="66655"/>
                        <a:pt x="65425" y="59855"/>
                        <a:pt x="65425" y="44088"/>
                      </a:cubicBezTo>
                      <a:close/>
                    </a:path>
                  </a:pathLst>
                </a:custGeom>
                <a:solidFill>
                  <a:srgbClr val="FFFFFF"/>
                </a:solidFill>
                <a:ln w="0" cap="flat">
                  <a:noFill/>
                  <a:prstDash val="solid"/>
                  <a:miter/>
                </a:ln>
              </p:spPr>
              <p:txBody>
                <a:bodyPr rtlCol="0" anchor="ctr"/>
                <a:lstStyle/>
                <a:p>
                  <a:endParaRPr lang="en-US"/>
                </a:p>
              </p:txBody>
            </p:sp>
            <p:sp>
              <p:nvSpPr>
                <p:cNvPr id="160" name="Freeform 159">
                  <a:extLst>
                    <a:ext uri="{FF2B5EF4-FFF2-40B4-BE49-F238E27FC236}">
                      <a16:creationId xmlns:a16="http://schemas.microsoft.com/office/drawing/2014/main" id="{3DACE036-77DD-3FC5-D575-6774A1F643C7}"/>
                    </a:ext>
                  </a:extLst>
                </p:cNvPr>
                <p:cNvSpPr/>
                <p:nvPr/>
              </p:nvSpPr>
              <p:spPr>
                <a:xfrm>
                  <a:off x="4872197" y="5432683"/>
                  <a:ext cx="24720" cy="122325"/>
                </a:xfrm>
                <a:custGeom>
                  <a:avLst/>
                  <a:gdLst>
                    <a:gd name="connsiteX0" fmla="*/ 0 w 24720"/>
                    <a:gd name="connsiteY0" fmla="*/ 0 h 122325"/>
                    <a:gd name="connsiteX1" fmla="*/ 24721 w 24720"/>
                    <a:gd name="connsiteY1" fmla="*/ 0 h 122325"/>
                    <a:gd name="connsiteX2" fmla="*/ 24721 w 24720"/>
                    <a:gd name="connsiteY2" fmla="*/ 122325 h 122325"/>
                    <a:gd name="connsiteX3" fmla="*/ 0 w 24720"/>
                    <a:gd name="connsiteY3" fmla="*/ 122325 h 122325"/>
                    <a:gd name="connsiteX4" fmla="*/ 0 w 24720"/>
                    <a:gd name="connsiteY4" fmla="*/ 0 h 122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20" h="122325">
                      <a:moveTo>
                        <a:pt x="0" y="0"/>
                      </a:moveTo>
                      <a:lnTo>
                        <a:pt x="24721" y="0"/>
                      </a:lnTo>
                      <a:lnTo>
                        <a:pt x="24721" y="122325"/>
                      </a:lnTo>
                      <a:lnTo>
                        <a:pt x="0" y="122325"/>
                      </a:lnTo>
                      <a:lnTo>
                        <a:pt x="0" y="0"/>
                      </a:lnTo>
                      <a:close/>
                    </a:path>
                  </a:pathLst>
                </a:custGeom>
                <a:solidFill>
                  <a:srgbClr val="FFFFFF"/>
                </a:solidFill>
                <a:ln w="0" cap="flat">
                  <a:noFill/>
                  <a:prstDash val="solid"/>
                  <a:miter/>
                </a:ln>
              </p:spPr>
              <p:txBody>
                <a:bodyPr rtlCol="0" anchor="ctr"/>
                <a:lstStyle/>
                <a:p>
                  <a:endParaRPr lang="en-US"/>
                </a:p>
              </p:txBody>
            </p:sp>
          </p:grpSp>
        </p:grpSp>
        <p:pic>
          <p:nvPicPr>
            <p:cNvPr id="140" name="Graphic 139">
              <a:extLst>
                <a:ext uri="{FF2B5EF4-FFF2-40B4-BE49-F238E27FC236}">
                  <a16:creationId xmlns:a16="http://schemas.microsoft.com/office/drawing/2014/main" id="{ABCA0EB7-7B30-8FD5-2888-707E54F402DB}"/>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2066961" y="1875279"/>
              <a:ext cx="645068" cy="645068"/>
            </a:xfrm>
            <a:prstGeom prst="rect">
              <a:avLst/>
            </a:prstGeom>
          </p:spPr>
        </p:pic>
      </p:grpSp>
      <p:grpSp>
        <p:nvGrpSpPr>
          <p:cNvPr id="161" name="Group 160">
            <a:extLst>
              <a:ext uri="{FF2B5EF4-FFF2-40B4-BE49-F238E27FC236}">
                <a16:creationId xmlns:a16="http://schemas.microsoft.com/office/drawing/2014/main" id="{E6401050-E22E-6CEB-AA78-BBE695CC3F7D}"/>
              </a:ext>
            </a:extLst>
          </p:cNvPr>
          <p:cNvGrpSpPr/>
          <p:nvPr/>
        </p:nvGrpSpPr>
        <p:grpSpPr>
          <a:xfrm>
            <a:off x="6589896" y="2961798"/>
            <a:ext cx="722146" cy="722527"/>
            <a:chOff x="499836" y="1711717"/>
            <a:chExt cx="1180036" cy="1180659"/>
          </a:xfrm>
        </p:grpSpPr>
        <p:grpSp>
          <p:nvGrpSpPr>
            <p:cNvPr id="162" name="Group 161">
              <a:extLst>
                <a:ext uri="{FF2B5EF4-FFF2-40B4-BE49-F238E27FC236}">
                  <a16:creationId xmlns:a16="http://schemas.microsoft.com/office/drawing/2014/main" id="{2714CBC4-B2ED-4F5D-D387-154EDAB87424}"/>
                </a:ext>
              </a:extLst>
            </p:cNvPr>
            <p:cNvGrpSpPr/>
            <p:nvPr/>
          </p:nvGrpSpPr>
          <p:grpSpPr>
            <a:xfrm>
              <a:off x="499836" y="1711717"/>
              <a:ext cx="1180036" cy="1180659"/>
              <a:chOff x="2658359" y="4475676"/>
              <a:chExt cx="1180036" cy="1180659"/>
            </a:xfrm>
          </p:grpSpPr>
          <p:sp>
            <p:nvSpPr>
              <p:cNvPr id="164" name="Freeform 163">
                <a:extLst>
                  <a:ext uri="{FF2B5EF4-FFF2-40B4-BE49-F238E27FC236}">
                    <a16:creationId xmlns:a16="http://schemas.microsoft.com/office/drawing/2014/main" id="{BD708E8A-D583-D89B-0435-58BE146CF6B6}"/>
                  </a:ext>
                </a:extLst>
              </p:cNvPr>
              <p:cNvSpPr/>
              <p:nvPr/>
            </p:nvSpPr>
            <p:spPr>
              <a:xfrm>
                <a:off x="2658359" y="4475676"/>
                <a:ext cx="1180036" cy="1180659"/>
              </a:xfrm>
              <a:custGeom>
                <a:avLst/>
                <a:gdLst>
                  <a:gd name="connsiteX0" fmla="*/ 86934 w 1180036"/>
                  <a:gd name="connsiteY0" fmla="*/ 1180660 h 1180659"/>
                  <a:gd name="connsiteX1" fmla="*/ 1093102 w 1180036"/>
                  <a:gd name="connsiteY1" fmla="*/ 1180660 h 1180659"/>
                  <a:gd name="connsiteX2" fmla="*/ 1180036 w 1180036"/>
                  <a:gd name="connsiteY2" fmla="*/ 1093680 h 1180659"/>
                  <a:gd name="connsiteX3" fmla="*/ 1180036 w 1180036"/>
                  <a:gd name="connsiteY3" fmla="*/ 86980 h 1180659"/>
                  <a:gd name="connsiteX4" fmla="*/ 1093102 w 1180036"/>
                  <a:gd name="connsiteY4" fmla="*/ 0 h 1180659"/>
                  <a:gd name="connsiteX5" fmla="*/ 86934 w 1180036"/>
                  <a:gd name="connsiteY5" fmla="*/ 0 h 1180659"/>
                  <a:gd name="connsiteX6" fmla="*/ 0 w 1180036"/>
                  <a:gd name="connsiteY6" fmla="*/ 86980 h 1180659"/>
                  <a:gd name="connsiteX7" fmla="*/ 0 w 1180036"/>
                  <a:gd name="connsiteY7" fmla="*/ 1093680 h 1180659"/>
                  <a:gd name="connsiteX8" fmla="*/ 86934 w 1180036"/>
                  <a:gd name="connsiteY8" fmla="*/ 1180660 h 118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036" h="1180659">
                    <a:moveTo>
                      <a:pt x="86934" y="1180660"/>
                    </a:moveTo>
                    <a:lnTo>
                      <a:pt x="1093102" y="1180660"/>
                    </a:lnTo>
                    <a:cubicBezTo>
                      <a:pt x="1141125" y="1180660"/>
                      <a:pt x="1180036" y="1141728"/>
                      <a:pt x="1180036" y="1093680"/>
                    </a:cubicBezTo>
                    <a:lnTo>
                      <a:pt x="1180036" y="86980"/>
                    </a:lnTo>
                    <a:cubicBezTo>
                      <a:pt x="1180036" y="38932"/>
                      <a:pt x="1141125" y="0"/>
                      <a:pt x="1093102" y="0"/>
                    </a:cubicBezTo>
                    <a:lnTo>
                      <a:pt x="86934" y="0"/>
                    </a:lnTo>
                    <a:cubicBezTo>
                      <a:pt x="38911" y="0"/>
                      <a:pt x="0" y="38932"/>
                      <a:pt x="0" y="86980"/>
                    </a:cubicBezTo>
                    <a:lnTo>
                      <a:pt x="0" y="1093680"/>
                    </a:lnTo>
                    <a:cubicBezTo>
                      <a:pt x="0" y="1141728"/>
                      <a:pt x="38911" y="1180660"/>
                      <a:pt x="86934" y="1180660"/>
                    </a:cubicBezTo>
                  </a:path>
                </a:pathLst>
              </a:custGeom>
              <a:solidFill>
                <a:schemeClr val="tx1"/>
              </a:solidFill>
              <a:ln w="0" cap="flat">
                <a:noFill/>
                <a:prstDash val="solid"/>
                <a:miter/>
              </a:ln>
            </p:spPr>
            <p:txBody>
              <a:bodyPr rtlCol="0" anchor="ctr"/>
              <a:lstStyle/>
              <a:p>
                <a:endParaRPr lang="en-US"/>
              </a:p>
            </p:txBody>
          </p:sp>
          <p:grpSp>
            <p:nvGrpSpPr>
              <p:cNvPr id="165" name="Graphic 5">
                <a:extLst>
                  <a:ext uri="{FF2B5EF4-FFF2-40B4-BE49-F238E27FC236}">
                    <a16:creationId xmlns:a16="http://schemas.microsoft.com/office/drawing/2014/main" id="{7F7A1A75-5200-A6BC-2DA8-2FD6DF38A259}"/>
                  </a:ext>
                </a:extLst>
              </p:cNvPr>
              <p:cNvGrpSpPr/>
              <p:nvPr/>
            </p:nvGrpSpPr>
            <p:grpSpPr>
              <a:xfrm>
                <a:off x="2982495" y="5430741"/>
                <a:ext cx="471417" cy="126285"/>
                <a:chOff x="2982495" y="5430741"/>
                <a:chExt cx="471417" cy="126285"/>
              </a:xfrm>
              <a:solidFill>
                <a:srgbClr val="FFFFFF"/>
              </a:solidFill>
            </p:grpSpPr>
            <p:sp>
              <p:nvSpPr>
                <p:cNvPr id="170" name="Freeform 169">
                  <a:extLst>
                    <a:ext uri="{FF2B5EF4-FFF2-40B4-BE49-F238E27FC236}">
                      <a16:creationId xmlns:a16="http://schemas.microsoft.com/office/drawing/2014/main" id="{CA0F9D53-CB78-B60F-14D3-3E11A3432917}"/>
                    </a:ext>
                  </a:extLst>
                </p:cNvPr>
                <p:cNvSpPr/>
                <p:nvPr/>
              </p:nvSpPr>
              <p:spPr>
                <a:xfrm>
                  <a:off x="2982495" y="5430741"/>
                  <a:ext cx="121214" cy="126285"/>
                </a:xfrm>
                <a:custGeom>
                  <a:avLst/>
                  <a:gdLst>
                    <a:gd name="connsiteX0" fmla="*/ 0 w 121214"/>
                    <a:gd name="connsiteY0" fmla="*/ 63143 h 126285"/>
                    <a:gd name="connsiteX1" fmla="*/ 63110 w 121214"/>
                    <a:gd name="connsiteY1" fmla="*/ 0 h 126285"/>
                    <a:gd name="connsiteX2" fmla="*/ 121215 w 121214"/>
                    <a:gd name="connsiteY2" fmla="*/ 42892 h 126285"/>
                    <a:gd name="connsiteX3" fmla="*/ 95374 w 121214"/>
                    <a:gd name="connsiteY3" fmla="*/ 42892 h 126285"/>
                    <a:gd name="connsiteX4" fmla="*/ 63110 w 121214"/>
                    <a:gd name="connsiteY4" fmla="*/ 24061 h 126285"/>
                    <a:gd name="connsiteX5" fmla="*/ 25468 w 121214"/>
                    <a:gd name="connsiteY5" fmla="*/ 63143 h 126285"/>
                    <a:gd name="connsiteX6" fmla="*/ 63110 w 121214"/>
                    <a:gd name="connsiteY6" fmla="*/ 102224 h 126285"/>
                    <a:gd name="connsiteX7" fmla="*/ 95374 w 121214"/>
                    <a:gd name="connsiteY7" fmla="*/ 83393 h 126285"/>
                    <a:gd name="connsiteX8" fmla="*/ 121215 w 121214"/>
                    <a:gd name="connsiteY8" fmla="*/ 83393 h 126285"/>
                    <a:gd name="connsiteX9" fmla="*/ 63110 w 121214"/>
                    <a:gd name="connsiteY9" fmla="*/ 126286 h 126285"/>
                    <a:gd name="connsiteX10" fmla="*/ 0 w 121214"/>
                    <a:gd name="connsiteY10" fmla="*/ 63143 h 126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214" h="126285">
                      <a:moveTo>
                        <a:pt x="0" y="63143"/>
                      </a:moveTo>
                      <a:cubicBezTo>
                        <a:pt x="0" y="26901"/>
                        <a:pt x="27036" y="0"/>
                        <a:pt x="63110" y="0"/>
                      </a:cubicBezTo>
                      <a:cubicBezTo>
                        <a:pt x="94104" y="0"/>
                        <a:pt x="115614" y="17411"/>
                        <a:pt x="121215" y="42892"/>
                      </a:cubicBezTo>
                      <a:lnTo>
                        <a:pt x="95374" y="42892"/>
                      </a:lnTo>
                      <a:cubicBezTo>
                        <a:pt x="90519" y="32879"/>
                        <a:pt x="80661" y="24061"/>
                        <a:pt x="63110" y="24061"/>
                      </a:cubicBezTo>
                      <a:cubicBezTo>
                        <a:pt x="41973" y="24061"/>
                        <a:pt x="25468" y="40576"/>
                        <a:pt x="25468" y="63143"/>
                      </a:cubicBezTo>
                      <a:cubicBezTo>
                        <a:pt x="25468" y="85710"/>
                        <a:pt x="41973" y="102224"/>
                        <a:pt x="63110" y="102224"/>
                      </a:cubicBezTo>
                      <a:cubicBezTo>
                        <a:pt x="80661" y="102224"/>
                        <a:pt x="90519" y="93407"/>
                        <a:pt x="95374" y="83393"/>
                      </a:cubicBezTo>
                      <a:lnTo>
                        <a:pt x="121215" y="83393"/>
                      </a:lnTo>
                      <a:cubicBezTo>
                        <a:pt x="115688" y="108875"/>
                        <a:pt x="94179" y="126286"/>
                        <a:pt x="63110" y="126286"/>
                      </a:cubicBezTo>
                      <a:cubicBezTo>
                        <a:pt x="27111" y="126286"/>
                        <a:pt x="0" y="99385"/>
                        <a:pt x="0" y="63143"/>
                      </a:cubicBezTo>
                      <a:close/>
                    </a:path>
                  </a:pathLst>
                </a:custGeom>
                <a:solidFill>
                  <a:srgbClr val="FFFFFF"/>
                </a:solidFill>
                <a:ln w="0" cap="flat">
                  <a:noFill/>
                  <a:prstDash val="solid"/>
                  <a:miter/>
                </a:ln>
              </p:spPr>
              <p:txBody>
                <a:bodyPr rtlCol="0" anchor="ctr"/>
                <a:lstStyle/>
                <a:p>
                  <a:endParaRPr lang="en-US"/>
                </a:p>
              </p:txBody>
            </p:sp>
            <p:sp>
              <p:nvSpPr>
                <p:cNvPr id="171" name="Freeform 170">
                  <a:extLst>
                    <a:ext uri="{FF2B5EF4-FFF2-40B4-BE49-F238E27FC236}">
                      <a16:creationId xmlns:a16="http://schemas.microsoft.com/office/drawing/2014/main" id="{51651B48-5874-BEE8-97F3-624C1235D55F}"/>
                    </a:ext>
                  </a:extLst>
                </p:cNvPr>
                <p:cNvSpPr/>
                <p:nvPr/>
              </p:nvSpPr>
              <p:spPr>
                <a:xfrm>
                  <a:off x="3122979" y="5432683"/>
                  <a:ext cx="24720" cy="122325"/>
                </a:xfrm>
                <a:custGeom>
                  <a:avLst/>
                  <a:gdLst>
                    <a:gd name="connsiteX0" fmla="*/ 0 w 24720"/>
                    <a:gd name="connsiteY0" fmla="*/ 0 h 122325"/>
                    <a:gd name="connsiteX1" fmla="*/ 24721 w 24720"/>
                    <a:gd name="connsiteY1" fmla="*/ 0 h 122325"/>
                    <a:gd name="connsiteX2" fmla="*/ 24721 w 24720"/>
                    <a:gd name="connsiteY2" fmla="*/ 122325 h 122325"/>
                    <a:gd name="connsiteX3" fmla="*/ 0 w 24720"/>
                    <a:gd name="connsiteY3" fmla="*/ 122325 h 122325"/>
                    <a:gd name="connsiteX4" fmla="*/ 0 w 24720"/>
                    <a:gd name="connsiteY4" fmla="*/ 0 h 122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20" h="122325">
                      <a:moveTo>
                        <a:pt x="0" y="0"/>
                      </a:moveTo>
                      <a:lnTo>
                        <a:pt x="24721" y="0"/>
                      </a:lnTo>
                      <a:lnTo>
                        <a:pt x="24721" y="122325"/>
                      </a:lnTo>
                      <a:lnTo>
                        <a:pt x="0" y="122325"/>
                      </a:lnTo>
                      <a:lnTo>
                        <a:pt x="0" y="0"/>
                      </a:lnTo>
                      <a:close/>
                    </a:path>
                  </a:pathLst>
                </a:custGeom>
                <a:solidFill>
                  <a:srgbClr val="FFFFFF"/>
                </a:solidFill>
                <a:ln w="0" cap="flat">
                  <a:noFill/>
                  <a:prstDash val="solid"/>
                  <a:miter/>
                </a:ln>
              </p:spPr>
              <p:txBody>
                <a:bodyPr rtlCol="0" anchor="ctr"/>
                <a:lstStyle/>
                <a:p>
                  <a:endParaRPr lang="en-US"/>
                </a:p>
              </p:txBody>
            </p:sp>
            <p:sp>
              <p:nvSpPr>
                <p:cNvPr id="172" name="Freeform 171">
                  <a:extLst>
                    <a:ext uri="{FF2B5EF4-FFF2-40B4-BE49-F238E27FC236}">
                      <a16:creationId xmlns:a16="http://schemas.microsoft.com/office/drawing/2014/main" id="{8DA57270-736D-E25F-7423-074C8453146C}"/>
                    </a:ext>
                  </a:extLst>
                </p:cNvPr>
                <p:cNvSpPr/>
                <p:nvPr/>
              </p:nvSpPr>
              <p:spPr>
                <a:xfrm>
                  <a:off x="3165326" y="5468775"/>
                  <a:ext cx="91116" cy="88176"/>
                </a:xfrm>
                <a:custGeom>
                  <a:avLst/>
                  <a:gdLst>
                    <a:gd name="connsiteX0" fmla="*/ 0 w 91116"/>
                    <a:gd name="connsiteY0" fmla="*/ 44088 h 88176"/>
                    <a:gd name="connsiteX1" fmla="*/ 45558 w 91116"/>
                    <a:gd name="connsiteY1" fmla="*/ 0 h 88176"/>
                    <a:gd name="connsiteX2" fmla="*/ 91117 w 91116"/>
                    <a:gd name="connsiteY2" fmla="*/ 44088 h 88176"/>
                    <a:gd name="connsiteX3" fmla="*/ 45558 w 91116"/>
                    <a:gd name="connsiteY3" fmla="*/ 88176 h 88176"/>
                    <a:gd name="connsiteX4" fmla="*/ 0 w 91116"/>
                    <a:gd name="connsiteY4" fmla="*/ 44088 h 88176"/>
                    <a:gd name="connsiteX5" fmla="*/ 66694 w 91116"/>
                    <a:gd name="connsiteY5" fmla="*/ 44088 h 88176"/>
                    <a:gd name="connsiteX6" fmla="*/ 45558 w 91116"/>
                    <a:gd name="connsiteY6" fmla="*/ 21297 h 88176"/>
                    <a:gd name="connsiteX7" fmla="*/ 24422 w 91116"/>
                    <a:gd name="connsiteY7" fmla="*/ 44088 h 88176"/>
                    <a:gd name="connsiteX8" fmla="*/ 45558 w 91116"/>
                    <a:gd name="connsiteY8" fmla="*/ 66879 h 88176"/>
                    <a:gd name="connsiteX9" fmla="*/ 66694 w 91116"/>
                    <a:gd name="connsiteY9" fmla="*/ 44088 h 88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116" h="88176">
                      <a:moveTo>
                        <a:pt x="0" y="44088"/>
                      </a:moveTo>
                      <a:cubicBezTo>
                        <a:pt x="0" y="18981"/>
                        <a:pt x="18821" y="0"/>
                        <a:pt x="45558" y="0"/>
                      </a:cubicBezTo>
                      <a:cubicBezTo>
                        <a:pt x="72296" y="0"/>
                        <a:pt x="91117" y="18981"/>
                        <a:pt x="91117" y="44088"/>
                      </a:cubicBezTo>
                      <a:cubicBezTo>
                        <a:pt x="91117" y="69196"/>
                        <a:pt x="72296" y="88176"/>
                        <a:pt x="45558" y="88176"/>
                      </a:cubicBezTo>
                      <a:cubicBezTo>
                        <a:pt x="18821" y="88176"/>
                        <a:pt x="0" y="69196"/>
                        <a:pt x="0" y="44088"/>
                      </a:cubicBezTo>
                      <a:close/>
                      <a:moveTo>
                        <a:pt x="66694" y="44088"/>
                      </a:moveTo>
                      <a:cubicBezTo>
                        <a:pt x="66694" y="30638"/>
                        <a:pt x="57882" y="21297"/>
                        <a:pt x="45558" y="21297"/>
                      </a:cubicBezTo>
                      <a:cubicBezTo>
                        <a:pt x="33235" y="21297"/>
                        <a:pt x="24422" y="30638"/>
                        <a:pt x="24422" y="44088"/>
                      </a:cubicBezTo>
                      <a:cubicBezTo>
                        <a:pt x="24422" y="57539"/>
                        <a:pt x="33235" y="66879"/>
                        <a:pt x="45558" y="66879"/>
                      </a:cubicBezTo>
                      <a:cubicBezTo>
                        <a:pt x="57882" y="66879"/>
                        <a:pt x="66694" y="57539"/>
                        <a:pt x="66694" y="44088"/>
                      </a:cubicBezTo>
                      <a:close/>
                    </a:path>
                  </a:pathLst>
                </a:custGeom>
                <a:solidFill>
                  <a:srgbClr val="FFFFFF"/>
                </a:solidFill>
                <a:ln w="0" cap="flat">
                  <a:noFill/>
                  <a:prstDash val="solid"/>
                  <a:miter/>
                </a:ln>
              </p:spPr>
              <p:txBody>
                <a:bodyPr rtlCol="0" anchor="ctr"/>
                <a:lstStyle/>
                <a:p>
                  <a:endParaRPr lang="en-US"/>
                </a:p>
              </p:txBody>
            </p:sp>
            <p:sp>
              <p:nvSpPr>
                <p:cNvPr id="173" name="Freeform 172">
                  <a:extLst>
                    <a:ext uri="{FF2B5EF4-FFF2-40B4-BE49-F238E27FC236}">
                      <a16:creationId xmlns:a16="http://schemas.microsoft.com/office/drawing/2014/main" id="{506A525E-98DD-3996-C3E7-50AE84908BB3}"/>
                    </a:ext>
                  </a:extLst>
                </p:cNvPr>
                <p:cNvSpPr/>
                <p:nvPr/>
              </p:nvSpPr>
              <p:spPr>
                <a:xfrm>
                  <a:off x="3270334" y="5470644"/>
                  <a:ext cx="80287" cy="86309"/>
                </a:xfrm>
                <a:custGeom>
                  <a:avLst/>
                  <a:gdLst>
                    <a:gd name="connsiteX0" fmla="*/ 0 w 80287"/>
                    <a:gd name="connsiteY0" fmla="*/ 47226 h 86309"/>
                    <a:gd name="connsiteX1" fmla="*/ 0 w 80287"/>
                    <a:gd name="connsiteY1" fmla="*/ 75 h 86309"/>
                    <a:gd name="connsiteX2" fmla="*/ 24721 w 80287"/>
                    <a:gd name="connsiteY2" fmla="*/ 75 h 86309"/>
                    <a:gd name="connsiteX3" fmla="*/ 24721 w 80287"/>
                    <a:gd name="connsiteY3" fmla="*/ 45433 h 86309"/>
                    <a:gd name="connsiteX4" fmla="*/ 39957 w 80287"/>
                    <a:gd name="connsiteY4" fmla="*/ 64787 h 86309"/>
                    <a:gd name="connsiteX5" fmla="*/ 55566 w 80287"/>
                    <a:gd name="connsiteY5" fmla="*/ 45583 h 86309"/>
                    <a:gd name="connsiteX6" fmla="*/ 55566 w 80287"/>
                    <a:gd name="connsiteY6" fmla="*/ 0 h 86309"/>
                    <a:gd name="connsiteX7" fmla="*/ 80287 w 80287"/>
                    <a:gd name="connsiteY7" fmla="*/ 0 h 86309"/>
                    <a:gd name="connsiteX8" fmla="*/ 80287 w 80287"/>
                    <a:gd name="connsiteY8" fmla="*/ 47376 h 86309"/>
                    <a:gd name="connsiteX9" fmla="*/ 39957 w 80287"/>
                    <a:gd name="connsiteY9" fmla="*/ 86308 h 86309"/>
                    <a:gd name="connsiteX10" fmla="*/ 0 w 80287"/>
                    <a:gd name="connsiteY10" fmla="*/ 47226 h 8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0287" h="86309">
                      <a:moveTo>
                        <a:pt x="0" y="47226"/>
                      </a:moveTo>
                      <a:lnTo>
                        <a:pt x="0" y="75"/>
                      </a:lnTo>
                      <a:lnTo>
                        <a:pt x="24721" y="75"/>
                      </a:lnTo>
                      <a:lnTo>
                        <a:pt x="24721" y="45433"/>
                      </a:lnTo>
                      <a:cubicBezTo>
                        <a:pt x="24721" y="57240"/>
                        <a:pt x="29949" y="64638"/>
                        <a:pt x="39957" y="64787"/>
                      </a:cubicBezTo>
                      <a:cubicBezTo>
                        <a:pt x="50861" y="64936"/>
                        <a:pt x="55566" y="57613"/>
                        <a:pt x="55566" y="45583"/>
                      </a:cubicBezTo>
                      <a:lnTo>
                        <a:pt x="55566" y="0"/>
                      </a:lnTo>
                      <a:lnTo>
                        <a:pt x="80287" y="0"/>
                      </a:lnTo>
                      <a:lnTo>
                        <a:pt x="80287" y="47376"/>
                      </a:lnTo>
                      <a:cubicBezTo>
                        <a:pt x="80287" y="69047"/>
                        <a:pt x="63632" y="86457"/>
                        <a:pt x="39957" y="86308"/>
                      </a:cubicBezTo>
                      <a:cubicBezTo>
                        <a:pt x="14116" y="86159"/>
                        <a:pt x="0" y="70018"/>
                        <a:pt x="0" y="47226"/>
                      </a:cubicBezTo>
                      <a:close/>
                    </a:path>
                  </a:pathLst>
                </a:custGeom>
                <a:solidFill>
                  <a:srgbClr val="FFFFFF"/>
                </a:solidFill>
                <a:ln w="0" cap="flat">
                  <a:noFill/>
                  <a:prstDash val="solid"/>
                  <a:miter/>
                </a:ln>
              </p:spPr>
              <p:txBody>
                <a:bodyPr rtlCol="0" anchor="ctr"/>
                <a:lstStyle/>
                <a:p>
                  <a:endParaRPr lang="en-US"/>
                </a:p>
              </p:txBody>
            </p:sp>
            <p:sp>
              <p:nvSpPr>
                <p:cNvPr id="174" name="Freeform 173">
                  <a:extLst>
                    <a:ext uri="{FF2B5EF4-FFF2-40B4-BE49-F238E27FC236}">
                      <a16:creationId xmlns:a16="http://schemas.microsoft.com/office/drawing/2014/main" id="{EFB2E58B-3E71-7400-6D35-7949CAD98CB0}"/>
                    </a:ext>
                  </a:extLst>
                </p:cNvPr>
                <p:cNvSpPr/>
                <p:nvPr/>
              </p:nvSpPr>
              <p:spPr>
                <a:xfrm>
                  <a:off x="3364663" y="5432833"/>
                  <a:ext cx="89249" cy="124193"/>
                </a:xfrm>
                <a:custGeom>
                  <a:avLst/>
                  <a:gdLst>
                    <a:gd name="connsiteX0" fmla="*/ 65052 w 89249"/>
                    <a:gd name="connsiteY0" fmla="*/ 109473 h 124193"/>
                    <a:gd name="connsiteX1" fmla="*/ 38015 w 89249"/>
                    <a:gd name="connsiteY1" fmla="*/ 124194 h 124193"/>
                    <a:gd name="connsiteX2" fmla="*/ 0 w 89249"/>
                    <a:gd name="connsiteY2" fmla="*/ 80106 h 124193"/>
                    <a:gd name="connsiteX3" fmla="*/ 38015 w 89249"/>
                    <a:gd name="connsiteY3" fmla="*/ 36018 h 124193"/>
                    <a:gd name="connsiteX4" fmla="*/ 64529 w 89249"/>
                    <a:gd name="connsiteY4" fmla="*/ 49842 h 124193"/>
                    <a:gd name="connsiteX5" fmla="*/ 64529 w 89249"/>
                    <a:gd name="connsiteY5" fmla="*/ 0 h 124193"/>
                    <a:gd name="connsiteX6" fmla="*/ 89250 w 89249"/>
                    <a:gd name="connsiteY6" fmla="*/ 0 h 124193"/>
                    <a:gd name="connsiteX7" fmla="*/ 89250 w 89249"/>
                    <a:gd name="connsiteY7" fmla="*/ 122326 h 124193"/>
                    <a:gd name="connsiteX8" fmla="*/ 66471 w 89249"/>
                    <a:gd name="connsiteY8" fmla="*/ 122326 h 124193"/>
                    <a:gd name="connsiteX9" fmla="*/ 65052 w 89249"/>
                    <a:gd name="connsiteY9" fmla="*/ 109622 h 124193"/>
                    <a:gd name="connsiteX10" fmla="*/ 64678 w 89249"/>
                    <a:gd name="connsiteY10" fmla="*/ 80031 h 124193"/>
                    <a:gd name="connsiteX11" fmla="*/ 44961 w 89249"/>
                    <a:gd name="connsiteY11" fmla="*/ 57464 h 124193"/>
                    <a:gd name="connsiteX12" fmla="*/ 24348 w 89249"/>
                    <a:gd name="connsiteY12" fmla="*/ 80031 h 124193"/>
                    <a:gd name="connsiteX13" fmla="*/ 44961 w 89249"/>
                    <a:gd name="connsiteY13" fmla="*/ 102598 h 124193"/>
                    <a:gd name="connsiteX14" fmla="*/ 64678 w 89249"/>
                    <a:gd name="connsiteY14" fmla="*/ 80031 h 124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9249" h="124193">
                      <a:moveTo>
                        <a:pt x="65052" y="109473"/>
                      </a:moveTo>
                      <a:cubicBezTo>
                        <a:pt x="60570" y="118589"/>
                        <a:pt x="51234" y="124194"/>
                        <a:pt x="38015" y="124194"/>
                      </a:cubicBezTo>
                      <a:cubicBezTo>
                        <a:pt x="19344" y="124194"/>
                        <a:pt x="0" y="109473"/>
                        <a:pt x="0" y="80106"/>
                      </a:cubicBezTo>
                      <a:cubicBezTo>
                        <a:pt x="0" y="50739"/>
                        <a:pt x="19344" y="36018"/>
                        <a:pt x="38015" y="36018"/>
                      </a:cubicBezTo>
                      <a:cubicBezTo>
                        <a:pt x="50712" y="36018"/>
                        <a:pt x="59898" y="41249"/>
                        <a:pt x="64529" y="49842"/>
                      </a:cubicBezTo>
                      <a:lnTo>
                        <a:pt x="64529" y="0"/>
                      </a:lnTo>
                      <a:lnTo>
                        <a:pt x="89250" y="0"/>
                      </a:lnTo>
                      <a:lnTo>
                        <a:pt x="89250" y="122326"/>
                      </a:lnTo>
                      <a:lnTo>
                        <a:pt x="66471" y="122326"/>
                      </a:lnTo>
                      <a:lnTo>
                        <a:pt x="65052" y="109622"/>
                      </a:lnTo>
                      <a:close/>
                      <a:moveTo>
                        <a:pt x="64678" y="80031"/>
                      </a:moveTo>
                      <a:cubicBezTo>
                        <a:pt x="64678" y="64264"/>
                        <a:pt x="54446" y="57464"/>
                        <a:pt x="44961" y="57464"/>
                      </a:cubicBezTo>
                      <a:cubicBezTo>
                        <a:pt x="33161" y="57464"/>
                        <a:pt x="24348" y="66057"/>
                        <a:pt x="24348" y="80031"/>
                      </a:cubicBezTo>
                      <a:cubicBezTo>
                        <a:pt x="24348" y="94005"/>
                        <a:pt x="33161" y="102598"/>
                        <a:pt x="44961" y="102598"/>
                      </a:cubicBezTo>
                      <a:cubicBezTo>
                        <a:pt x="54446" y="102598"/>
                        <a:pt x="64678" y="95798"/>
                        <a:pt x="64678" y="80031"/>
                      </a:cubicBezTo>
                      <a:close/>
                    </a:path>
                  </a:pathLst>
                </a:custGeom>
                <a:solidFill>
                  <a:srgbClr val="FFFFFF"/>
                </a:solidFill>
                <a:ln w="0" cap="flat">
                  <a:noFill/>
                  <a:prstDash val="solid"/>
                  <a:miter/>
                </a:ln>
              </p:spPr>
              <p:txBody>
                <a:bodyPr rtlCol="0" anchor="ctr"/>
                <a:lstStyle/>
                <a:p>
                  <a:endParaRPr lang="en-US"/>
                </a:p>
              </p:txBody>
            </p:sp>
          </p:grpSp>
        </p:grpSp>
        <p:pic>
          <p:nvPicPr>
            <p:cNvPr id="163" name="Graphic 162">
              <a:extLst>
                <a:ext uri="{FF2B5EF4-FFF2-40B4-BE49-F238E27FC236}">
                  <a16:creationId xmlns:a16="http://schemas.microsoft.com/office/drawing/2014/main" id="{097750EE-E86E-3150-F5C7-2A236EE96BF9}"/>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782409" y="1883212"/>
              <a:ext cx="645068" cy="645068"/>
            </a:xfrm>
            <a:prstGeom prst="rect">
              <a:avLst/>
            </a:prstGeom>
          </p:spPr>
        </p:pic>
      </p:grpSp>
      <p:grpSp>
        <p:nvGrpSpPr>
          <p:cNvPr id="175" name="Group 174">
            <a:extLst>
              <a:ext uri="{FF2B5EF4-FFF2-40B4-BE49-F238E27FC236}">
                <a16:creationId xmlns:a16="http://schemas.microsoft.com/office/drawing/2014/main" id="{5E737A34-AEEB-B6FF-849B-7E7548E77C92}"/>
              </a:ext>
            </a:extLst>
          </p:cNvPr>
          <p:cNvGrpSpPr/>
          <p:nvPr/>
        </p:nvGrpSpPr>
        <p:grpSpPr>
          <a:xfrm>
            <a:off x="7053465" y="4107766"/>
            <a:ext cx="722146" cy="722527"/>
            <a:chOff x="4363224" y="1711717"/>
            <a:chExt cx="1180036" cy="1180659"/>
          </a:xfrm>
        </p:grpSpPr>
        <p:grpSp>
          <p:nvGrpSpPr>
            <p:cNvPr id="176" name="Group 175">
              <a:extLst>
                <a:ext uri="{FF2B5EF4-FFF2-40B4-BE49-F238E27FC236}">
                  <a16:creationId xmlns:a16="http://schemas.microsoft.com/office/drawing/2014/main" id="{DE7722D1-3795-243F-DD47-E1EBB0B92603}"/>
                </a:ext>
              </a:extLst>
            </p:cNvPr>
            <p:cNvGrpSpPr/>
            <p:nvPr/>
          </p:nvGrpSpPr>
          <p:grpSpPr>
            <a:xfrm>
              <a:off x="4363224" y="1711717"/>
              <a:ext cx="1180036" cy="1180659"/>
              <a:chOff x="6798046" y="4475676"/>
              <a:chExt cx="1180036" cy="1180659"/>
            </a:xfrm>
          </p:grpSpPr>
          <p:sp>
            <p:nvSpPr>
              <p:cNvPr id="216" name="Freeform 215">
                <a:extLst>
                  <a:ext uri="{FF2B5EF4-FFF2-40B4-BE49-F238E27FC236}">
                    <a16:creationId xmlns:a16="http://schemas.microsoft.com/office/drawing/2014/main" id="{E736D729-9142-7EE1-DA31-D41C708DC8F6}"/>
                  </a:ext>
                </a:extLst>
              </p:cNvPr>
              <p:cNvSpPr/>
              <p:nvPr/>
            </p:nvSpPr>
            <p:spPr>
              <a:xfrm>
                <a:off x="6798046" y="4475676"/>
                <a:ext cx="1180036" cy="1180659"/>
              </a:xfrm>
              <a:custGeom>
                <a:avLst/>
                <a:gdLst>
                  <a:gd name="connsiteX0" fmla="*/ 1093102 w 1180036"/>
                  <a:gd name="connsiteY0" fmla="*/ 1180660 h 1180659"/>
                  <a:gd name="connsiteX1" fmla="*/ 86934 w 1180036"/>
                  <a:gd name="connsiteY1" fmla="*/ 1180660 h 1180659"/>
                  <a:gd name="connsiteX2" fmla="*/ 0 w 1180036"/>
                  <a:gd name="connsiteY2" fmla="*/ 1093680 h 1180659"/>
                  <a:gd name="connsiteX3" fmla="*/ 0 w 1180036"/>
                  <a:gd name="connsiteY3" fmla="*/ 86980 h 1180659"/>
                  <a:gd name="connsiteX4" fmla="*/ 86934 w 1180036"/>
                  <a:gd name="connsiteY4" fmla="*/ 0 h 1180659"/>
                  <a:gd name="connsiteX5" fmla="*/ 1093102 w 1180036"/>
                  <a:gd name="connsiteY5" fmla="*/ 0 h 1180659"/>
                  <a:gd name="connsiteX6" fmla="*/ 1180036 w 1180036"/>
                  <a:gd name="connsiteY6" fmla="*/ 86980 h 1180659"/>
                  <a:gd name="connsiteX7" fmla="*/ 1180036 w 1180036"/>
                  <a:gd name="connsiteY7" fmla="*/ 1093680 h 1180659"/>
                  <a:gd name="connsiteX8" fmla="*/ 1093102 w 1180036"/>
                  <a:gd name="connsiteY8" fmla="*/ 1180660 h 118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036" h="1180659">
                    <a:moveTo>
                      <a:pt x="1093102" y="1180660"/>
                    </a:moveTo>
                    <a:lnTo>
                      <a:pt x="86934" y="1180660"/>
                    </a:lnTo>
                    <a:cubicBezTo>
                      <a:pt x="38911" y="1180660"/>
                      <a:pt x="0" y="1141728"/>
                      <a:pt x="0" y="1093680"/>
                    </a:cubicBezTo>
                    <a:lnTo>
                      <a:pt x="0" y="86980"/>
                    </a:lnTo>
                    <a:cubicBezTo>
                      <a:pt x="0" y="38932"/>
                      <a:pt x="38911" y="0"/>
                      <a:pt x="86934" y="0"/>
                    </a:cubicBezTo>
                    <a:lnTo>
                      <a:pt x="1093102" y="0"/>
                    </a:lnTo>
                    <a:cubicBezTo>
                      <a:pt x="1141125" y="0"/>
                      <a:pt x="1180036" y="38932"/>
                      <a:pt x="1180036" y="86980"/>
                    </a:cubicBezTo>
                    <a:lnTo>
                      <a:pt x="1180036" y="1093680"/>
                    </a:lnTo>
                    <a:cubicBezTo>
                      <a:pt x="1180036" y="1141728"/>
                      <a:pt x="1141125" y="1180660"/>
                      <a:pt x="1093102" y="1180660"/>
                    </a:cubicBezTo>
                  </a:path>
                </a:pathLst>
              </a:custGeom>
              <a:solidFill>
                <a:schemeClr val="tx1"/>
              </a:solidFill>
              <a:ln w="0" cap="flat">
                <a:noFill/>
                <a:prstDash val="solid"/>
                <a:miter/>
              </a:ln>
            </p:spPr>
            <p:txBody>
              <a:bodyPr rtlCol="0" anchor="ctr"/>
              <a:lstStyle/>
              <a:p>
                <a:endParaRPr lang="en-US"/>
              </a:p>
            </p:txBody>
          </p:sp>
          <p:grpSp>
            <p:nvGrpSpPr>
              <p:cNvPr id="217" name="Graphic 5">
                <a:extLst>
                  <a:ext uri="{FF2B5EF4-FFF2-40B4-BE49-F238E27FC236}">
                    <a16:creationId xmlns:a16="http://schemas.microsoft.com/office/drawing/2014/main" id="{04923F0F-A068-E515-9645-3BDBE51DEE46}"/>
                  </a:ext>
                </a:extLst>
              </p:cNvPr>
              <p:cNvGrpSpPr/>
              <p:nvPr/>
            </p:nvGrpSpPr>
            <p:grpSpPr>
              <a:xfrm>
                <a:off x="7182529" y="5432683"/>
                <a:ext cx="406066" cy="157819"/>
                <a:chOff x="7182529" y="5432683"/>
                <a:chExt cx="406066" cy="157819"/>
              </a:xfrm>
              <a:solidFill>
                <a:srgbClr val="FFFFFF"/>
              </a:solidFill>
            </p:grpSpPr>
            <p:sp>
              <p:nvSpPr>
                <p:cNvPr id="218" name="Freeform 217">
                  <a:extLst>
                    <a:ext uri="{FF2B5EF4-FFF2-40B4-BE49-F238E27FC236}">
                      <a16:creationId xmlns:a16="http://schemas.microsoft.com/office/drawing/2014/main" id="{89E09720-24F2-455F-F150-5C908464BED7}"/>
                    </a:ext>
                  </a:extLst>
                </p:cNvPr>
                <p:cNvSpPr/>
                <p:nvPr/>
              </p:nvSpPr>
              <p:spPr>
                <a:xfrm>
                  <a:off x="7182529" y="5432683"/>
                  <a:ext cx="118750" cy="122325"/>
                </a:xfrm>
                <a:custGeom>
                  <a:avLst/>
                  <a:gdLst>
                    <a:gd name="connsiteX0" fmla="*/ 43094 w 118750"/>
                    <a:gd name="connsiteY0" fmla="*/ 0 h 122325"/>
                    <a:gd name="connsiteX1" fmla="*/ 75732 w 118750"/>
                    <a:gd name="connsiteY1" fmla="*/ 0 h 122325"/>
                    <a:gd name="connsiteX2" fmla="*/ 118751 w 118750"/>
                    <a:gd name="connsiteY2" fmla="*/ 122325 h 122325"/>
                    <a:gd name="connsiteX3" fmla="*/ 92386 w 118750"/>
                    <a:gd name="connsiteY3" fmla="*/ 122325 h 122325"/>
                    <a:gd name="connsiteX4" fmla="*/ 83947 w 118750"/>
                    <a:gd name="connsiteY4" fmla="*/ 97591 h 122325"/>
                    <a:gd name="connsiteX5" fmla="*/ 34804 w 118750"/>
                    <a:gd name="connsiteY5" fmla="*/ 97591 h 122325"/>
                    <a:gd name="connsiteX6" fmla="*/ 26364 w 118750"/>
                    <a:gd name="connsiteY6" fmla="*/ 122325 h 122325"/>
                    <a:gd name="connsiteX7" fmla="*/ 0 w 118750"/>
                    <a:gd name="connsiteY7" fmla="*/ 122325 h 122325"/>
                    <a:gd name="connsiteX8" fmla="*/ 43019 w 118750"/>
                    <a:gd name="connsiteY8" fmla="*/ 0 h 122325"/>
                    <a:gd name="connsiteX9" fmla="*/ 77524 w 118750"/>
                    <a:gd name="connsiteY9" fmla="*/ 75697 h 122325"/>
                    <a:gd name="connsiteX10" fmla="*/ 61392 w 118750"/>
                    <a:gd name="connsiteY10" fmla="*/ 28694 h 122325"/>
                    <a:gd name="connsiteX11" fmla="*/ 59599 w 118750"/>
                    <a:gd name="connsiteY11" fmla="*/ 22044 h 122325"/>
                    <a:gd name="connsiteX12" fmla="*/ 59226 w 118750"/>
                    <a:gd name="connsiteY12" fmla="*/ 22044 h 122325"/>
                    <a:gd name="connsiteX13" fmla="*/ 57434 w 118750"/>
                    <a:gd name="connsiteY13" fmla="*/ 28694 h 122325"/>
                    <a:gd name="connsiteX14" fmla="*/ 41301 w 118750"/>
                    <a:gd name="connsiteY14" fmla="*/ 75697 h 122325"/>
                    <a:gd name="connsiteX15" fmla="*/ 77524 w 118750"/>
                    <a:gd name="connsiteY15" fmla="*/ 75697 h 122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50" h="122325">
                      <a:moveTo>
                        <a:pt x="43094" y="0"/>
                      </a:moveTo>
                      <a:lnTo>
                        <a:pt x="75732" y="0"/>
                      </a:lnTo>
                      <a:lnTo>
                        <a:pt x="118751" y="122325"/>
                      </a:lnTo>
                      <a:lnTo>
                        <a:pt x="92386" y="122325"/>
                      </a:lnTo>
                      <a:lnTo>
                        <a:pt x="83947" y="97591"/>
                      </a:lnTo>
                      <a:lnTo>
                        <a:pt x="34804" y="97591"/>
                      </a:lnTo>
                      <a:lnTo>
                        <a:pt x="26364" y="122325"/>
                      </a:lnTo>
                      <a:lnTo>
                        <a:pt x="0" y="122325"/>
                      </a:lnTo>
                      <a:lnTo>
                        <a:pt x="43019" y="0"/>
                      </a:lnTo>
                      <a:close/>
                      <a:moveTo>
                        <a:pt x="77524" y="75697"/>
                      </a:moveTo>
                      <a:lnTo>
                        <a:pt x="61392" y="28694"/>
                      </a:lnTo>
                      <a:cubicBezTo>
                        <a:pt x="60495" y="25855"/>
                        <a:pt x="59973" y="23837"/>
                        <a:pt x="59599" y="22044"/>
                      </a:cubicBezTo>
                      <a:lnTo>
                        <a:pt x="59226" y="22044"/>
                      </a:lnTo>
                      <a:cubicBezTo>
                        <a:pt x="58852" y="23837"/>
                        <a:pt x="58330" y="25780"/>
                        <a:pt x="57434" y="28694"/>
                      </a:cubicBezTo>
                      <a:lnTo>
                        <a:pt x="41301" y="75697"/>
                      </a:lnTo>
                      <a:lnTo>
                        <a:pt x="77524" y="75697"/>
                      </a:lnTo>
                      <a:close/>
                    </a:path>
                  </a:pathLst>
                </a:custGeom>
                <a:solidFill>
                  <a:srgbClr val="FFFFFF"/>
                </a:solidFill>
                <a:ln w="0" cap="flat">
                  <a:noFill/>
                  <a:prstDash val="solid"/>
                  <a:miter/>
                </a:ln>
              </p:spPr>
              <p:txBody>
                <a:bodyPr rtlCol="0" anchor="ctr"/>
                <a:lstStyle/>
                <a:p>
                  <a:endParaRPr lang="en-US"/>
                </a:p>
              </p:txBody>
            </p:sp>
            <p:sp>
              <p:nvSpPr>
                <p:cNvPr id="219" name="Freeform 218">
                  <a:extLst>
                    <a:ext uri="{FF2B5EF4-FFF2-40B4-BE49-F238E27FC236}">
                      <a16:creationId xmlns:a16="http://schemas.microsoft.com/office/drawing/2014/main" id="{9DD36FE4-1CF0-4EA5-8158-3B62C18EFFF4}"/>
                    </a:ext>
                  </a:extLst>
                </p:cNvPr>
                <p:cNvSpPr/>
                <p:nvPr/>
              </p:nvSpPr>
              <p:spPr>
                <a:xfrm>
                  <a:off x="7314125" y="5468701"/>
                  <a:ext cx="89250" cy="121802"/>
                </a:xfrm>
                <a:custGeom>
                  <a:avLst/>
                  <a:gdLst>
                    <a:gd name="connsiteX0" fmla="*/ 24721 w 89250"/>
                    <a:gd name="connsiteY0" fmla="*/ 73380 h 121802"/>
                    <a:gd name="connsiteX1" fmla="*/ 24721 w 89250"/>
                    <a:gd name="connsiteY1" fmla="*/ 121802 h 121802"/>
                    <a:gd name="connsiteX2" fmla="*/ 0 w 89250"/>
                    <a:gd name="connsiteY2" fmla="*/ 121802 h 121802"/>
                    <a:gd name="connsiteX3" fmla="*/ 0 w 89250"/>
                    <a:gd name="connsiteY3" fmla="*/ 2017 h 121802"/>
                    <a:gd name="connsiteX4" fmla="*/ 21883 w 89250"/>
                    <a:gd name="connsiteY4" fmla="*/ 2017 h 121802"/>
                    <a:gd name="connsiteX5" fmla="*/ 24198 w 89250"/>
                    <a:gd name="connsiteY5" fmla="*/ 15991 h 121802"/>
                    <a:gd name="connsiteX6" fmla="*/ 51085 w 89250"/>
                    <a:gd name="connsiteY6" fmla="*/ 0 h 121802"/>
                    <a:gd name="connsiteX7" fmla="*/ 89250 w 89250"/>
                    <a:gd name="connsiteY7" fmla="*/ 44088 h 121802"/>
                    <a:gd name="connsiteX8" fmla="*/ 51085 w 89250"/>
                    <a:gd name="connsiteY8" fmla="*/ 88176 h 121802"/>
                    <a:gd name="connsiteX9" fmla="*/ 24721 w 89250"/>
                    <a:gd name="connsiteY9" fmla="*/ 73306 h 121802"/>
                    <a:gd name="connsiteX10" fmla="*/ 64902 w 89250"/>
                    <a:gd name="connsiteY10" fmla="*/ 44162 h 121802"/>
                    <a:gd name="connsiteX11" fmla="*/ 44140 w 89250"/>
                    <a:gd name="connsiteY11" fmla="*/ 21595 h 121802"/>
                    <a:gd name="connsiteX12" fmla="*/ 24572 w 89250"/>
                    <a:gd name="connsiteY12" fmla="*/ 44162 h 121802"/>
                    <a:gd name="connsiteX13" fmla="*/ 44140 w 89250"/>
                    <a:gd name="connsiteY13" fmla="*/ 66730 h 121802"/>
                    <a:gd name="connsiteX14" fmla="*/ 64902 w 89250"/>
                    <a:gd name="connsiteY14" fmla="*/ 44162 h 12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9250" h="121802">
                      <a:moveTo>
                        <a:pt x="24721" y="73380"/>
                      </a:moveTo>
                      <a:lnTo>
                        <a:pt x="24721" y="121802"/>
                      </a:lnTo>
                      <a:lnTo>
                        <a:pt x="0" y="121802"/>
                      </a:lnTo>
                      <a:lnTo>
                        <a:pt x="0" y="2017"/>
                      </a:lnTo>
                      <a:lnTo>
                        <a:pt x="21883" y="2017"/>
                      </a:lnTo>
                      <a:lnTo>
                        <a:pt x="24198" y="15991"/>
                      </a:lnTo>
                      <a:cubicBezTo>
                        <a:pt x="29202" y="6128"/>
                        <a:pt x="38389" y="0"/>
                        <a:pt x="51085" y="0"/>
                      </a:cubicBezTo>
                      <a:cubicBezTo>
                        <a:pt x="69906" y="0"/>
                        <a:pt x="89250" y="14721"/>
                        <a:pt x="89250" y="44088"/>
                      </a:cubicBezTo>
                      <a:cubicBezTo>
                        <a:pt x="89250" y="73455"/>
                        <a:pt x="69906" y="88176"/>
                        <a:pt x="51085" y="88176"/>
                      </a:cubicBezTo>
                      <a:cubicBezTo>
                        <a:pt x="38688" y="88176"/>
                        <a:pt x="29725" y="82646"/>
                        <a:pt x="24721" y="73306"/>
                      </a:cubicBezTo>
                      <a:close/>
                      <a:moveTo>
                        <a:pt x="64902" y="44162"/>
                      </a:moveTo>
                      <a:cubicBezTo>
                        <a:pt x="64902" y="30712"/>
                        <a:pt x="56313" y="21595"/>
                        <a:pt x="44140" y="21595"/>
                      </a:cubicBezTo>
                      <a:cubicBezTo>
                        <a:pt x="35178" y="21595"/>
                        <a:pt x="24572" y="28919"/>
                        <a:pt x="24572" y="44162"/>
                      </a:cubicBezTo>
                      <a:cubicBezTo>
                        <a:pt x="24572" y="60453"/>
                        <a:pt x="34804" y="66730"/>
                        <a:pt x="44140" y="66730"/>
                      </a:cubicBezTo>
                      <a:cubicBezTo>
                        <a:pt x="56164" y="66730"/>
                        <a:pt x="64902" y="58136"/>
                        <a:pt x="64902" y="44162"/>
                      </a:cubicBezTo>
                      <a:close/>
                    </a:path>
                  </a:pathLst>
                </a:custGeom>
                <a:solidFill>
                  <a:srgbClr val="FFFFFF"/>
                </a:solidFill>
                <a:ln w="0" cap="flat">
                  <a:noFill/>
                  <a:prstDash val="solid"/>
                  <a:miter/>
                </a:ln>
              </p:spPr>
              <p:txBody>
                <a:bodyPr rtlCol="0" anchor="ctr"/>
                <a:lstStyle/>
                <a:p>
                  <a:endParaRPr lang="en-US"/>
                </a:p>
              </p:txBody>
            </p:sp>
            <p:sp>
              <p:nvSpPr>
                <p:cNvPr id="220" name="Freeform 219">
                  <a:extLst>
                    <a:ext uri="{FF2B5EF4-FFF2-40B4-BE49-F238E27FC236}">
                      <a16:creationId xmlns:a16="http://schemas.microsoft.com/office/drawing/2014/main" id="{6622A7C1-3CBE-1829-565E-85E6E12240CC}"/>
                    </a:ext>
                  </a:extLst>
                </p:cNvPr>
                <p:cNvSpPr/>
                <p:nvPr/>
              </p:nvSpPr>
              <p:spPr>
                <a:xfrm>
                  <a:off x="7420254" y="5468701"/>
                  <a:ext cx="89249" cy="121802"/>
                </a:xfrm>
                <a:custGeom>
                  <a:avLst/>
                  <a:gdLst>
                    <a:gd name="connsiteX0" fmla="*/ 24721 w 89249"/>
                    <a:gd name="connsiteY0" fmla="*/ 73380 h 121802"/>
                    <a:gd name="connsiteX1" fmla="*/ 24721 w 89249"/>
                    <a:gd name="connsiteY1" fmla="*/ 121802 h 121802"/>
                    <a:gd name="connsiteX2" fmla="*/ 0 w 89249"/>
                    <a:gd name="connsiteY2" fmla="*/ 121802 h 121802"/>
                    <a:gd name="connsiteX3" fmla="*/ 0 w 89249"/>
                    <a:gd name="connsiteY3" fmla="*/ 2017 h 121802"/>
                    <a:gd name="connsiteX4" fmla="*/ 21882 w 89249"/>
                    <a:gd name="connsiteY4" fmla="*/ 2017 h 121802"/>
                    <a:gd name="connsiteX5" fmla="*/ 24198 w 89249"/>
                    <a:gd name="connsiteY5" fmla="*/ 15991 h 121802"/>
                    <a:gd name="connsiteX6" fmla="*/ 51085 w 89249"/>
                    <a:gd name="connsiteY6" fmla="*/ 0 h 121802"/>
                    <a:gd name="connsiteX7" fmla="*/ 89249 w 89249"/>
                    <a:gd name="connsiteY7" fmla="*/ 44088 h 121802"/>
                    <a:gd name="connsiteX8" fmla="*/ 51085 w 89249"/>
                    <a:gd name="connsiteY8" fmla="*/ 88176 h 121802"/>
                    <a:gd name="connsiteX9" fmla="*/ 24721 w 89249"/>
                    <a:gd name="connsiteY9" fmla="*/ 73306 h 121802"/>
                    <a:gd name="connsiteX10" fmla="*/ 64902 w 89249"/>
                    <a:gd name="connsiteY10" fmla="*/ 44162 h 121802"/>
                    <a:gd name="connsiteX11" fmla="*/ 44139 w 89249"/>
                    <a:gd name="connsiteY11" fmla="*/ 21595 h 121802"/>
                    <a:gd name="connsiteX12" fmla="*/ 24571 w 89249"/>
                    <a:gd name="connsiteY12" fmla="*/ 44162 h 121802"/>
                    <a:gd name="connsiteX13" fmla="*/ 44139 w 89249"/>
                    <a:gd name="connsiteY13" fmla="*/ 66730 h 121802"/>
                    <a:gd name="connsiteX14" fmla="*/ 64902 w 89249"/>
                    <a:gd name="connsiteY14" fmla="*/ 44162 h 12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9249" h="121802">
                      <a:moveTo>
                        <a:pt x="24721" y="73380"/>
                      </a:moveTo>
                      <a:lnTo>
                        <a:pt x="24721" y="121802"/>
                      </a:lnTo>
                      <a:lnTo>
                        <a:pt x="0" y="121802"/>
                      </a:lnTo>
                      <a:lnTo>
                        <a:pt x="0" y="2017"/>
                      </a:lnTo>
                      <a:lnTo>
                        <a:pt x="21882" y="2017"/>
                      </a:lnTo>
                      <a:lnTo>
                        <a:pt x="24198" y="15991"/>
                      </a:lnTo>
                      <a:cubicBezTo>
                        <a:pt x="29202" y="6128"/>
                        <a:pt x="38388" y="0"/>
                        <a:pt x="51085" y="0"/>
                      </a:cubicBezTo>
                      <a:cubicBezTo>
                        <a:pt x="69906" y="0"/>
                        <a:pt x="89249" y="14721"/>
                        <a:pt x="89249" y="44088"/>
                      </a:cubicBezTo>
                      <a:cubicBezTo>
                        <a:pt x="89249" y="73455"/>
                        <a:pt x="69906" y="88176"/>
                        <a:pt x="51085" y="88176"/>
                      </a:cubicBezTo>
                      <a:cubicBezTo>
                        <a:pt x="38687" y="88176"/>
                        <a:pt x="29725" y="82646"/>
                        <a:pt x="24721" y="73306"/>
                      </a:cubicBezTo>
                      <a:close/>
                      <a:moveTo>
                        <a:pt x="64902" y="44162"/>
                      </a:moveTo>
                      <a:cubicBezTo>
                        <a:pt x="64902" y="30712"/>
                        <a:pt x="56313" y="21595"/>
                        <a:pt x="44139" y="21595"/>
                      </a:cubicBezTo>
                      <a:cubicBezTo>
                        <a:pt x="35177" y="21595"/>
                        <a:pt x="24571" y="28919"/>
                        <a:pt x="24571" y="44162"/>
                      </a:cubicBezTo>
                      <a:cubicBezTo>
                        <a:pt x="24571" y="60453"/>
                        <a:pt x="34803" y="66730"/>
                        <a:pt x="44139" y="66730"/>
                      </a:cubicBezTo>
                      <a:cubicBezTo>
                        <a:pt x="56163" y="66730"/>
                        <a:pt x="64902" y="58136"/>
                        <a:pt x="64902" y="44162"/>
                      </a:cubicBezTo>
                      <a:close/>
                    </a:path>
                  </a:pathLst>
                </a:custGeom>
                <a:solidFill>
                  <a:srgbClr val="FFFFFF"/>
                </a:solidFill>
                <a:ln w="0" cap="flat">
                  <a:noFill/>
                  <a:prstDash val="solid"/>
                  <a:miter/>
                </a:ln>
              </p:spPr>
              <p:txBody>
                <a:bodyPr rtlCol="0" anchor="ctr"/>
                <a:lstStyle/>
                <a:p>
                  <a:endParaRPr lang="en-US"/>
                </a:p>
              </p:txBody>
            </p:sp>
            <p:sp>
              <p:nvSpPr>
                <p:cNvPr id="261" name="Freeform 260">
                  <a:extLst>
                    <a:ext uri="{FF2B5EF4-FFF2-40B4-BE49-F238E27FC236}">
                      <a16:creationId xmlns:a16="http://schemas.microsoft.com/office/drawing/2014/main" id="{71AF4CEC-4BE6-CA76-97BF-DD4EBB47EA34}"/>
                    </a:ext>
                  </a:extLst>
                </p:cNvPr>
                <p:cNvSpPr/>
                <p:nvPr/>
              </p:nvSpPr>
              <p:spPr>
                <a:xfrm>
                  <a:off x="7520632" y="5468774"/>
                  <a:ext cx="67963" cy="88177"/>
                </a:xfrm>
                <a:custGeom>
                  <a:avLst/>
                  <a:gdLst>
                    <a:gd name="connsiteX0" fmla="*/ 0 w 67963"/>
                    <a:gd name="connsiteY0" fmla="*/ 61127 h 88177"/>
                    <a:gd name="connsiteX1" fmla="*/ 23302 w 67963"/>
                    <a:gd name="connsiteY1" fmla="*/ 61127 h 88177"/>
                    <a:gd name="connsiteX2" fmla="*/ 35476 w 67963"/>
                    <a:gd name="connsiteY2" fmla="*/ 69197 h 88177"/>
                    <a:gd name="connsiteX3" fmla="*/ 44587 w 67963"/>
                    <a:gd name="connsiteY3" fmla="*/ 62921 h 88177"/>
                    <a:gd name="connsiteX4" fmla="*/ 2091 w 67963"/>
                    <a:gd name="connsiteY4" fmla="*/ 25633 h 88177"/>
                    <a:gd name="connsiteX5" fmla="*/ 33310 w 67963"/>
                    <a:gd name="connsiteY5" fmla="*/ 2 h 88177"/>
                    <a:gd name="connsiteX6" fmla="*/ 66321 w 67963"/>
                    <a:gd name="connsiteY6" fmla="*/ 26156 h 88177"/>
                    <a:gd name="connsiteX7" fmla="*/ 43393 w 67963"/>
                    <a:gd name="connsiteY7" fmla="*/ 26156 h 88177"/>
                    <a:gd name="connsiteX8" fmla="*/ 33384 w 67963"/>
                    <a:gd name="connsiteY8" fmla="*/ 18982 h 88177"/>
                    <a:gd name="connsiteX9" fmla="*/ 24795 w 67963"/>
                    <a:gd name="connsiteY9" fmla="*/ 25633 h 88177"/>
                    <a:gd name="connsiteX10" fmla="*/ 67964 w 67963"/>
                    <a:gd name="connsiteY10" fmla="*/ 62921 h 88177"/>
                    <a:gd name="connsiteX11" fmla="*/ 35551 w 67963"/>
                    <a:gd name="connsiteY11" fmla="*/ 88178 h 88177"/>
                    <a:gd name="connsiteX12" fmla="*/ 75 w 67963"/>
                    <a:gd name="connsiteY12" fmla="*/ 61127 h 88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963" h="88177">
                      <a:moveTo>
                        <a:pt x="0" y="61127"/>
                      </a:moveTo>
                      <a:lnTo>
                        <a:pt x="23302" y="61127"/>
                      </a:lnTo>
                      <a:cubicBezTo>
                        <a:pt x="24572" y="66881"/>
                        <a:pt x="29725" y="69197"/>
                        <a:pt x="35476" y="69197"/>
                      </a:cubicBezTo>
                      <a:cubicBezTo>
                        <a:pt x="40853" y="69197"/>
                        <a:pt x="44587" y="66881"/>
                        <a:pt x="44587" y="62921"/>
                      </a:cubicBezTo>
                      <a:cubicBezTo>
                        <a:pt x="44587" y="50740"/>
                        <a:pt x="2091" y="58811"/>
                        <a:pt x="2091" y="25633"/>
                      </a:cubicBezTo>
                      <a:cubicBezTo>
                        <a:pt x="2091" y="10912"/>
                        <a:pt x="14489" y="151"/>
                        <a:pt x="33310" y="2"/>
                      </a:cubicBezTo>
                      <a:cubicBezTo>
                        <a:pt x="52280" y="-147"/>
                        <a:pt x="65051" y="9865"/>
                        <a:pt x="66321" y="26156"/>
                      </a:cubicBezTo>
                      <a:lnTo>
                        <a:pt x="43393" y="26156"/>
                      </a:lnTo>
                      <a:cubicBezTo>
                        <a:pt x="42496" y="22046"/>
                        <a:pt x="38911" y="18982"/>
                        <a:pt x="33384" y="18982"/>
                      </a:cubicBezTo>
                      <a:cubicBezTo>
                        <a:pt x="27858" y="18982"/>
                        <a:pt x="24795" y="22046"/>
                        <a:pt x="24795" y="25633"/>
                      </a:cubicBezTo>
                      <a:cubicBezTo>
                        <a:pt x="24795" y="37140"/>
                        <a:pt x="67964" y="30639"/>
                        <a:pt x="67964" y="62921"/>
                      </a:cubicBezTo>
                      <a:cubicBezTo>
                        <a:pt x="67964" y="78538"/>
                        <a:pt x="52579" y="88178"/>
                        <a:pt x="35551" y="88178"/>
                      </a:cubicBezTo>
                      <a:cubicBezTo>
                        <a:pt x="15460" y="88178"/>
                        <a:pt x="1493" y="76670"/>
                        <a:pt x="75" y="61127"/>
                      </a:cubicBezTo>
                      <a:close/>
                    </a:path>
                  </a:pathLst>
                </a:custGeom>
                <a:solidFill>
                  <a:srgbClr val="FFFFFF"/>
                </a:solidFill>
                <a:ln w="0" cap="flat">
                  <a:noFill/>
                  <a:prstDash val="solid"/>
                  <a:miter/>
                </a:ln>
              </p:spPr>
              <p:txBody>
                <a:bodyPr rtlCol="0" anchor="ctr"/>
                <a:lstStyle/>
                <a:p>
                  <a:endParaRPr lang="en-US"/>
                </a:p>
              </p:txBody>
            </p:sp>
          </p:grpSp>
        </p:grpSp>
        <p:pic>
          <p:nvPicPr>
            <p:cNvPr id="177" name="Graphic 176">
              <a:extLst>
                <a:ext uri="{FF2B5EF4-FFF2-40B4-BE49-F238E27FC236}">
                  <a16:creationId xmlns:a16="http://schemas.microsoft.com/office/drawing/2014/main" id="{64CA6996-C1DF-A27A-F0FE-A1708C5A10BC}"/>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4629538" y="1891786"/>
              <a:ext cx="645068" cy="645068"/>
            </a:xfrm>
            <a:prstGeom prst="rect">
              <a:avLst/>
            </a:prstGeom>
          </p:spPr>
        </p:pic>
      </p:grpSp>
      <p:grpSp>
        <p:nvGrpSpPr>
          <p:cNvPr id="262" name="Group 261">
            <a:extLst>
              <a:ext uri="{FF2B5EF4-FFF2-40B4-BE49-F238E27FC236}">
                <a16:creationId xmlns:a16="http://schemas.microsoft.com/office/drawing/2014/main" id="{F6D8E2FF-AF3F-A52A-12D3-F4E44068643C}"/>
              </a:ext>
            </a:extLst>
          </p:cNvPr>
          <p:cNvGrpSpPr/>
          <p:nvPr/>
        </p:nvGrpSpPr>
        <p:grpSpPr>
          <a:xfrm>
            <a:off x="7867438" y="4107766"/>
            <a:ext cx="724982" cy="749962"/>
            <a:chOff x="6938815" y="1703572"/>
            <a:chExt cx="1184671" cy="1225489"/>
          </a:xfrm>
        </p:grpSpPr>
        <p:grpSp>
          <p:nvGrpSpPr>
            <p:cNvPr id="263" name="Group 262">
              <a:extLst>
                <a:ext uri="{FF2B5EF4-FFF2-40B4-BE49-F238E27FC236}">
                  <a16:creationId xmlns:a16="http://schemas.microsoft.com/office/drawing/2014/main" id="{9D3AB4D6-3BF3-664A-CD44-5DAEC89B4801}"/>
                </a:ext>
              </a:extLst>
            </p:cNvPr>
            <p:cNvGrpSpPr/>
            <p:nvPr/>
          </p:nvGrpSpPr>
          <p:grpSpPr>
            <a:xfrm>
              <a:off x="6938815" y="1703572"/>
              <a:ext cx="1184671" cy="1225489"/>
              <a:chOff x="7186368" y="3251663"/>
              <a:chExt cx="1184671" cy="1225489"/>
            </a:xfrm>
          </p:grpSpPr>
          <p:sp>
            <p:nvSpPr>
              <p:cNvPr id="265" name="Freeform 264">
                <a:extLst>
                  <a:ext uri="{FF2B5EF4-FFF2-40B4-BE49-F238E27FC236}">
                    <a16:creationId xmlns:a16="http://schemas.microsoft.com/office/drawing/2014/main" id="{7CB2C35C-79A1-8CA5-B8C2-7DE25395A2BB}"/>
                  </a:ext>
                </a:extLst>
              </p:cNvPr>
              <p:cNvSpPr/>
              <p:nvPr/>
            </p:nvSpPr>
            <p:spPr>
              <a:xfrm>
                <a:off x="7186368" y="3251663"/>
                <a:ext cx="1180036" cy="1180659"/>
              </a:xfrm>
              <a:custGeom>
                <a:avLst/>
                <a:gdLst>
                  <a:gd name="connsiteX0" fmla="*/ 1093102 w 1180036"/>
                  <a:gd name="connsiteY0" fmla="*/ 1180660 h 1180659"/>
                  <a:gd name="connsiteX1" fmla="*/ 86934 w 1180036"/>
                  <a:gd name="connsiteY1" fmla="*/ 1180660 h 1180659"/>
                  <a:gd name="connsiteX2" fmla="*/ 0 w 1180036"/>
                  <a:gd name="connsiteY2" fmla="*/ 1093680 h 1180659"/>
                  <a:gd name="connsiteX3" fmla="*/ 0 w 1180036"/>
                  <a:gd name="connsiteY3" fmla="*/ 86980 h 1180659"/>
                  <a:gd name="connsiteX4" fmla="*/ 86934 w 1180036"/>
                  <a:gd name="connsiteY4" fmla="*/ 0 h 1180659"/>
                  <a:gd name="connsiteX5" fmla="*/ 1093102 w 1180036"/>
                  <a:gd name="connsiteY5" fmla="*/ 0 h 1180659"/>
                  <a:gd name="connsiteX6" fmla="*/ 1180036 w 1180036"/>
                  <a:gd name="connsiteY6" fmla="*/ 86980 h 1180659"/>
                  <a:gd name="connsiteX7" fmla="*/ 1180036 w 1180036"/>
                  <a:gd name="connsiteY7" fmla="*/ 1093680 h 1180659"/>
                  <a:gd name="connsiteX8" fmla="*/ 1093102 w 1180036"/>
                  <a:gd name="connsiteY8" fmla="*/ 1180660 h 118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036" h="1180659">
                    <a:moveTo>
                      <a:pt x="1093102" y="1180660"/>
                    </a:moveTo>
                    <a:lnTo>
                      <a:pt x="86934" y="1180660"/>
                    </a:lnTo>
                    <a:cubicBezTo>
                      <a:pt x="38911" y="1180660"/>
                      <a:pt x="0" y="1141728"/>
                      <a:pt x="0" y="1093680"/>
                    </a:cubicBezTo>
                    <a:lnTo>
                      <a:pt x="0" y="86980"/>
                    </a:lnTo>
                    <a:cubicBezTo>
                      <a:pt x="0" y="38932"/>
                      <a:pt x="38911" y="0"/>
                      <a:pt x="86934" y="0"/>
                    </a:cubicBezTo>
                    <a:lnTo>
                      <a:pt x="1093102" y="0"/>
                    </a:lnTo>
                    <a:cubicBezTo>
                      <a:pt x="1141125" y="0"/>
                      <a:pt x="1180036" y="38932"/>
                      <a:pt x="1180036" y="86980"/>
                    </a:cubicBezTo>
                    <a:lnTo>
                      <a:pt x="1180036" y="1093680"/>
                    </a:lnTo>
                    <a:cubicBezTo>
                      <a:pt x="1180036" y="1141728"/>
                      <a:pt x="1141125" y="1180660"/>
                      <a:pt x="1093102" y="1180660"/>
                    </a:cubicBezTo>
                  </a:path>
                </a:pathLst>
              </a:custGeom>
              <a:solidFill>
                <a:schemeClr val="tx1"/>
              </a:solidFill>
              <a:ln w="0" cap="flat">
                <a:noFill/>
                <a:prstDash val="solid"/>
                <a:miter/>
              </a:ln>
            </p:spPr>
            <p:txBody>
              <a:bodyPr rtlCol="0" anchor="ctr"/>
              <a:lstStyle/>
              <a:p>
                <a:endParaRPr lang="en-US"/>
              </a:p>
            </p:txBody>
          </p:sp>
          <p:sp>
            <p:nvSpPr>
              <p:cNvPr id="266" name="TextBox 265">
                <a:extLst>
                  <a:ext uri="{FF2B5EF4-FFF2-40B4-BE49-F238E27FC236}">
                    <a16:creationId xmlns:a16="http://schemas.microsoft.com/office/drawing/2014/main" id="{CCF7037B-44E0-2DA8-B85F-375EAB28D1DD}"/>
                  </a:ext>
                </a:extLst>
              </p:cNvPr>
              <p:cNvSpPr txBox="1"/>
              <p:nvPr/>
            </p:nvSpPr>
            <p:spPr>
              <a:xfrm>
                <a:off x="7186368" y="4125102"/>
                <a:ext cx="1184671" cy="352050"/>
              </a:xfrm>
              <a:prstGeom prst="rect">
                <a:avLst/>
              </a:prstGeom>
              <a:noFill/>
            </p:spPr>
            <p:txBody>
              <a:bodyPr wrap="square" rtlCol="0">
                <a:spAutoFit/>
              </a:bodyPr>
              <a:lstStyle/>
              <a:p>
                <a:pPr algn="ctr"/>
                <a:r>
                  <a:rPr lang="en-US" sz="800" b="1">
                    <a:solidFill>
                      <a:schemeClr val="bg1"/>
                    </a:solidFill>
                    <a:latin typeface="ES Build SemiBold" pitchFamily="2" charset="77"/>
                    <a:ea typeface="ES Build SemiBold" pitchFamily="2" charset="77"/>
                    <a:cs typeface="Microsoft Sans Serif" panose="020B0604020202020204" pitchFamily="34" charset="0"/>
                  </a:rPr>
                  <a:t>M365</a:t>
                </a:r>
              </a:p>
            </p:txBody>
          </p:sp>
        </p:grpSp>
        <p:pic>
          <p:nvPicPr>
            <p:cNvPr id="264" name="Graphic 263">
              <a:extLst>
                <a:ext uri="{FF2B5EF4-FFF2-40B4-BE49-F238E27FC236}">
                  <a16:creationId xmlns:a16="http://schemas.microsoft.com/office/drawing/2014/main" id="{16211B9B-73FB-3391-CDFA-F9948A8E0EEF}"/>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7292400" y="1941358"/>
              <a:ext cx="472867" cy="527853"/>
            </a:xfrm>
            <a:prstGeom prst="rect">
              <a:avLst/>
            </a:prstGeom>
          </p:spPr>
        </p:pic>
      </p:grpSp>
      <p:grpSp>
        <p:nvGrpSpPr>
          <p:cNvPr id="267" name="Group 266">
            <a:extLst>
              <a:ext uri="{FF2B5EF4-FFF2-40B4-BE49-F238E27FC236}">
                <a16:creationId xmlns:a16="http://schemas.microsoft.com/office/drawing/2014/main" id="{494B6569-9904-510F-28C8-CD33DC94A856}"/>
              </a:ext>
            </a:extLst>
          </p:cNvPr>
          <p:cNvGrpSpPr/>
          <p:nvPr/>
        </p:nvGrpSpPr>
        <p:grpSpPr>
          <a:xfrm>
            <a:off x="9368368" y="4107766"/>
            <a:ext cx="724982" cy="749962"/>
            <a:chOff x="6938815" y="1703572"/>
            <a:chExt cx="1184671" cy="1225489"/>
          </a:xfrm>
        </p:grpSpPr>
        <p:grpSp>
          <p:nvGrpSpPr>
            <p:cNvPr id="268" name="Group 267">
              <a:extLst>
                <a:ext uri="{FF2B5EF4-FFF2-40B4-BE49-F238E27FC236}">
                  <a16:creationId xmlns:a16="http://schemas.microsoft.com/office/drawing/2014/main" id="{F38B34A6-E3A7-BAAD-4A35-36FCEF1EC553}"/>
                </a:ext>
              </a:extLst>
            </p:cNvPr>
            <p:cNvGrpSpPr/>
            <p:nvPr/>
          </p:nvGrpSpPr>
          <p:grpSpPr>
            <a:xfrm>
              <a:off x="6938815" y="1703572"/>
              <a:ext cx="1184671" cy="1225489"/>
              <a:chOff x="7186368" y="3251663"/>
              <a:chExt cx="1184671" cy="1225489"/>
            </a:xfrm>
          </p:grpSpPr>
          <p:sp>
            <p:nvSpPr>
              <p:cNvPr id="270" name="Freeform 269">
                <a:extLst>
                  <a:ext uri="{FF2B5EF4-FFF2-40B4-BE49-F238E27FC236}">
                    <a16:creationId xmlns:a16="http://schemas.microsoft.com/office/drawing/2014/main" id="{5C1EACC6-BB8F-1826-EAE4-62A028960BDE}"/>
                  </a:ext>
                </a:extLst>
              </p:cNvPr>
              <p:cNvSpPr/>
              <p:nvPr/>
            </p:nvSpPr>
            <p:spPr>
              <a:xfrm>
                <a:off x="7186368" y="3251663"/>
                <a:ext cx="1180036" cy="1180659"/>
              </a:xfrm>
              <a:custGeom>
                <a:avLst/>
                <a:gdLst>
                  <a:gd name="connsiteX0" fmla="*/ 1093102 w 1180036"/>
                  <a:gd name="connsiteY0" fmla="*/ 1180660 h 1180659"/>
                  <a:gd name="connsiteX1" fmla="*/ 86934 w 1180036"/>
                  <a:gd name="connsiteY1" fmla="*/ 1180660 h 1180659"/>
                  <a:gd name="connsiteX2" fmla="*/ 0 w 1180036"/>
                  <a:gd name="connsiteY2" fmla="*/ 1093680 h 1180659"/>
                  <a:gd name="connsiteX3" fmla="*/ 0 w 1180036"/>
                  <a:gd name="connsiteY3" fmla="*/ 86980 h 1180659"/>
                  <a:gd name="connsiteX4" fmla="*/ 86934 w 1180036"/>
                  <a:gd name="connsiteY4" fmla="*/ 0 h 1180659"/>
                  <a:gd name="connsiteX5" fmla="*/ 1093102 w 1180036"/>
                  <a:gd name="connsiteY5" fmla="*/ 0 h 1180659"/>
                  <a:gd name="connsiteX6" fmla="*/ 1180036 w 1180036"/>
                  <a:gd name="connsiteY6" fmla="*/ 86980 h 1180659"/>
                  <a:gd name="connsiteX7" fmla="*/ 1180036 w 1180036"/>
                  <a:gd name="connsiteY7" fmla="*/ 1093680 h 1180659"/>
                  <a:gd name="connsiteX8" fmla="*/ 1093102 w 1180036"/>
                  <a:gd name="connsiteY8" fmla="*/ 1180660 h 118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036" h="1180659">
                    <a:moveTo>
                      <a:pt x="1093102" y="1180660"/>
                    </a:moveTo>
                    <a:lnTo>
                      <a:pt x="86934" y="1180660"/>
                    </a:lnTo>
                    <a:cubicBezTo>
                      <a:pt x="38911" y="1180660"/>
                      <a:pt x="0" y="1141728"/>
                      <a:pt x="0" y="1093680"/>
                    </a:cubicBezTo>
                    <a:lnTo>
                      <a:pt x="0" y="86980"/>
                    </a:lnTo>
                    <a:cubicBezTo>
                      <a:pt x="0" y="38932"/>
                      <a:pt x="38911" y="0"/>
                      <a:pt x="86934" y="0"/>
                    </a:cubicBezTo>
                    <a:lnTo>
                      <a:pt x="1093102" y="0"/>
                    </a:lnTo>
                    <a:cubicBezTo>
                      <a:pt x="1141125" y="0"/>
                      <a:pt x="1180036" y="38932"/>
                      <a:pt x="1180036" y="86980"/>
                    </a:cubicBezTo>
                    <a:lnTo>
                      <a:pt x="1180036" y="1093680"/>
                    </a:lnTo>
                    <a:cubicBezTo>
                      <a:pt x="1180036" y="1141728"/>
                      <a:pt x="1141125" y="1180660"/>
                      <a:pt x="1093102" y="1180660"/>
                    </a:cubicBezTo>
                  </a:path>
                </a:pathLst>
              </a:custGeom>
              <a:solidFill>
                <a:schemeClr val="tx1"/>
              </a:solidFill>
              <a:ln w="0" cap="flat">
                <a:noFill/>
                <a:prstDash val="solid"/>
                <a:miter/>
              </a:ln>
            </p:spPr>
            <p:txBody>
              <a:bodyPr rtlCol="0" anchor="ctr"/>
              <a:lstStyle/>
              <a:p>
                <a:endParaRPr lang="en-US"/>
              </a:p>
            </p:txBody>
          </p:sp>
          <p:sp>
            <p:nvSpPr>
              <p:cNvPr id="271" name="TextBox 270">
                <a:extLst>
                  <a:ext uri="{FF2B5EF4-FFF2-40B4-BE49-F238E27FC236}">
                    <a16:creationId xmlns:a16="http://schemas.microsoft.com/office/drawing/2014/main" id="{8D155B41-C5D8-CD5F-DAAE-132C56B121BF}"/>
                  </a:ext>
                </a:extLst>
              </p:cNvPr>
              <p:cNvSpPr txBox="1"/>
              <p:nvPr/>
            </p:nvSpPr>
            <p:spPr>
              <a:xfrm>
                <a:off x="7186368" y="4125102"/>
                <a:ext cx="1184671" cy="352050"/>
              </a:xfrm>
              <a:prstGeom prst="rect">
                <a:avLst/>
              </a:prstGeom>
              <a:noFill/>
            </p:spPr>
            <p:txBody>
              <a:bodyPr wrap="square" rtlCol="0">
                <a:spAutoFit/>
              </a:bodyPr>
              <a:lstStyle/>
              <a:p>
                <a:pPr algn="ctr"/>
                <a:r>
                  <a:rPr lang="en-US" sz="800" b="1">
                    <a:solidFill>
                      <a:schemeClr val="bg1"/>
                    </a:solidFill>
                    <a:latin typeface="ES Build SemiBold" pitchFamily="2" charset="77"/>
                    <a:ea typeface="ES Build SemiBold" pitchFamily="2" charset="77"/>
                    <a:cs typeface="Microsoft Sans Serif" panose="020B0604020202020204" pitchFamily="34" charset="0"/>
                  </a:rPr>
                  <a:t>M365</a:t>
                </a:r>
              </a:p>
            </p:txBody>
          </p:sp>
        </p:grpSp>
        <p:pic>
          <p:nvPicPr>
            <p:cNvPr id="269" name="Graphic 268">
              <a:extLst>
                <a:ext uri="{FF2B5EF4-FFF2-40B4-BE49-F238E27FC236}">
                  <a16:creationId xmlns:a16="http://schemas.microsoft.com/office/drawing/2014/main" id="{9F267AF6-B652-48FC-BF34-A390FB7B2A7E}"/>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7292400" y="1941358"/>
              <a:ext cx="472867" cy="527853"/>
            </a:xfrm>
            <a:prstGeom prst="rect">
              <a:avLst/>
            </a:prstGeom>
          </p:spPr>
        </p:pic>
      </p:grpSp>
      <p:grpSp>
        <p:nvGrpSpPr>
          <p:cNvPr id="293" name="Group 292">
            <a:extLst>
              <a:ext uri="{FF2B5EF4-FFF2-40B4-BE49-F238E27FC236}">
                <a16:creationId xmlns:a16="http://schemas.microsoft.com/office/drawing/2014/main" id="{FF627A50-9531-64F1-C2E3-B7039F4198A7}"/>
              </a:ext>
            </a:extLst>
          </p:cNvPr>
          <p:cNvGrpSpPr/>
          <p:nvPr/>
        </p:nvGrpSpPr>
        <p:grpSpPr>
          <a:xfrm>
            <a:off x="10185178" y="4107766"/>
            <a:ext cx="724982" cy="749962"/>
            <a:chOff x="6938815" y="1703572"/>
            <a:chExt cx="1184671" cy="1225489"/>
          </a:xfrm>
        </p:grpSpPr>
        <p:grpSp>
          <p:nvGrpSpPr>
            <p:cNvPr id="294" name="Group 293">
              <a:extLst>
                <a:ext uri="{FF2B5EF4-FFF2-40B4-BE49-F238E27FC236}">
                  <a16:creationId xmlns:a16="http://schemas.microsoft.com/office/drawing/2014/main" id="{0A2E144A-464C-CFE4-FE9E-A963D43060ED}"/>
                </a:ext>
              </a:extLst>
            </p:cNvPr>
            <p:cNvGrpSpPr/>
            <p:nvPr/>
          </p:nvGrpSpPr>
          <p:grpSpPr>
            <a:xfrm>
              <a:off x="6938815" y="1703572"/>
              <a:ext cx="1184671" cy="1225489"/>
              <a:chOff x="7186368" y="3251663"/>
              <a:chExt cx="1184671" cy="1225489"/>
            </a:xfrm>
          </p:grpSpPr>
          <p:sp>
            <p:nvSpPr>
              <p:cNvPr id="296" name="Freeform 295">
                <a:extLst>
                  <a:ext uri="{FF2B5EF4-FFF2-40B4-BE49-F238E27FC236}">
                    <a16:creationId xmlns:a16="http://schemas.microsoft.com/office/drawing/2014/main" id="{D8FA2E5A-BD4E-B159-C2AA-2006701432E9}"/>
                  </a:ext>
                </a:extLst>
              </p:cNvPr>
              <p:cNvSpPr/>
              <p:nvPr/>
            </p:nvSpPr>
            <p:spPr>
              <a:xfrm>
                <a:off x="7186368" y="3251663"/>
                <a:ext cx="1180036" cy="1180659"/>
              </a:xfrm>
              <a:custGeom>
                <a:avLst/>
                <a:gdLst>
                  <a:gd name="connsiteX0" fmla="*/ 1093102 w 1180036"/>
                  <a:gd name="connsiteY0" fmla="*/ 1180660 h 1180659"/>
                  <a:gd name="connsiteX1" fmla="*/ 86934 w 1180036"/>
                  <a:gd name="connsiteY1" fmla="*/ 1180660 h 1180659"/>
                  <a:gd name="connsiteX2" fmla="*/ 0 w 1180036"/>
                  <a:gd name="connsiteY2" fmla="*/ 1093680 h 1180659"/>
                  <a:gd name="connsiteX3" fmla="*/ 0 w 1180036"/>
                  <a:gd name="connsiteY3" fmla="*/ 86980 h 1180659"/>
                  <a:gd name="connsiteX4" fmla="*/ 86934 w 1180036"/>
                  <a:gd name="connsiteY4" fmla="*/ 0 h 1180659"/>
                  <a:gd name="connsiteX5" fmla="*/ 1093102 w 1180036"/>
                  <a:gd name="connsiteY5" fmla="*/ 0 h 1180659"/>
                  <a:gd name="connsiteX6" fmla="*/ 1180036 w 1180036"/>
                  <a:gd name="connsiteY6" fmla="*/ 86980 h 1180659"/>
                  <a:gd name="connsiteX7" fmla="*/ 1180036 w 1180036"/>
                  <a:gd name="connsiteY7" fmla="*/ 1093680 h 1180659"/>
                  <a:gd name="connsiteX8" fmla="*/ 1093102 w 1180036"/>
                  <a:gd name="connsiteY8" fmla="*/ 1180660 h 118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036" h="1180659">
                    <a:moveTo>
                      <a:pt x="1093102" y="1180660"/>
                    </a:moveTo>
                    <a:lnTo>
                      <a:pt x="86934" y="1180660"/>
                    </a:lnTo>
                    <a:cubicBezTo>
                      <a:pt x="38911" y="1180660"/>
                      <a:pt x="0" y="1141728"/>
                      <a:pt x="0" y="1093680"/>
                    </a:cubicBezTo>
                    <a:lnTo>
                      <a:pt x="0" y="86980"/>
                    </a:lnTo>
                    <a:cubicBezTo>
                      <a:pt x="0" y="38932"/>
                      <a:pt x="38911" y="0"/>
                      <a:pt x="86934" y="0"/>
                    </a:cubicBezTo>
                    <a:lnTo>
                      <a:pt x="1093102" y="0"/>
                    </a:lnTo>
                    <a:cubicBezTo>
                      <a:pt x="1141125" y="0"/>
                      <a:pt x="1180036" y="38932"/>
                      <a:pt x="1180036" y="86980"/>
                    </a:cubicBezTo>
                    <a:lnTo>
                      <a:pt x="1180036" y="1093680"/>
                    </a:lnTo>
                    <a:cubicBezTo>
                      <a:pt x="1180036" y="1141728"/>
                      <a:pt x="1141125" y="1180660"/>
                      <a:pt x="1093102" y="1180660"/>
                    </a:cubicBezTo>
                  </a:path>
                </a:pathLst>
              </a:custGeom>
              <a:solidFill>
                <a:schemeClr val="tx1"/>
              </a:solidFill>
              <a:ln w="0" cap="flat">
                <a:noFill/>
                <a:prstDash val="solid"/>
                <a:miter/>
              </a:ln>
            </p:spPr>
            <p:txBody>
              <a:bodyPr rtlCol="0" anchor="ctr"/>
              <a:lstStyle/>
              <a:p>
                <a:endParaRPr lang="en-US"/>
              </a:p>
            </p:txBody>
          </p:sp>
          <p:sp>
            <p:nvSpPr>
              <p:cNvPr id="297" name="TextBox 296">
                <a:extLst>
                  <a:ext uri="{FF2B5EF4-FFF2-40B4-BE49-F238E27FC236}">
                    <a16:creationId xmlns:a16="http://schemas.microsoft.com/office/drawing/2014/main" id="{37374891-777D-5EE3-9914-A434B047830E}"/>
                  </a:ext>
                </a:extLst>
              </p:cNvPr>
              <p:cNvSpPr txBox="1"/>
              <p:nvPr/>
            </p:nvSpPr>
            <p:spPr>
              <a:xfrm>
                <a:off x="7186368" y="4125102"/>
                <a:ext cx="1184671" cy="352050"/>
              </a:xfrm>
              <a:prstGeom prst="rect">
                <a:avLst/>
              </a:prstGeom>
              <a:noFill/>
            </p:spPr>
            <p:txBody>
              <a:bodyPr wrap="square" rtlCol="0">
                <a:spAutoFit/>
              </a:bodyPr>
              <a:lstStyle/>
              <a:p>
                <a:pPr algn="ctr"/>
                <a:r>
                  <a:rPr lang="en-US" sz="800" b="1">
                    <a:solidFill>
                      <a:schemeClr val="bg1"/>
                    </a:solidFill>
                    <a:latin typeface="ES Build SemiBold" pitchFamily="2" charset="77"/>
                    <a:ea typeface="ES Build SemiBold" pitchFamily="2" charset="77"/>
                    <a:cs typeface="Microsoft Sans Serif" panose="020B0604020202020204" pitchFamily="34" charset="0"/>
                  </a:rPr>
                  <a:t>Vault</a:t>
                </a:r>
              </a:p>
            </p:txBody>
          </p:sp>
        </p:grpSp>
        <p:pic>
          <p:nvPicPr>
            <p:cNvPr id="295" name="Graphic 294">
              <a:extLst>
                <a:ext uri="{FF2B5EF4-FFF2-40B4-BE49-F238E27FC236}">
                  <a16:creationId xmlns:a16="http://schemas.microsoft.com/office/drawing/2014/main" id="{A2A86952-F2A4-905E-4099-88A8D4E76820}"/>
                </a:ext>
              </a:extLst>
            </p:cNvPr>
            <p:cNvPicPr>
              <a:picLocks noChangeAspect="1"/>
            </p:cNvPicPr>
            <p:nvPr/>
          </p:nvPicPr>
          <p:blipFill>
            <a:blip r:embed="rId17">
              <a:extLst>
                <a:ext uri="{96DAC541-7B7A-43D3-8B79-37D633B846F1}">
                  <asvg:svgBlip xmlns:asvg="http://schemas.microsoft.com/office/drawing/2016/SVG/main" r:embed="rId18"/>
                </a:ext>
              </a:extLst>
            </a:blip>
            <a:srcRect/>
            <a:stretch/>
          </p:blipFill>
          <p:spPr>
            <a:xfrm>
              <a:off x="7199820" y="1893848"/>
              <a:ext cx="642132" cy="642132"/>
            </a:xfrm>
            <a:prstGeom prst="rect">
              <a:avLst/>
            </a:prstGeom>
          </p:spPr>
        </p:pic>
      </p:grpSp>
      <p:grpSp>
        <p:nvGrpSpPr>
          <p:cNvPr id="298" name="Group 297">
            <a:extLst>
              <a:ext uri="{FF2B5EF4-FFF2-40B4-BE49-F238E27FC236}">
                <a16:creationId xmlns:a16="http://schemas.microsoft.com/office/drawing/2014/main" id="{800345ED-5F40-8ABD-5CD6-3C6C82F432D6}"/>
              </a:ext>
            </a:extLst>
          </p:cNvPr>
          <p:cNvGrpSpPr/>
          <p:nvPr/>
        </p:nvGrpSpPr>
        <p:grpSpPr>
          <a:xfrm>
            <a:off x="9368368" y="2961798"/>
            <a:ext cx="722146" cy="722527"/>
            <a:chOff x="499836" y="1711717"/>
            <a:chExt cx="1180036" cy="1180659"/>
          </a:xfrm>
        </p:grpSpPr>
        <p:grpSp>
          <p:nvGrpSpPr>
            <p:cNvPr id="299" name="Group 298">
              <a:extLst>
                <a:ext uri="{FF2B5EF4-FFF2-40B4-BE49-F238E27FC236}">
                  <a16:creationId xmlns:a16="http://schemas.microsoft.com/office/drawing/2014/main" id="{5246EC40-1079-98FB-78AE-A5E512AED407}"/>
                </a:ext>
              </a:extLst>
            </p:cNvPr>
            <p:cNvGrpSpPr/>
            <p:nvPr/>
          </p:nvGrpSpPr>
          <p:grpSpPr>
            <a:xfrm>
              <a:off x="499836" y="1711717"/>
              <a:ext cx="1180036" cy="1180659"/>
              <a:chOff x="2658359" y="4475676"/>
              <a:chExt cx="1180036" cy="1180659"/>
            </a:xfrm>
          </p:grpSpPr>
          <p:sp>
            <p:nvSpPr>
              <p:cNvPr id="301" name="Freeform 300">
                <a:extLst>
                  <a:ext uri="{FF2B5EF4-FFF2-40B4-BE49-F238E27FC236}">
                    <a16:creationId xmlns:a16="http://schemas.microsoft.com/office/drawing/2014/main" id="{8F5142DD-72CA-6931-8575-6F03148A37E9}"/>
                  </a:ext>
                </a:extLst>
              </p:cNvPr>
              <p:cNvSpPr/>
              <p:nvPr/>
            </p:nvSpPr>
            <p:spPr>
              <a:xfrm>
                <a:off x="2658359" y="4475676"/>
                <a:ext cx="1180036" cy="1180659"/>
              </a:xfrm>
              <a:custGeom>
                <a:avLst/>
                <a:gdLst>
                  <a:gd name="connsiteX0" fmla="*/ 86934 w 1180036"/>
                  <a:gd name="connsiteY0" fmla="*/ 1180660 h 1180659"/>
                  <a:gd name="connsiteX1" fmla="*/ 1093102 w 1180036"/>
                  <a:gd name="connsiteY1" fmla="*/ 1180660 h 1180659"/>
                  <a:gd name="connsiteX2" fmla="*/ 1180036 w 1180036"/>
                  <a:gd name="connsiteY2" fmla="*/ 1093680 h 1180659"/>
                  <a:gd name="connsiteX3" fmla="*/ 1180036 w 1180036"/>
                  <a:gd name="connsiteY3" fmla="*/ 86980 h 1180659"/>
                  <a:gd name="connsiteX4" fmla="*/ 1093102 w 1180036"/>
                  <a:gd name="connsiteY4" fmla="*/ 0 h 1180659"/>
                  <a:gd name="connsiteX5" fmla="*/ 86934 w 1180036"/>
                  <a:gd name="connsiteY5" fmla="*/ 0 h 1180659"/>
                  <a:gd name="connsiteX6" fmla="*/ 0 w 1180036"/>
                  <a:gd name="connsiteY6" fmla="*/ 86980 h 1180659"/>
                  <a:gd name="connsiteX7" fmla="*/ 0 w 1180036"/>
                  <a:gd name="connsiteY7" fmla="*/ 1093680 h 1180659"/>
                  <a:gd name="connsiteX8" fmla="*/ 86934 w 1180036"/>
                  <a:gd name="connsiteY8" fmla="*/ 1180660 h 118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036" h="1180659">
                    <a:moveTo>
                      <a:pt x="86934" y="1180660"/>
                    </a:moveTo>
                    <a:lnTo>
                      <a:pt x="1093102" y="1180660"/>
                    </a:lnTo>
                    <a:cubicBezTo>
                      <a:pt x="1141125" y="1180660"/>
                      <a:pt x="1180036" y="1141728"/>
                      <a:pt x="1180036" y="1093680"/>
                    </a:cubicBezTo>
                    <a:lnTo>
                      <a:pt x="1180036" y="86980"/>
                    </a:lnTo>
                    <a:cubicBezTo>
                      <a:pt x="1180036" y="38932"/>
                      <a:pt x="1141125" y="0"/>
                      <a:pt x="1093102" y="0"/>
                    </a:cubicBezTo>
                    <a:lnTo>
                      <a:pt x="86934" y="0"/>
                    </a:lnTo>
                    <a:cubicBezTo>
                      <a:pt x="38911" y="0"/>
                      <a:pt x="0" y="38932"/>
                      <a:pt x="0" y="86980"/>
                    </a:cubicBezTo>
                    <a:lnTo>
                      <a:pt x="0" y="1093680"/>
                    </a:lnTo>
                    <a:cubicBezTo>
                      <a:pt x="0" y="1141728"/>
                      <a:pt x="38911" y="1180660"/>
                      <a:pt x="86934" y="1180660"/>
                    </a:cubicBezTo>
                  </a:path>
                </a:pathLst>
              </a:custGeom>
              <a:solidFill>
                <a:schemeClr val="tx1"/>
              </a:solidFill>
              <a:ln w="0" cap="flat">
                <a:noFill/>
                <a:prstDash val="solid"/>
                <a:miter/>
              </a:ln>
            </p:spPr>
            <p:txBody>
              <a:bodyPr rtlCol="0" anchor="ctr"/>
              <a:lstStyle/>
              <a:p>
                <a:endParaRPr lang="en-US"/>
              </a:p>
            </p:txBody>
          </p:sp>
          <p:grpSp>
            <p:nvGrpSpPr>
              <p:cNvPr id="302" name="Graphic 5">
                <a:extLst>
                  <a:ext uri="{FF2B5EF4-FFF2-40B4-BE49-F238E27FC236}">
                    <a16:creationId xmlns:a16="http://schemas.microsoft.com/office/drawing/2014/main" id="{5F973ED9-14D4-AF1C-568A-E614C24E0578}"/>
                  </a:ext>
                </a:extLst>
              </p:cNvPr>
              <p:cNvGrpSpPr/>
              <p:nvPr/>
            </p:nvGrpSpPr>
            <p:grpSpPr>
              <a:xfrm>
                <a:off x="2982495" y="5430741"/>
                <a:ext cx="471417" cy="126285"/>
                <a:chOff x="2982495" y="5430741"/>
                <a:chExt cx="471417" cy="126285"/>
              </a:xfrm>
              <a:solidFill>
                <a:srgbClr val="FFFFFF"/>
              </a:solidFill>
            </p:grpSpPr>
            <p:sp>
              <p:nvSpPr>
                <p:cNvPr id="303" name="Freeform 302">
                  <a:extLst>
                    <a:ext uri="{FF2B5EF4-FFF2-40B4-BE49-F238E27FC236}">
                      <a16:creationId xmlns:a16="http://schemas.microsoft.com/office/drawing/2014/main" id="{90D093CA-ACF1-8A74-F62B-8EBE13364CA1}"/>
                    </a:ext>
                  </a:extLst>
                </p:cNvPr>
                <p:cNvSpPr/>
                <p:nvPr/>
              </p:nvSpPr>
              <p:spPr>
                <a:xfrm>
                  <a:off x="2982495" y="5430741"/>
                  <a:ext cx="121214" cy="126285"/>
                </a:xfrm>
                <a:custGeom>
                  <a:avLst/>
                  <a:gdLst>
                    <a:gd name="connsiteX0" fmla="*/ 0 w 121214"/>
                    <a:gd name="connsiteY0" fmla="*/ 63143 h 126285"/>
                    <a:gd name="connsiteX1" fmla="*/ 63110 w 121214"/>
                    <a:gd name="connsiteY1" fmla="*/ 0 h 126285"/>
                    <a:gd name="connsiteX2" fmla="*/ 121215 w 121214"/>
                    <a:gd name="connsiteY2" fmla="*/ 42892 h 126285"/>
                    <a:gd name="connsiteX3" fmla="*/ 95374 w 121214"/>
                    <a:gd name="connsiteY3" fmla="*/ 42892 h 126285"/>
                    <a:gd name="connsiteX4" fmla="*/ 63110 w 121214"/>
                    <a:gd name="connsiteY4" fmla="*/ 24061 h 126285"/>
                    <a:gd name="connsiteX5" fmla="*/ 25468 w 121214"/>
                    <a:gd name="connsiteY5" fmla="*/ 63143 h 126285"/>
                    <a:gd name="connsiteX6" fmla="*/ 63110 w 121214"/>
                    <a:gd name="connsiteY6" fmla="*/ 102224 h 126285"/>
                    <a:gd name="connsiteX7" fmla="*/ 95374 w 121214"/>
                    <a:gd name="connsiteY7" fmla="*/ 83393 h 126285"/>
                    <a:gd name="connsiteX8" fmla="*/ 121215 w 121214"/>
                    <a:gd name="connsiteY8" fmla="*/ 83393 h 126285"/>
                    <a:gd name="connsiteX9" fmla="*/ 63110 w 121214"/>
                    <a:gd name="connsiteY9" fmla="*/ 126286 h 126285"/>
                    <a:gd name="connsiteX10" fmla="*/ 0 w 121214"/>
                    <a:gd name="connsiteY10" fmla="*/ 63143 h 126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214" h="126285">
                      <a:moveTo>
                        <a:pt x="0" y="63143"/>
                      </a:moveTo>
                      <a:cubicBezTo>
                        <a:pt x="0" y="26901"/>
                        <a:pt x="27036" y="0"/>
                        <a:pt x="63110" y="0"/>
                      </a:cubicBezTo>
                      <a:cubicBezTo>
                        <a:pt x="94104" y="0"/>
                        <a:pt x="115614" y="17411"/>
                        <a:pt x="121215" y="42892"/>
                      </a:cubicBezTo>
                      <a:lnTo>
                        <a:pt x="95374" y="42892"/>
                      </a:lnTo>
                      <a:cubicBezTo>
                        <a:pt x="90519" y="32879"/>
                        <a:pt x="80661" y="24061"/>
                        <a:pt x="63110" y="24061"/>
                      </a:cubicBezTo>
                      <a:cubicBezTo>
                        <a:pt x="41973" y="24061"/>
                        <a:pt x="25468" y="40576"/>
                        <a:pt x="25468" y="63143"/>
                      </a:cubicBezTo>
                      <a:cubicBezTo>
                        <a:pt x="25468" y="85710"/>
                        <a:pt x="41973" y="102224"/>
                        <a:pt x="63110" y="102224"/>
                      </a:cubicBezTo>
                      <a:cubicBezTo>
                        <a:pt x="80661" y="102224"/>
                        <a:pt x="90519" y="93407"/>
                        <a:pt x="95374" y="83393"/>
                      </a:cubicBezTo>
                      <a:lnTo>
                        <a:pt x="121215" y="83393"/>
                      </a:lnTo>
                      <a:cubicBezTo>
                        <a:pt x="115688" y="108875"/>
                        <a:pt x="94179" y="126286"/>
                        <a:pt x="63110" y="126286"/>
                      </a:cubicBezTo>
                      <a:cubicBezTo>
                        <a:pt x="27111" y="126286"/>
                        <a:pt x="0" y="99385"/>
                        <a:pt x="0" y="63143"/>
                      </a:cubicBezTo>
                      <a:close/>
                    </a:path>
                  </a:pathLst>
                </a:custGeom>
                <a:solidFill>
                  <a:srgbClr val="FFFFFF"/>
                </a:solidFill>
                <a:ln w="0" cap="flat">
                  <a:noFill/>
                  <a:prstDash val="solid"/>
                  <a:miter/>
                </a:ln>
              </p:spPr>
              <p:txBody>
                <a:bodyPr rtlCol="0" anchor="ctr"/>
                <a:lstStyle/>
                <a:p>
                  <a:endParaRPr lang="en-US"/>
                </a:p>
              </p:txBody>
            </p:sp>
            <p:sp>
              <p:nvSpPr>
                <p:cNvPr id="304" name="Freeform 303">
                  <a:extLst>
                    <a:ext uri="{FF2B5EF4-FFF2-40B4-BE49-F238E27FC236}">
                      <a16:creationId xmlns:a16="http://schemas.microsoft.com/office/drawing/2014/main" id="{FCB83C68-6136-C1EC-7198-9938AF5E8F67}"/>
                    </a:ext>
                  </a:extLst>
                </p:cNvPr>
                <p:cNvSpPr/>
                <p:nvPr/>
              </p:nvSpPr>
              <p:spPr>
                <a:xfrm>
                  <a:off x="3122979" y="5432683"/>
                  <a:ext cx="24720" cy="122325"/>
                </a:xfrm>
                <a:custGeom>
                  <a:avLst/>
                  <a:gdLst>
                    <a:gd name="connsiteX0" fmla="*/ 0 w 24720"/>
                    <a:gd name="connsiteY0" fmla="*/ 0 h 122325"/>
                    <a:gd name="connsiteX1" fmla="*/ 24721 w 24720"/>
                    <a:gd name="connsiteY1" fmla="*/ 0 h 122325"/>
                    <a:gd name="connsiteX2" fmla="*/ 24721 w 24720"/>
                    <a:gd name="connsiteY2" fmla="*/ 122325 h 122325"/>
                    <a:gd name="connsiteX3" fmla="*/ 0 w 24720"/>
                    <a:gd name="connsiteY3" fmla="*/ 122325 h 122325"/>
                    <a:gd name="connsiteX4" fmla="*/ 0 w 24720"/>
                    <a:gd name="connsiteY4" fmla="*/ 0 h 122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20" h="122325">
                      <a:moveTo>
                        <a:pt x="0" y="0"/>
                      </a:moveTo>
                      <a:lnTo>
                        <a:pt x="24721" y="0"/>
                      </a:lnTo>
                      <a:lnTo>
                        <a:pt x="24721" y="122325"/>
                      </a:lnTo>
                      <a:lnTo>
                        <a:pt x="0" y="122325"/>
                      </a:lnTo>
                      <a:lnTo>
                        <a:pt x="0" y="0"/>
                      </a:lnTo>
                      <a:close/>
                    </a:path>
                  </a:pathLst>
                </a:custGeom>
                <a:solidFill>
                  <a:srgbClr val="FFFFFF"/>
                </a:solidFill>
                <a:ln w="0" cap="flat">
                  <a:noFill/>
                  <a:prstDash val="solid"/>
                  <a:miter/>
                </a:ln>
              </p:spPr>
              <p:txBody>
                <a:bodyPr rtlCol="0" anchor="ctr"/>
                <a:lstStyle/>
                <a:p>
                  <a:endParaRPr lang="en-US"/>
                </a:p>
              </p:txBody>
            </p:sp>
            <p:sp>
              <p:nvSpPr>
                <p:cNvPr id="305" name="Freeform 304">
                  <a:extLst>
                    <a:ext uri="{FF2B5EF4-FFF2-40B4-BE49-F238E27FC236}">
                      <a16:creationId xmlns:a16="http://schemas.microsoft.com/office/drawing/2014/main" id="{A1C46B4B-79AE-3560-1EB3-4EAAFDC712DF}"/>
                    </a:ext>
                  </a:extLst>
                </p:cNvPr>
                <p:cNvSpPr/>
                <p:nvPr/>
              </p:nvSpPr>
              <p:spPr>
                <a:xfrm>
                  <a:off x="3165326" y="5468775"/>
                  <a:ext cx="91116" cy="88176"/>
                </a:xfrm>
                <a:custGeom>
                  <a:avLst/>
                  <a:gdLst>
                    <a:gd name="connsiteX0" fmla="*/ 0 w 91116"/>
                    <a:gd name="connsiteY0" fmla="*/ 44088 h 88176"/>
                    <a:gd name="connsiteX1" fmla="*/ 45558 w 91116"/>
                    <a:gd name="connsiteY1" fmla="*/ 0 h 88176"/>
                    <a:gd name="connsiteX2" fmla="*/ 91117 w 91116"/>
                    <a:gd name="connsiteY2" fmla="*/ 44088 h 88176"/>
                    <a:gd name="connsiteX3" fmla="*/ 45558 w 91116"/>
                    <a:gd name="connsiteY3" fmla="*/ 88176 h 88176"/>
                    <a:gd name="connsiteX4" fmla="*/ 0 w 91116"/>
                    <a:gd name="connsiteY4" fmla="*/ 44088 h 88176"/>
                    <a:gd name="connsiteX5" fmla="*/ 66694 w 91116"/>
                    <a:gd name="connsiteY5" fmla="*/ 44088 h 88176"/>
                    <a:gd name="connsiteX6" fmla="*/ 45558 w 91116"/>
                    <a:gd name="connsiteY6" fmla="*/ 21297 h 88176"/>
                    <a:gd name="connsiteX7" fmla="*/ 24422 w 91116"/>
                    <a:gd name="connsiteY7" fmla="*/ 44088 h 88176"/>
                    <a:gd name="connsiteX8" fmla="*/ 45558 w 91116"/>
                    <a:gd name="connsiteY8" fmla="*/ 66879 h 88176"/>
                    <a:gd name="connsiteX9" fmla="*/ 66694 w 91116"/>
                    <a:gd name="connsiteY9" fmla="*/ 44088 h 88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116" h="88176">
                      <a:moveTo>
                        <a:pt x="0" y="44088"/>
                      </a:moveTo>
                      <a:cubicBezTo>
                        <a:pt x="0" y="18981"/>
                        <a:pt x="18821" y="0"/>
                        <a:pt x="45558" y="0"/>
                      </a:cubicBezTo>
                      <a:cubicBezTo>
                        <a:pt x="72296" y="0"/>
                        <a:pt x="91117" y="18981"/>
                        <a:pt x="91117" y="44088"/>
                      </a:cubicBezTo>
                      <a:cubicBezTo>
                        <a:pt x="91117" y="69196"/>
                        <a:pt x="72296" y="88176"/>
                        <a:pt x="45558" y="88176"/>
                      </a:cubicBezTo>
                      <a:cubicBezTo>
                        <a:pt x="18821" y="88176"/>
                        <a:pt x="0" y="69196"/>
                        <a:pt x="0" y="44088"/>
                      </a:cubicBezTo>
                      <a:close/>
                      <a:moveTo>
                        <a:pt x="66694" y="44088"/>
                      </a:moveTo>
                      <a:cubicBezTo>
                        <a:pt x="66694" y="30638"/>
                        <a:pt x="57882" y="21297"/>
                        <a:pt x="45558" y="21297"/>
                      </a:cubicBezTo>
                      <a:cubicBezTo>
                        <a:pt x="33235" y="21297"/>
                        <a:pt x="24422" y="30638"/>
                        <a:pt x="24422" y="44088"/>
                      </a:cubicBezTo>
                      <a:cubicBezTo>
                        <a:pt x="24422" y="57539"/>
                        <a:pt x="33235" y="66879"/>
                        <a:pt x="45558" y="66879"/>
                      </a:cubicBezTo>
                      <a:cubicBezTo>
                        <a:pt x="57882" y="66879"/>
                        <a:pt x="66694" y="57539"/>
                        <a:pt x="66694" y="44088"/>
                      </a:cubicBezTo>
                      <a:close/>
                    </a:path>
                  </a:pathLst>
                </a:custGeom>
                <a:solidFill>
                  <a:srgbClr val="FFFFFF"/>
                </a:solidFill>
                <a:ln w="0" cap="flat">
                  <a:noFill/>
                  <a:prstDash val="solid"/>
                  <a:miter/>
                </a:ln>
              </p:spPr>
              <p:txBody>
                <a:bodyPr rtlCol="0" anchor="ctr"/>
                <a:lstStyle/>
                <a:p>
                  <a:endParaRPr lang="en-US"/>
                </a:p>
              </p:txBody>
            </p:sp>
            <p:sp>
              <p:nvSpPr>
                <p:cNvPr id="306" name="Freeform 305">
                  <a:extLst>
                    <a:ext uri="{FF2B5EF4-FFF2-40B4-BE49-F238E27FC236}">
                      <a16:creationId xmlns:a16="http://schemas.microsoft.com/office/drawing/2014/main" id="{9B38EE7E-1530-C7AB-A868-505CDF324AA7}"/>
                    </a:ext>
                  </a:extLst>
                </p:cNvPr>
                <p:cNvSpPr/>
                <p:nvPr/>
              </p:nvSpPr>
              <p:spPr>
                <a:xfrm>
                  <a:off x="3270334" y="5470644"/>
                  <a:ext cx="80287" cy="86309"/>
                </a:xfrm>
                <a:custGeom>
                  <a:avLst/>
                  <a:gdLst>
                    <a:gd name="connsiteX0" fmla="*/ 0 w 80287"/>
                    <a:gd name="connsiteY0" fmla="*/ 47226 h 86309"/>
                    <a:gd name="connsiteX1" fmla="*/ 0 w 80287"/>
                    <a:gd name="connsiteY1" fmla="*/ 75 h 86309"/>
                    <a:gd name="connsiteX2" fmla="*/ 24721 w 80287"/>
                    <a:gd name="connsiteY2" fmla="*/ 75 h 86309"/>
                    <a:gd name="connsiteX3" fmla="*/ 24721 w 80287"/>
                    <a:gd name="connsiteY3" fmla="*/ 45433 h 86309"/>
                    <a:gd name="connsiteX4" fmla="*/ 39957 w 80287"/>
                    <a:gd name="connsiteY4" fmla="*/ 64787 h 86309"/>
                    <a:gd name="connsiteX5" fmla="*/ 55566 w 80287"/>
                    <a:gd name="connsiteY5" fmla="*/ 45583 h 86309"/>
                    <a:gd name="connsiteX6" fmla="*/ 55566 w 80287"/>
                    <a:gd name="connsiteY6" fmla="*/ 0 h 86309"/>
                    <a:gd name="connsiteX7" fmla="*/ 80287 w 80287"/>
                    <a:gd name="connsiteY7" fmla="*/ 0 h 86309"/>
                    <a:gd name="connsiteX8" fmla="*/ 80287 w 80287"/>
                    <a:gd name="connsiteY8" fmla="*/ 47376 h 86309"/>
                    <a:gd name="connsiteX9" fmla="*/ 39957 w 80287"/>
                    <a:gd name="connsiteY9" fmla="*/ 86308 h 86309"/>
                    <a:gd name="connsiteX10" fmla="*/ 0 w 80287"/>
                    <a:gd name="connsiteY10" fmla="*/ 47226 h 8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0287" h="86309">
                      <a:moveTo>
                        <a:pt x="0" y="47226"/>
                      </a:moveTo>
                      <a:lnTo>
                        <a:pt x="0" y="75"/>
                      </a:lnTo>
                      <a:lnTo>
                        <a:pt x="24721" y="75"/>
                      </a:lnTo>
                      <a:lnTo>
                        <a:pt x="24721" y="45433"/>
                      </a:lnTo>
                      <a:cubicBezTo>
                        <a:pt x="24721" y="57240"/>
                        <a:pt x="29949" y="64638"/>
                        <a:pt x="39957" y="64787"/>
                      </a:cubicBezTo>
                      <a:cubicBezTo>
                        <a:pt x="50861" y="64936"/>
                        <a:pt x="55566" y="57613"/>
                        <a:pt x="55566" y="45583"/>
                      </a:cubicBezTo>
                      <a:lnTo>
                        <a:pt x="55566" y="0"/>
                      </a:lnTo>
                      <a:lnTo>
                        <a:pt x="80287" y="0"/>
                      </a:lnTo>
                      <a:lnTo>
                        <a:pt x="80287" y="47376"/>
                      </a:lnTo>
                      <a:cubicBezTo>
                        <a:pt x="80287" y="69047"/>
                        <a:pt x="63632" y="86457"/>
                        <a:pt x="39957" y="86308"/>
                      </a:cubicBezTo>
                      <a:cubicBezTo>
                        <a:pt x="14116" y="86159"/>
                        <a:pt x="0" y="70018"/>
                        <a:pt x="0" y="47226"/>
                      </a:cubicBezTo>
                      <a:close/>
                    </a:path>
                  </a:pathLst>
                </a:custGeom>
                <a:solidFill>
                  <a:srgbClr val="FFFFFF"/>
                </a:solidFill>
                <a:ln w="0" cap="flat">
                  <a:noFill/>
                  <a:prstDash val="solid"/>
                  <a:miter/>
                </a:ln>
              </p:spPr>
              <p:txBody>
                <a:bodyPr rtlCol="0" anchor="ctr"/>
                <a:lstStyle/>
                <a:p>
                  <a:endParaRPr lang="en-US"/>
                </a:p>
              </p:txBody>
            </p:sp>
            <p:sp>
              <p:nvSpPr>
                <p:cNvPr id="307" name="Freeform 306">
                  <a:extLst>
                    <a:ext uri="{FF2B5EF4-FFF2-40B4-BE49-F238E27FC236}">
                      <a16:creationId xmlns:a16="http://schemas.microsoft.com/office/drawing/2014/main" id="{9C0A5950-C212-F5AB-5F96-F7E970506BDA}"/>
                    </a:ext>
                  </a:extLst>
                </p:cNvPr>
                <p:cNvSpPr/>
                <p:nvPr/>
              </p:nvSpPr>
              <p:spPr>
                <a:xfrm>
                  <a:off x="3364663" y="5432833"/>
                  <a:ext cx="89249" cy="124193"/>
                </a:xfrm>
                <a:custGeom>
                  <a:avLst/>
                  <a:gdLst>
                    <a:gd name="connsiteX0" fmla="*/ 65052 w 89249"/>
                    <a:gd name="connsiteY0" fmla="*/ 109473 h 124193"/>
                    <a:gd name="connsiteX1" fmla="*/ 38015 w 89249"/>
                    <a:gd name="connsiteY1" fmla="*/ 124194 h 124193"/>
                    <a:gd name="connsiteX2" fmla="*/ 0 w 89249"/>
                    <a:gd name="connsiteY2" fmla="*/ 80106 h 124193"/>
                    <a:gd name="connsiteX3" fmla="*/ 38015 w 89249"/>
                    <a:gd name="connsiteY3" fmla="*/ 36018 h 124193"/>
                    <a:gd name="connsiteX4" fmla="*/ 64529 w 89249"/>
                    <a:gd name="connsiteY4" fmla="*/ 49842 h 124193"/>
                    <a:gd name="connsiteX5" fmla="*/ 64529 w 89249"/>
                    <a:gd name="connsiteY5" fmla="*/ 0 h 124193"/>
                    <a:gd name="connsiteX6" fmla="*/ 89250 w 89249"/>
                    <a:gd name="connsiteY6" fmla="*/ 0 h 124193"/>
                    <a:gd name="connsiteX7" fmla="*/ 89250 w 89249"/>
                    <a:gd name="connsiteY7" fmla="*/ 122326 h 124193"/>
                    <a:gd name="connsiteX8" fmla="*/ 66471 w 89249"/>
                    <a:gd name="connsiteY8" fmla="*/ 122326 h 124193"/>
                    <a:gd name="connsiteX9" fmla="*/ 65052 w 89249"/>
                    <a:gd name="connsiteY9" fmla="*/ 109622 h 124193"/>
                    <a:gd name="connsiteX10" fmla="*/ 64678 w 89249"/>
                    <a:gd name="connsiteY10" fmla="*/ 80031 h 124193"/>
                    <a:gd name="connsiteX11" fmla="*/ 44961 w 89249"/>
                    <a:gd name="connsiteY11" fmla="*/ 57464 h 124193"/>
                    <a:gd name="connsiteX12" fmla="*/ 24348 w 89249"/>
                    <a:gd name="connsiteY12" fmla="*/ 80031 h 124193"/>
                    <a:gd name="connsiteX13" fmla="*/ 44961 w 89249"/>
                    <a:gd name="connsiteY13" fmla="*/ 102598 h 124193"/>
                    <a:gd name="connsiteX14" fmla="*/ 64678 w 89249"/>
                    <a:gd name="connsiteY14" fmla="*/ 80031 h 124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9249" h="124193">
                      <a:moveTo>
                        <a:pt x="65052" y="109473"/>
                      </a:moveTo>
                      <a:cubicBezTo>
                        <a:pt x="60570" y="118589"/>
                        <a:pt x="51234" y="124194"/>
                        <a:pt x="38015" y="124194"/>
                      </a:cubicBezTo>
                      <a:cubicBezTo>
                        <a:pt x="19344" y="124194"/>
                        <a:pt x="0" y="109473"/>
                        <a:pt x="0" y="80106"/>
                      </a:cubicBezTo>
                      <a:cubicBezTo>
                        <a:pt x="0" y="50739"/>
                        <a:pt x="19344" y="36018"/>
                        <a:pt x="38015" y="36018"/>
                      </a:cubicBezTo>
                      <a:cubicBezTo>
                        <a:pt x="50712" y="36018"/>
                        <a:pt x="59898" y="41249"/>
                        <a:pt x="64529" y="49842"/>
                      </a:cubicBezTo>
                      <a:lnTo>
                        <a:pt x="64529" y="0"/>
                      </a:lnTo>
                      <a:lnTo>
                        <a:pt x="89250" y="0"/>
                      </a:lnTo>
                      <a:lnTo>
                        <a:pt x="89250" y="122326"/>
                      </a:lnTo>
                      <a:lnTo>
                        <a:pt x="66471" y="122326"/>
                      </a:lnTo>
                      <a:lnTo>
                        <a:pt x="65052" y="109622"/>
                      </a:lnTo>
                      <a:close/>
                      <a:moveTo>
                        <a:pt x="64678" y="80031"/>
                      </a:moveTo>
                      <a:cubicBezTo>
                        <a:pt x="64678" y="64264"/>
                        <a:pt x="54446" y="57464"/>
                        <a:pt x="44961" y="57464"/>
                      </a:cubicBezTo>
                      <a:cubicBezTo>
                        <a:pt x="33161" y="57464"/>
                        <a:pt x="24348" y="66057"/>
                        <a:pt x="24348" y="80031"/>
                      </a:cubicBezTo>
                      <a:cubicBezTo>
                        <a:pt x="24348" y="94005"/>
                        <a:pt x="33161" y="102598"/>
                        <a:pt x="44961" y="102598"/>
                      </a:cubicBezTo>
                      <a:cubicBezTo>
                        <a:pt x="54446" y="102598"/>
                        <a:pt x="64678" y="95798"/>
                        <a:pt x="64678" y="80031"/>
                      </a:cubicBezTo>
                      <a:close/>
                    </a:path>
                  </a:pathLst>
                </a:custGeom>
                <a:solidFill>
                  <a:srgbClr val="FFFFFF"/>
                </a:solidFill>
                <a:ln w="0" cap="flat">
                  <a:noFill/>
                  <a:prstDash val="solid"/>
                  <a:miter/>
                </a:ln>
              </p:spPr>
              <p:txBody>
                <a:bodyPr rtlCol="0" anchor="ctr"/>
                <a:lstStyle/>
                <a:p>
                  <a:endParaRPr lang="en-US"/>
                </a:p>
              </p:txBody>
            </p:sp>
          </p:grpSp>
        </p:grpSp>
        <p:pic>
          <p:nvPicPr>
            <p:cNvPr id="300" name="Graphic 299">
              <a:extLst>
                <a:ext uri="{FF2B5EF4-FFF2-40B4-BE49-F238E27FC236}">
                  <a16:creationId xmlns:a16="http://schemas.microsoft.com/office/drawing/2014/main" id="{BE772DCF-A1E3-53B5-7176-AECA65B46627}"/>
                </a:ext>
              </a:extLst>
            </p:cNvPr>
            <p:cNvPicPr>
              <a:picLocks noChangeAspect="1"/>
            </p:cNvPicPr>
            <p:nvPr/>
          </p:nvPicPr>
          <p:blipFill>
            <a:blip r:embed="rId19">
              <a:extLst>
                <a:ext uri="{96DAC541-7B7A-43D3-8B79-37D633B846F1}">
                  <asvg:svgBlip xmlns:asvg="http://schemas.microsoft.com/office/drawing/2016/SVG/main" r:embed="rId20"/>
                </a:ext>
              </a:extLst>
            </a:blip>
            <a:srcRect/>
            <a:stretch/>
          </p:blipFill>
          <p:spPr>
            <a:xfrm>
              <a:off x="841428" y="1988532"/>
              <a:ext cx="512980" cy="447212"/>
            </a:xfrm>
            <a:prstGeom prst="rect">
              <a:avLst/>
            </a:prstGeom>
          </p:spPr>
        </p:pic>
      </p:grpSp>
      <p:grpSp>
        <p:nvGrpSpPr>
          <p:cNvPr id="308" name="Group 307">
            <a:extLst>
              <a:ext uri="{FF2B5EF4-FFF2-40B4-BE49-F238E27FC236}">
                <a16:creationId xmlns:a16="http://schemas.microsoft.com/office/drawing/2014/main" id="{F6E83862-039A-BB52-1D0B-A166C25CCC2D}"/>
              </a:ext>
            </a:extLst>
          </p:cNvPr>
          <p:cNvGrpSpPr/>
          <p:nvPr/>
        </p:nvGrpSpPr>
        <p:grpSpPr>
          <a:xfrm>
            <a:off x="10174880" y="2961798"/>
            <a:ext cx="722146" cy="722527"/>
            <a:chOff x="499836" y="1711717"/>
            <a:chExt cx="1180036" cy="1180659"/>
          </a:xfrm>
        </p:grpSpPr>
        <p:grpSp>
          <p:nvGrpSpPr>
            <p:cNvPr id="309" name="Group 308">
              <a:extLst>
                <a:ext uri="{FF2B5EF4-FFF2-40B4-BE49-F238E27FC236}">
                  <a16:creationId xmlns:a16="http://schemas.microsoft.com/office/drawing/2014/main" id="{6A8DB9E5-92E1-614B-8BA8-999BE10842E5}"/>
                </a:ext>
              </a:extLst>
            </p:cNvPr>
            <p:cNvGrpSpPr/>
            <p:nvPr/>
          </p:nvGrpSpPr>
          <p:grpSpPr>
            <a:xfrm>
              <a:off x="499836" y="1711717"/>
              <a:ext cx="1180036" cy="1180659"/>
              <a:chOff x="2658359" y="4475676"/>
              <a:chExt cx="1180036" cy="1180659"/>
            </a:xfrm>
          </p:grpSpPr>
          <p:sp>
            <p:nvSpPr>
              <p:cNvPr id="311" name="Freeform 310">
                <a:extLst>
                  <a:ext uri="{FF2B5EF4-FFF2-40B4-BE49-F238E27FC236}">
                    <a16:creationId xmlns:a16="http://schemas.microsoft.com/office/drawing/2014/main" id="{8385F7D8-333E-4E43-FC6F-59D3050ABF66}"/>
                  </a:ext>
                </a:extLst>
              </p:cNvPr>
              <p:cNvSpPr/>
              <p:nvPr/>
            </p:nvSpPr>
            <p:spPr>
              <a:xfrm>
                <a:off x="2658359" y="4475676"/>
                <a:ext cx="1180036" cy="1180659"/>
              </a:xfrm>
              <a:custGeom>
                <a:avLst/>
                <a:gdLst>
                  <a:gd name="connsiteX0" fmla="*/ 86934 w 1180036"/>
                  <a:gd name="connsiteY0" fmla="*/ 1180660 h 1180659"/>
                  <a:gd name="connsiteX1" fmla="*/ 1093102 w 1180036"/>
                  <a:gd name="connsiteY1" fmla="*/ 1180660 h 1180659"/>
                  <a:gd name="connsiteX2" fmla="*/ 1180036 w 1180036"/>
                  <a:gd name="connsiteY2" fmla="*/ 1093680 h 1180659"/>
                  <a:gd name="connsiteX3" fmla="*/ 1180036 w 1180036"/>
                  <a:gd name="connsiteY3" fmla="*/ 86980 h 1180659"/>
                  <a:gd name="connsiteX4" fmla="*/ 1093102 w 1180036"/>
                  <a:gd name="connsiteY4" fmla="*/ 0 h 1180659"/>
                  <a:gd name="connsiteX5" fmla="*/ 86934 w 1180036"/>
                  <a:gd name="connsiteY5" fmla="*/ 0 h 1180659"/>
                  <a:gd name="connsiteX6" fmla="*/ 0 w 1180036"/>
                  <a:gd name="connsiteY6" fmla="*/ 86980 h 1180659"/>
                  <a:gd name="connsiteX7" fmla="*/ 0 w 1180036"/>
                  <a:gd name="connsiteY7" fmla="*/ 1093680 h 1180659"/>
                  <a:gd name="connsiteX8" fmla="*/ 86934 w 1180036"/>
                  <a:gd name="connsiteY8" fmla="*/ 1180660 h 118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036" h="1180659">
                    <a:moveTo>
                      <a:pt x="86934" y="1180660"/>
                    </a:moveTo>
                    <a:lnTo>
                      <a:pt x="1093102" y="1180660"/>
                    </a:lnTo>
                    <a:cubicBezTo>
                      <a:pt x="1141125" y="1180660"/>
                      <a:pt x="1180036" y="1141728"/>
                      <a:pt x="1180036" y="1093680"/>
                    </a:cubicBezTo>
                    <a:lnTo>
                      <a:pt x="1180036" y="86980"/>
                    </a:lnTo>
                    <a:cubicBezTo>
                      <a:pt x="1180036" y="38932"/>
                      <a:pt x="1141125" y="0"/>
                      <a:pt x="1093102" y="0"/>
                    </a:cubicBezTo>
                    <a:lnTo>
                      <a:pt x="86934" y="0"/>
                    </a:lnTo>
                    <a:cubicBezTo>
                      <a:pt x="38911" y="0"/>
                      <a:pt x="0" y="38932"/>
                      <a:pt x="0" y="86980"/>
                    </a:cubicBezTo>
                    <a:lnTo>
                      <a:pt x="0" y="1093680"/>
                    </a:lnTo>
                    <a:cubicBezTo>
                      <a:pt x="0" y="1141728"/>
                      <a:pt x="38911" y="1180660"/>
                      <a:pt x="86934" y="1180660"/>
                    </a:cubicBezTo>
                  </a:path>
                </a:pathLst>
              </a:custGeom>
              <a:solidFill>
                <a:schemeClr val="tx1"/>
              </a:solidFill>
              <a:ln w="0" cap="flat">
                <a:noFill/>
                <a:prstDash val="solid"/>
                <a:miter/>
              </a:ln>
            </p:spPr>
            <p:txBody>
              <a:bodyPr rtlCol="0" anchor="ctr"/>
              <a:lstStyle/>
              <a:p>
                <a:endParaRPr lang="en-US"/>
              </a:p>
            </p:txBody>
          </p:sp>
          <p:grpSp>
            <p:nvGrpSpPr>
              <p:cNvPr id="312" name="Graphic 5">
                <a:extLst>
                  <a:ext uri="{FF2B5EF4-FFF2-40B4-BE49-F238E27FC236}">
                    <a16:creationId xmlns:a16="http://schemas.microsoft.com/office/drawing/2014/main" id="{B828BD5F-CD35-4876-46AA-CEBCE196AE6D}"/>
                  </a:ext>
                </a:extLst>
              </p:cNvPr>
              <p:cNvGrpSpPr/>
              <p:nvPr/>
            </p:nvGrpSpPr>
            <p:grpSpPr>
              <a:xfrm>
                <a:off x="2982495" y="5430741"/>
                <a:ext cx="471417" cy="126285"/>
                <a:chOff x="2982495" y="5430741"/>
                <a:chExt cx="471417" cy="126285"/>
              </a:xfrm>
              <a:solidFill>
                <a:srgbClr val="FFFFFF"/>
              </a:solidFill>
            </p:grpSpPr>
            <p:sp>
              <p:nvSpPr>
                <p:cNvPr id="313" name="Freeform 312">
                  <a:extLst>
                    <a:ext uri="{FF2B5EF4-FFF2-40B4-BE49-F238E27FC236}">
                      <a16:creationId xmlns:a16="http://schemas.microsoft.com/office/drawing/2014/main" id="{B45B3FF2-535C-B233-5B7B-14A9292C154D}"/>
                    </a:ext>
                  </a:extLst>
                </p:cNvPr>
                <p:cNvSpPr/>
                <p:nvPr/>
              </p:nvSpPr>
              <p:spPr>
                <a:xfrm>
                  <a:off x="2982495" y="5430741"/>
                  <a:ext cx="121214" cy="126285"/>
                </a:xfrm>
                <a:custGeom>
                  <a:avLst/>
                  <a:gdLst>
                    <a:gd name="connsiteX0" fmla="*/ 0 w 121214"/>
                    <a:gd name="connsiteY0" fmla="*/ 63143 h 126285"/>
                    <a:gd name="connsiteX1" fmla="*/ 63110 w 121214"/>
                    <a:gd name="connsiteY1" fmla="*/ 0 h 126285"/>
                    <a:gd name="connsiteX2" fmla="*/ 121215 w 121214"/>
                    <a:gd name="connsiteY2" fmla="*/ 42892 h 126285"/>
                    <a:gd name="connsiteX3" fmla="*/ 95374 w 121214"/>
                    <a:gd name="connsiteY3" fmla="*/ 42892 h 126285"/>
                    <a:gd name="connsiteX4" fmla="*/ 63110 w 121214"/>
                    <a:gd name="connsiteY4" fmla="*/ 24061 h 126285"/>
                    <a:gd name="connsiteX5" fmla="*/ 25468 w 121214"/>
                    <a:gd name="connsiteY5" fmla="*/ 63143 h 126285"/>
                    <a:gd name="connsiteX6" fmla="*/ 63110 w 121214"/>
                    <a:gd name="connsiteY6" fmla="*/ 102224 h 126285"/>
                    <a:gd name="connsiteX7" fmla="*/ 95374 w 121214"/>
                    <a:gd name="connsiteY7" fmla="*/ 83393 h 126285"/>
                    <a:gd name="connsiteX8" fmla="*/ 121215 w 121214"/>
                    <a:gd name="connsiteY8" fmla="*/ 83393 h 126285"/>
                    <a:gd name="connsiteX9" fmla="*/ 63110 w 121214"/>
                    <a:gd name="connsiteY9" fmla="*/ 126286 h 126285"/>
                    <a:gd name="connsiteX10" fmla="*/ 0 w 121214"/>
                    <a:gd name="connsiteY10" fmla="*/ 63143 h 126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214" h="126285">
                      <a:moveTo>
                        <a:pt x="0" y="63143"/>
                      </a:moveTo>
                      <a:cubicBezTo>
                        <a:pt x="0" y="26901"/>
                        <a:pt x="27036" y="0"/>
                        <a:pt x="63110" y="0"/>
                      </a:cubicBezTo>
                      <a:cubicBezTo>
                        <a:pt x="94104" y="0"/>
                        <a:pt x="115614" y="17411"/>
                        <a:pt x="121215" y="42892"/>
                      </a:cubicBezTo>
                      <a:lnTo>
                        <a:pt x="95374" y="42892"/>
                      </a:lnTo>
                      <a:cubicBezTo>
                        <a:pt x="90519" y="32879"/>
                        <a:pt x="80661" y="24061"/>
                        <a:pt x="63110" y="24061"/>
                      </a:cubicBezTo>
                      <a:cubicBezTo>
                        <a:pt x="41973" y="24061"/>
                        <a:pt x="25468" y="40576"/>
                        <a:pt x="25468" y="63143"/>
                      </a:cubicBezTo>
                      <a:cubicBezTo>
                        <a:pt x="25468" y="85710"/>
                        <a:pt x="41973" y="102224"/>
                        <a:pt x="63110" y="102224"/>
                      </a:cubicBezTo>
                      <a:cubicBezTo>
                        <a:pt x="80661" y="102224"/>
                        <a:pt x="90519" y="93407"/>
                        <a:pt x="95374" y="83393"/>
                      </a:cubicBezTo>
                      <a:lnTo>
                        <a:pt x="121215" y="83393"/>
                      </a:lnTo>
                      <a:cubicBezTo>
                        <a:pt x="115688" y="108875"/>
                        <a:pt x="94179" y="126286"/>
                        <a:pt x="63110" y="126286"/>
                      </a:cubicBezTo>
                      <a:cubicBezTo>
                        <a:pt x="27111" y="126286"/>
                        <a:pt x="0" y="99385"/>
                        <a:pt x="0" y="63143"/>
                      </a:cubicBezTo>
                      <a:close/>
                    </a:path>
                  </a:pathLst>
                </a:custGeom>
                <a:solidFill>
                  <a:srgbClr val="FFFFFF"/>
                </a:solidFill>
                <a:ln w="0" cap="flat">
                  <a:noFill/>
                  <a:prstDash val="solid"/>
                  <a:miter/>
                </a:ln>
              </p:spPr>
              <p:txBody>
                <a:bodyPr rtlCol="0" anchor="ctr"/>
                <a:lstStyle/>
                <a:p>
                  <a:endParaRPr lang="en-US"/>
                </a:p>
              </p:txBody>
            </p:sp>
            <p:sp>
              <p:nvSpPr>
                <p:cNvPr id="314" name="Freeform 313">
                  <a:extLst>
                    <a:ext uri="{FF2B5EF4-FFF2-40B4-BE49-F238E27FC236}">
                      <a16:creationId xmlns:a16="http://schemas.microsoft.com/office/drawing/2014/main" id="{E0624799-90C8-42EA-5F1F-165CABABD136}"/>
                    </a:ext>
                  </a:extLst>
                </p:cNvPr>
                <p:cNvSpPr/>
                <p:nvPr/>
              </p:nvSpPr>
              <p:spPr>
                <a:xfrm>
                  <a:off x="3122979" y="5432683"/>
                  <a:ext cx="24720" cy="122325"/>
                </a:xfrm>
                <a:custGeom>
                  <a:avLst/>
                  <a:gdLst>
                    <a:gd name="connsiteX0" fmla="*/ 0 w 24720"/>
                    <a:gd name="connsiteY0" fmla="*/ 0 h 122325"/>
                    <a:gd name="connsiteX1" fmla="*/ 24721 w 24720"/>
                    <a:gd name="connsiteY1" fmla="*/ 0 h 122325"/>
                    <a:gd name="connsiteX2" fmla="*/ 24721 w 24720"/>
                    <a:gd name="connsiteY2" fmla="*/ 122325 h 122325"/>
                    <a:gd name="connsiteX3" fmla="*/ 0 w 24720"/>
                    <a:gd name="connsiteY3" fmla="*/ 122325 h 122325"/>
                    <a:gd name="connsiteX4" fmla="*/ 0 w 24720"/>
                    <a:gd name="connsiteY4" fmla="*/ 0 h 122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20" h="122325">
                      <a:moveTo>
                        <a:pt x="0" y="0"/>
                      </a:moveTo>
                      <a:lnTo>
                        <a:pt x="24721" y="0"/>
                      </a:lnTo>
                      <a:lnTo>
                        <a:pt x="24721" y="122325"/>
                      </a:lnTo>
                      <a:lnTo>
                        <a:pt x="0" y="122325"/>
                      </a:lnTo>
                      <a:lnTo>
                        <a:pt x="0" y="0"/>
                      </a:lnTo>
                      <a:close/>
                    </a:path>
                  </a:pathLst>
                </a:custGeom>
                <a:solidFill>
                  <a:srgbClr val="FFFFFF"/>
                </a:solidFill>
                <a:ln w="0" cap="flat">
                  <a:noFill/>
                  <a:prstDash val="solid"/>
                  <a:miter/>
                </a:ln>
              </p:spPr>
              <p:txBody>
                <a:bodyPr rtlCol="0" anchor="ctr"/>
                <a:lstStyle/>
                <a:p>
                  <a:endParaRPr lang="en-US"/>
                </a:p>
              </p:txBody>
            </p:sp>
            <p:sp>
              <p:nvSpPr>
                <p:cNvPr id="315" name="Freeform 314">
                  <a:extLst>
                    <a:ext uri="{FF2B5EF4-FFF2-40B4-BE49-F238E27FC236}">
                      <a16:creationId xmlns:a16="http://schemas.microsoft.com/office/drawing/2014/main" id="{AC0A0914-0327-F150-904C-A57E36F34BE8}"/>
                    </a:ext>
                  </a:extLst>
                </p:cNvPr>
                <p:cNvSpPr/>
                <p:nvPr/>
              </p:nvSpPr>
              <p:spPr>
                <a:xfrm>
                  <a:off x="3165326" y="5468775"/>
                  <a:ext cx="91116" cy="88176"/>
                </a:xfrm>
                <a:custGeom>
                  <a:avLst/>
                  <a:gdLst>
                    <a:gd name="connsiteX0" fmla="*/ 0 w 91116"/>
                    <a:gd name="connsiteY0" fmla="*/ 44088 h 88176"/>
                    <a:gd name="connsiteX1" fmla="*/ 45558 w 91116"/>
                    <a:gd name="connsiteY1" fmla="*/ 0 h 88176"/>
                    <a:gd name="connsiteX2" fmla="*/ 91117 w 91116"/>
                    <a:gd name="connsiteY2" fmla="*/ 44088 h 88176"/>
                    <a:gd name="connsiteX3" fmla="*/ 45558 w 91116"/>
                    <a:gd name="connsiteY3" fmla="*/ 88176 h 88176"/>
                    <a:gd name="connsiteX4" fmla="*/ 0 w 91116"/>
                    <a:gd name="connsiteY4" fmla="*/ 44088 h 88176"/>
                    <a:gd name="connsiteX5" fmla="*/ 66694 w 91116"/>
                    <a:gd name="connsiteY5" fmla="*/ 44088 h 88176"/>
                    <a:gd name="connsiteX6" fmla="*/ 45558 w 91116"/>
                    <a:gd name="connsiteY6" fmla="*/ 21297 h 88176"/>
                    <a:gd name="connsiteX7" fmla="*/ 24422 w 91116"/>
                    <a:gd name="connsiteY7" fmla="*/ 44088 h 88176"/>
                    <a:gd name="connsiteX8" fmla="*/ 45558 w 91116"/>
                    <a:gd name="connsiteY8" fmla="*/ 66879 h 88176"/>
                    <a:gd name="connsiteX9" fmla="*/ 66694 w 91116"/>
                    <a:gd name="connsiteY9" fmla="*/ 44088 h 88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116" h="88176">
                      <a:moveTo>
                        <a:pt x="0" y="44088"/>
                      </a:moveTo>
                      <a:cubicBezTo>
                        <a:pt x="0" y="18981"/>
                        <a:pt x="18821" y="0"/>
                        <a:pt x="45558" y="0"/>
                      </a:cubicBezTo>
                      <a:cubicBezTo>
                        <a:pt x="72296" y="0"/>
                        <a:pt x="91117" y="18981"/>
                        <a:pt x="91117" y="44088"/>
                      </a:cubicBezTo>
                      <a:cubicBezTo>
                        <a:pt x="91117" y="69196"/>
                        <a:pt x="72296" y="88176"/>
                        <a:pt x="45558" y="88176"/>
                      </a:cubicBezTo>
                      <a:cubicBezTo>
                        <a:pt x="18821" y="88176"/>
                        <a:pt x="0" y="69196"/>
                        <a:pt x="0" y="44088"/>
                      </a:cubicBezTo>
                      <a:close/>
                      <a:moveTo>
                        <a:pt x="66694" y="44088"/>
                      </a:moveTo>
                      <a:cubicBezTo>
                        <a:pt x="66694" y="30638"/>
                        <a:pt x="57882" y="21297"/>
                        <a:pt x="45558" y="21297"/>
                      </a:cubicBezTo>
                      <a:cubicBezTo>
                        <a:pt x="33235" y="21297"/>
                        <a:pt x="24422" y="30638"/>
                        <a:pt x="24422" y="44088"/>
                      </a:cubicBezTo>
                      <a:cubicBezTo>
                        <a:pt x="24422" y="57539"/>
                        <a:pt x="33235" y="66879"/>
                        <a:pt x="45558" y="66879"/>
                      </a:cubicBezTo>
                      <a:cubicBezTo>
                        <a:pt x="57882" y="66879"/>
                        <a:pt x="66694" y="57539"/>
                        <a:pt x="66694" y="44088"/>
                      </a:cubicBezTo>
                      <a:close/>
                    </a:path>
                  </a:pathLst>
                </a:custGeom>
                <a:solidFill>
                  <a:srgbClr val="FFFFFF"/>
                </a:solidFill>
                <a:ln w="0" cap="flat">
                  <a:noFill/>
                  <a:prstDash val="solid"/>
                  <a:miter/>
                </a:ln>
              </p:spPr>
              <p:txBody>
                <a:bodyPr rtlCol="0" anchor="ctr"/>
                <a:lstStyle/>
                <a:p>
                  <a:endParaRPr lang="en-US"/>
                </a:p>
              </p:txBody>
            </p:sp>
            <p:sp>
              <p:nvSpPr>
                <p:cNvPr id="316" name="Freeform 315">
                  <a:extLst>
                    <a:ext uri="{FF2B5EF4-FFF2-40B4-BE49-F238E27FC236}">
                      <a16:creationId xmlns:a16="http://schemas.microsoft.com/office/drawing/2014/main" id="{E7259DFD-6490-426A-C3CF-A81B9E531E43}"/>
                    </a:ext>
                  </a:extLst>
                </p:cNvPr>
                <p:cNvSpPr/>
                <p:nvPr/>
              </p:nvSpPr>
              <p:spPr>
                <a:xfrm>
                  <a:off x="3270334" y="5470644"/>
                  <a:ext cx="80287" cy="86309"/>
                </a:xfrm>
                <a:custGeom>
                  <a:avLst/>
                  <a:gdLst>
                    <a:gd name="connsiteX0" fmla="*/ 0 w 80287"/>
                    <a:gd name="connsiteY0" fmla="*/ 47226 h 86309"/>
                    <a:gd name="connsiteX1" fmla="*/ 0 w 80287"/>
                    <a:gd name="connsiteY1" fmla="*/ 75 h 86309"/>
                    <a:gd name="connsiteX2" fmla="*/ 24721 w 80287"/>
                    <a:gd name="connsiteY2" fmla="*/ 75 h 86309"/>
                    <a:gd name="connsiteX3" fmla="*/ 24721 w 80287"/>
                    <a:gd name="connsiteY3" fmla="*/ 45433 h 86309"/>
                    <a:gd name="connsiteX4" fmla="*/ 39957 w 80287"/>
                    <a:gd name="connsiteY4" fmla="*/ 64787 h 86309"/>
                    <a:gd name="connsiteX5" fmla="*/ 55566 w 80287"/>
                    <a:gd name="connsiteY5" fmla="*/ 45583 h 86309"/>
                    <a:gd name="connsiteX6" fmla="*/ 55566 w 80287"/>
                    <a:gd name="connsiteY6" fmla="*/ 0 h 86309"/>
                    <a:gd name="connsiteX7" fmla="*/ 80287 w 80287"/>
                    <a:gd name="connsiteY7" fmla="*/ 0 h 86309"/>
                    <a:gd name="connsiteX8" fmla="*/ 80287 w 80287"/>
                    <a:gd name="connsiteY8" fmla="*/ 47376 h 86309"/>
                    <a:gd name="connsiteX9" fmla="*/ 39957 w 80287"/>
                    <a:gd name="connsiteY9" fmla="*/ 86308 h 86309"/>
                    <a:gd name="connsiteX10" fmla="*/ 0 w 80287"/>
                    <a:gd name="connsiteY10" fmla="*/ 47226 h 8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0287" h="86309">
                      <a:moveTo>
                        <a:pt x="0" y="47226"/>
                      </a:moveTo>
                      <a:lnTo>
                        <a:pt x="0" y="75"/>
                      </a:lnTo>
                      <a:lnTo>
                        <a:pt x="24721" y="75"/>
                      </a:lnTo>
                      <a:lnTo>
                        <a:pt x="24721" y="45433"/>
                      </a:lnTo>
                      <a:cubicBezTo>
                        <a:pt x="24721" y="57240"/>
                        <a:pt x="29949" y="64638"/>
                        <a:pt x="39957" y="64787"/>
                      </a:cubicBezTo>
                      <a:cubicBezTo>
                        <a:pt x="50861" y="64936"/>
                        <a:pt x="55566" y="57613"/>
                        <a:pt x="55566" y="45583"/>
                      </a:cubicBezTo>
                      <a:lnTo>
                        <a:pt x="55566" y="0"/>
                      </a:lnTo>
                      <a:lnTo>
                        <a:pt x="80287" y="0"/>
                      </a:lnTo>
                      <a:lnTo>
                        <a:pt x="80287" y="47376"/>
                      </a:lnTo>
                      <a:cubicBezTo>
                        <a:pt x="80287" y="69047"/>
                        <a:pt x="63632" y="86457"/>
                        <a:pt x="39957" y="86308"/>
                      </a:cubicBezTo>
                      <a:cubicBezTo>
                        <a:pt x="14116" y="86159"/>
                        <a:pt x="0" y="70018"/>
                        <a:pt x="0" y="47226"/>
                      </a:cubicBezTo>
                      <a:close/>
                    </a:path>
                  </a:pathLst>
                </a:custGeom>
                <a:solidFill>
                  <a:srgbClr val="FFFFFF"/>
                </a:solidFill>
                <a:ln w="0" cap="flat">
                  <a:noFill/>
                  <a:prstDash val="solid"/>
                  <a:miter/>
                </a:ln>
              </p:spPr>
              <p:txBody>
                <a:bodyPr rtlCol="0" anchor="ctr"/>
                <a:lstStyle/>
                <a:p>
                  <a:endParaRPr lang="en-US"/>
                </a:p>
              </p:txBody>
            </p:sp>
            <p:sp>
              <p:nvSpPr>
                <p:cNvPr id="317" name="Freeform 316">
                  <a:extLst>
                    <a:ext uri="{FF2B5EF4-FFF2-40B4-BE49-F238E27FC236}">
                      <a16:creationId xmlns:a16="http://schemas.microsoft.com/office/drawing/2014/main" id="{749E8D9A-81D6-134D-BC15-35B92D50CCBC}"/>
                    </a:ext>
                  </a:extLst>
                </p:cNvPr>
                <p:cNvSpPr/>
                <p:nvPr/>
              </p:nvSpPr>
              <p:spPr>
                <a:xfrm>
                  <a:off x="3364663" y="5432833"/>
                  <a:ext cx="89249" cy="124193"/>
                </a:xfrm>
                <a:custGeom>
                  <a:avLst/>
                  <a:gdLst>
                    <a:gd name="connsiteX0" fmla="*/ 65052 w 89249"/>
                    <a:gd name="connsiteY0" fmla="*/ 109473 h 124193"/>
                    <a:gd name="connsiteX1" fmla="*/ 38015 w 89249"/>
                    <a:gd name="connsiteY1" fmla="*/ 124194 h 124193"/>
                    <a:gd name="connsiteX2" fmla="*/ 0 w 89249"/>
                    <a:gd name="connsiteY2" fmla="*/ 80106 h 124193"/>
                    <a:gd name="connsiteX3" fmla="*/ 38015 w 89249"/>
                    <a:gd name="connsiteY3" fmla="*/ 36018 h 124193"/>
                    <a:gd name="connsiteX4" fmla="*/ 64529 w 89249"/>
                    <a:gd name="connsiteY4" fmla="*/ 49842 h 124193"/>
                    <a:gd name="connsiteX5" fmla="*/ 64529 w 89249"/>
                    <a:gd name="connsiteY5" fmla="*/ 0 h 124193"/>
                    <a:gd name="connsiteX6" fmla="*/ 89250 w 89249"/>
                    <a:gd name="connsiteY6" fmla="*/ 0 h 124193"/>
                    <a:gd name="connsiteX7" fmla="*/ 89250 w 89249"/>
                    <a:gd name="connsiteY7" fmla="*/ 122326 h 124193"/>
                    <a:gd name="connsiteX8" fmla="*/ 66471 w 89249"/>
                    <a:gd name="connsiteY8" fmla="*/ 122326 h 124193"/>
                    <a:gd name="connsiteX9" fmla="*/ 65052 w 89249"/>
                    <a:gd name="connsiteY9" fmla="*/ 109622 h 124193"/>
                    <a:gd name="connsiteX10" fmla="*/ 64678 w 89249"/>
                    <a:gd name="connsiteY10" fmla="*/ 80031 h 124193"/>
                    <a:gd name="connsiteX11" fmla="*/ 44961 w 89249"/>
                    <a:gd name="connsiteY11" fmla="*/ 57464 h 124193"/>
                    <a:gd name="connsiteX12" fmla="*/ 24348 w 89249"/>
                    <a:gd name="connsiteY12" fmla="*/ 80031 h 124193"/>
                    <a:gd name="connsiteX13" fmla="*/ 44961 w 89249"/>
                    <a:gd name="connsiteY13" fmla="*/ 102598 h 124193"/>
                    <a:gd name="connsiteX14" fmla="*/ 64678 w 89249"/>
                    <a:gd name="connsiteY14" fmla="*/ 80031 h 124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9249" h="124193">
                      <a:moveTo>
                        <a:pt x="65052" y="109473"/>
                      </a:moveTo>
                      <a:cubicBezTo>
                        <a:pt x="60570" y="118589"/>
                        <a:pt x="51234" y="124194"/>
                        <a:pt x="38015" y="124194"/>
                      </a:cubicBezTo>
                      <a:cubicBezTo>
                        <a:pt x="19344" y="124194"/>
                        <a:pt x="0" y="109473"/>
                        <a:pt x="0" y="80106"/>
                      </a:cubicBezTo>
                      <a:cubicBezTo>
                        <a:pt x="0" y="50739"/>
                        <a:pt x="19344" y="36018"/>
                        <a:pt x="38015" y="36018"/>
                      </a:cubicBezTo>
                      <a:cubicBezTo>
                        <a:pt x="50712" y="36018"/>
                        <a:pt x="59898" y="41249"/>
                        <a:pt x="64529" y="49842"/>
                      </a:cubicBezTo>
                      <a:lnTo>
                        <a:pt x="64529" y="0"/>
                      </a:lnTo>
                      <a:lnTo>
                        <a:pt x="89250" y="0"/>
                      </a:lnTo>
                      <a:lnTo>
                        <a:pt x="89250" y="122326"/>
                      </a:lnTo>
                      <a:lnTo>
                        <a:pt x="66471" y="122326"/>
                      </a:lnTo>
                      <a:lnTo>
                        <a:pt x="65052" y="109622"/>
                      </a:lnTo>
                      <a:close/>
                      <a:moveTo>
                        <a:pt x="64678" y="80031"/>
                      </a:moveTo>
                      <a:cubicBezTo>
                        <a:pt x="64678" y="64264"/>
                        <a:pt x="54446" y="57464"/>
                        <a:pt x="44961" y="57464"/>
                      </a:cubicBezTo>
                      <a:cubicBezTo>
                        <a:pt x="33161" y="57464"/>
                        <a:pt x="24348" y="66057"/>
                        <a:pt x="24348" y="80031"/>
                      </a:cubicBezTo>
                      <a:cubicBezTo>
                        <a:pt x="24348" y="94005"/>
                        <a:pt x="33161" y="102598"/>
                        <a:pt x="44961" y="102598"/>
                      </a:cubicBezTo>
                      <a:cubicBezTo>
                        <a:pt x="54446" y="102598"/>
                        <a:pt x="64678" y="95798"/>
                        <a:pt x="64678" y="80031"/>
                      </a:cubicBezTo>
                      <a:close/>
                    </a:path>
                  </a:pathLst>
                </a:custGeom>
                <a:solidFill>
                  <a:srgbClr val="FFFFFF"/>
                </a:solidFill>
                <a:ln w="0" cap="flat">
                  <a:noFill/>
                  <a:prstDash val="solid"/>
                  <a:miter/>
                </a:ln>
              </p:spPr>
              <p:txBody>
                <a:bodyPr rtlCol="0" anchor="ctr"/>
                <a:lstStyle/>
                <a:p>
                  <a:endParaRPr lang="en-US"/>
                </a:p>
              </p:txBody>
            </p:sp>
          </p:grpSp>
        </p:grpSp>
        <p:pic>
          <p:nvPicPr>
            <p:cNvPr id="310" name="Graphic 309">
              <a:extLst>
                <a:ext uri="{FF2B5EF4-FFF2-40B4-BE49-F238E27FC236}">
                  <a16:creationId xmlns:a16="http://schemas.microsoft.com/office/drawing/2014/main" id="{7B8BB9E6-4105-B580-4885-3B083256A65C}"/>
                </a:ext>
              </a:extLst>
            </p:cNvPr>
            <p:cNvPicPr>
              <a:picLocks noChangeAspect="1"/>
            </p:cNvPicPr>
            <p:nvPr/>
          </p:nvPicPr>
          <p:blipFill>
            <a:blip r:embed="rId21">
              <a:extLst>
                <a:ext uri="{96DAC541-7B7A-43D3-8B79-37D633B846F1}">
                  <asvg:svgBlip xmlns:asvg="http://schemas.microsoft.com/office/drawing/2016/SVG/main" r:embed="rId22"/>
                </a:ext>
              </a:extLst>
            </a:blip>
            <a:srcRect/>
            <a:stretch/>
          </p:blipFill>
          <p:spPr>
            <a:xfrm>
              <a:off x="777668" y="2019396"/>
              <a:ext cx="635630" cy="386903"/>
            </a:xfrm>
            <a:prstGeom prst="rect">
              <a:avLst/>
            </a:prstGeom>
          </p:spPr>
        </p:pic>
      </p:grpSp>
    </p:spTree>
    <p:extLst>
      <p:ext uri="{BB962C8B-B14F-4D97-AF65-F5344CB8AC3E}">
        <p14:creationId xmlns:p14="http://schemas.microsoft.com/office/powerpoint/2010/main" val="125981198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Double Bracket 39">
            <a:extLst>
              <a:ext uri="{FF2B5EF4-FFF2-40B4-BE49-F238E27FC236}">
                <a16:creationId xmlns:a16="http://schemas.microsoft.com/office/drawing/2014/main" id="{2FBDAF69-91EB-5F44-0C45-7B357DA78881}"/>
              </a:ext>
            </a:extLst>
          </p:cNvPr>
          <p:cNvSpPr/>
          <p:nvPr/>
        </p:nvSpPr>
        <p:spPr>
          <a:xfrm rot="5400000">
            <a:off x="5639807" y="-185516"/>
            <a:ext cx="910797" cy="11079472"/>
          </a:xfrm>
          <a:custGeom>
            <a:avLst/>
            <a:gdLst>
              <a:gd name="connsiteX0" fmla="*/ 0 w 1092961"/>
              <a:gd name="connsiteY0" fmla="*/ 182164 h 11079472"/>
              <a:gd name="connsiteX1" fmla="*/ 182164 w 1092961"/>
              <a:gd name="connsiteY1" fmla="*/ 0 h 11079472"/>
              <a:gd name="connsiteX2" fmla="*/ 910797 w 1092961"/>
              <a:gd name="connsiteY2" fmla="*/ 0 h 11079472"/>
              <a:gd name="connsiteX3" fmla="*/ 1092961 w 1092961"/>
              <a:gd name="connsiteY3" fmla="*/ 182164 h 11079472"/>
              <a:gd name="connsiteX4" fmla="*/ 1092961 w 1092961"/>
              <a:gd name="connsiteY4" fmla="*/ 10897308 h 11079472"/>
              <a:gd name="connsiteX5" fmla="*/ 910797 w 1092961"/>
              <a:gd name="connsiteY5" fmla="*/ 11079472 h 11079472"/>
              <a:gd name="connsiteX6" fmla="*/ 182164 w 1092961"/>
              <a:gd name="connsiteY6" fmla="*/ 11079472 h 11079472"/>
              <a:gd name="connsiteX7" fmla="*/ 0 w 1092961"/>
              <a:gd name="connsiteY7" fmla="*/ 10897308 h 11079472"/>
              <a:gd name="connsiteX8" fmla="*/ 0 w 1092961"/>
              <a:gd name="connsiteY8" fmla="*/ 182164 h 11079472"/>
              <a:gd name="connsiteX0" fmla="*/ 182164 w 1092961"/>
              <a:gd name="connsiteY0" fmla="*/ 11079472 h 11079472"/>
              <a:gd name="connsiteX1" fmla="*/ 0 w 1092961"/>
              <a:gd name="connsiteY1" fmla="*/ 10897308 h 11079472"/>
              <a:gd name="connsiteX2" fmla="*/ 0 w 1092961"/>
              <a:gd name="connsiteY2" fmla="*/ 182164 h 11079472"/>
              <a:gd name="connsiteX3" fmla="*/ 182164 w 1092961"/>
              <a:gd name="connsiteY3" fmla="*/ 0 h 11079472"/>
              <a:gd name="connsiteX4" fmla="*/ 910797 w 1092961"/>
              <a:gd name="connsiteY4" fmla="*/ 0 h 11079472"/>
              <a:gd name="connsiteX5" fmla="*/ 1092961 w 1092961"/>
              <a:gd name="connsiteY5" fmla="*/ 182164 h 11079472"/>
              <a:gd name="connsiteX6" fmla="*/ 1092961 w 1092961"/>
              <a:gd name="connsiteY6" fmla="*/ 10897308 h 11079472"/>
              <a:gd name="connsiteX7" fmla="*/ 910797 w 1092961"/>
              <a:gd name="connsiteY7" fmla="*/ 11079472 h 11079472"/>
              <a:gd name="connsiteX0" fmla="*/ 23660 w 1116621"/>
              <a:gd name="connsiteY0" fmla="*/ 182164 h 11079472"/>
              <a:gd name="connsiteX1" fmla="*/ 205824 w 1116621"/>
              <a:gd name="connsiteY1" fmla="*/ 0 h 11079472"/>
              <a:gd name="connsiteX2" fmla="*/ 934457 w 1116621"/>
              <a:gd name="connsiteY2" fmla="*/ 0 h 11079472"/>
              <a:gd name="connsiteX3" fmla="*/ 1116621 w 1116621"/>
              <a:gd name="connsiteY3" fmla="*/ 182164 h 11079472"/>
              <a:gd name="connsiteX4" fmla="*/ 1116621 w 1116621"/>
              <a:gd name="connsiteY4" fmla="*/ 10897308 h 11079472"/>
              <a:gd name="connsiteX5" fmla="*/ 934457 w 1116621"/>
              <a:gd name="connsiteY5" fmla="*/ 11079472 h 11079472"/>
              <a:gd name="connsiteX6" fmla="*/ 205824 w 1116621"/>
              <a:gd name="connsiteY6" fmla="*/ 11079472 h 11079472"/>
              <a:gd name="connsiteX7" fmla="*/ 23660 w 1116621"/>
              <a:gd name="connsiteY7" fmla="*/ 10897308 h 11079472"/>
              <a:gd name="connsiteX8" fmla="*/ 23660 w 1116621"/>
              <a:gd name="connsiteY8" fmla="*/ 182164 h 11079472"/>
              <a:gd name="connsiteX0" fmla="*/ 205824 w 1116621"/>
              <a:gd name="connsiteY0" fmla="*/ 11079472 h 11079472"/>
              <a:gd name="connsiteX1" fmla="*/ 23660 w 1116621"/>
              <a:gd name="connsiteY1" fmla="*/ 10897308 h 11079472"/>
              <a:gd name="connsiteX2" fmla="*/ 23660 w 1116621"/>
              <a:gd name="connsiteY2" fmla="*/ 182164 h 11079472"/>
              <a:gd name="connsiteX3" fmla="*/ 205824 w 1116621"/>
              <a:gd name="connsiteY3" fmla="*/ 0 h 11079472"/>
              <a:gd name="connsiteX4" fmla="*/ 934457 w 1116621"/>
              <a:gd name="connsiteY4" fmla="*/ 0 h 11079472"/>
              <a:gd name="connsiteX5" fmla="*/ 1116621 w 1116621"/>
              <a:gd name="connsiteY5" fmla="*/ 182164 h 11079472"/>
              <a:gd name="connsiteX6" fmla="*/ 1116621 w 1116621"/>
              <a:gd name="connsiteY6" fmla="*/ 10897308 h 11079472"/>
              <a:gd name="connsiteX7" fmla="*/ 934457 w 1116621"/>
              <a:gd name="connsiteY7" fmla="*/ 11079472 h 11079472"/>
              <a:gd name="connsiteX0" fmla="*/ 0 w 1092961"/>
              <a:gd name="connsiteY0" fmla="*/ 10897308 h 11079472"/>
              <a:gd name="connsiteX1" fmla="*/ 0 w 1092961"/>
              <a:gd name="connsiteY1" fmla="*/ 182164 h 11079472"/>
              <a:gd name="connsiteX2" fmla="*/ 182164 w 1092961"/>
              <a:gd name="connsiteY2" fmla="*/ 0 h 11079472"/>
              <a:gd name="connsiteX3" fmla="*/ 910797 w 1092961"/>
              <a:gd name="connsiteY3" fmla="*/ 0 h 11079472"/>
              <a:gd name="connsiteX4" fmla="*/ 1092961 w 1092961"/>
              <a:gd name="connsiteY4" fmla="*/ 182164 h 11079472"/>
              <a:gd name="connsiteX5" fmla="*/ 1092961 w 1092961"/>
              <a:gd name="connsiteY5" fmla="*/ 10897308 h 11079472"/>
              <a:gd name="connsiteX6" fmla="*/ 910797 w 1092961"/>
              <a:gd name="connsiteY6" fmla="*/ 11079472 h 11079472"/>
              <a:gd name="connsiteX7" fmla="*/ 182164 w 1092961"/>
              <a:gd name="connsiteY7" fmla="*/ 11079472 h 11079472"/>
              <a:gd name="connsiteX8" fmla="*/ 91440 w 1092961"/>
              <a:gd name="connsiteY8" fmla="*/ 10988748 h 11079472"/>
              <a:gd name="connsiteX0" fmla="*/ 182164 w 1092961"/>
              <a:gd name="connsiteY0" fmla="*/ 11079472 h 11079472"/>
              <a:gd name="connsiteX1" fmla="*/ 0 w 1092961"/>
              <a:gd name="connsiteY1" fmla="*/ 10897308 h 11079472"/>
              <a:gd name="connsiteX2" fmla="*/ 0 w 1092961"/>
              <a:gd name="connsiteY2" fmla="*/ 182164 h 11079472"/>
              <a:gd name="connsiteX3" fmla="*/ 182164 w 1092961"/>
              <a:gd name="connsiteY3" fmla="*/ 0 h 11079472"/>
              <a:gd name="connsiteX4" fmla="*/ 910797 w 1092961"/>
              <a:gd name="connsiteY4" fmla="*/ 0 h 11079472"/>
              <a:gd name="connsiteX5" fmla="*/ 1092961 w 1092961"/>
              <a:gd name="connsiteY5" fmla="*/ 182164 h 11079472"/>
              <a:gd name="connsiteX6" fmla="*/ 1092961 w 1092961"/>
              <a:gd name="connsiteY6" fmla="*/ 10897308 h 11079472"/>
              <a:gd name="connsiteX7" fmla="*/ 910797 w 1092961"/>
              <a:gd name="connsiteY7" fmla="*/ 11079472 h 11079472"/>
              <a:gd name="connsiteX0" fmla="*/ 0 w 1092961"/>
              <a:gd name="connsiteY0" fmla="*/ 10897308 h 11079472"/>
              <a:gd name="connsiteX1" fmla="*/ 0 w 1092961"/>
              <a:gd name="connsiteY1" fmla="*/ 182164 h 11079472"/>
              <a:gd name="connsiteX2" fmla="*/ 182164 w 1092961"/>
              <a:gd name="connsiteY2" fmla="*/ 0 h 11079472"/>
              <a:gd name="connsiteX3" fmla="*/ 910797 w 1092961"/>
              <a:gd name="connsiteY3" fmla="*/ 0 h 11079472"/>
              <a:gd name="connsiteX4" fmla="*/ 1092961 w 1092961"/>
              <a:gd name="connsiteY4" fmla="*/ 182164 h 11079472"/>
              <a:gd name="connsiteX5" fmla="*/ 1092961 w 1092961"/>
              <a:gd name="connsiteY5" fmla="*/ 10897308 h 11079472"/>
              <a:gd name="connsiteX6" fmla="*/ 910797 w 1092961"/>
              <a:gd name="connsiteY6" fmla="*/ 11079472 h 11079472"/>
              <a:gd name="connsiteX7" fmla="*/ 182164 w 1092961"/>
              <a:gd name="connsiteY7" fmla="*/ 11079472 h 11079472"/>
              <a:gd name="connsiteX0" fmla="*/ 182164 w 1092961"/>
              <a:gd name="connsiteY0" fmla="*/ 11079472 h 11079472"/>
              <a:gd name="connsiteX1" fmla="*/ 0 w 1092961"/>
              <a:gd name="connsiteY1" fmla="*/ 10897308 h 11079472"/>
              <a:gd name="connsiteX2" fmla="*/ 0 w 1092961"/>
              <a:gd name="connsiteY2" fmla="*/ 182164 h 11079472"/>
              <a:gd name="connsiteX3" fmla="*/ 182164 w 1092961"/>
              <a:gd name="connsiteY3" fmla="*/ 0 h 11079472"/>
              <a:gd name="connsiteX4" fmla="*/ 910797 w 1092961"/>
              <a:gd name="connsiteY4" fmla="*/ 0 h 11079472"/>
              <a:gd name="connsiteX5" fmla="*/ 1092961 w 1092961"/>
              <a:gd name="connsiteY5" fmla="*/ 182164 h 11079472"/>
              <a:gd name="connsiteX6" fmla="*/ 1092961 w 1092961"/>
              <a:gd name="connsiteY6" fmla="*/ 10897308 h 11079472"/>
              <a:gd name="connsiteX7" fmla="*/ 910797 w 1092961"/>
              <a:gd name="connsiteY7" fmla="*/ 11079472 h 11079472"/>
              <a:gd name="connsiteX0" fmla="*/ 0 w 1092961"/>
              <a:gd name="connsiteY0" fmla="*/ 10897308 h 11079472"/>
              <a:gd name="connsiteX1" fmla="*/ 0 w 1092961"/>
              <a:gd name="connsiteY1" fmla="*/ 182164 h 11079472"/>
              <a:gd name="connsiteX2" fmla="*/ 182164 w 1092961"/>
              <a:gd name="connsiteY2" fmla="*/ 0 h 11079472"/>
              <a:gd name="connsiteX3" fmla="*/ 910797 w 1092961"/>
              <a:gd name="connsiteY3" fmla="*/ 0 h 11079472"/>
              <a:gd name="connsiteX4" fmla="*/ 1092961 w 1092961"/>
              <a:gd name="connsiteY4" fmla="*/ 182164 h 11079472"/>
              <a:gd name="connsiteX5" fmla="*/ 1092961 w 1092961"/>
              <a:gd name="connsiteY5" fmla="*/ 10897308 h 11079472"/>
              <a:gd name="connsiteX6" fmla="*/ 910797 w 1092961"/>
              <a:gd name="connsiteY6" fmla="*/ 11079472 h 11079472"/>
              <a:gd name="connsiteX7" fmla="*/ 182164 w 1092961"/>
              <a:gd name="connsiteY7" fmla="*/ 11079472 h 11079472"/>
              <a:gd name="connsiteX0" fmla="*/ 182164 w 1092961"/>
              <a:gd name="connsiteY0" fmla="*/ 11079472 h 11079472"/>
              <a:gd name="connsiteX1" fmla="*/ 0 w 1092961"/>
              <a:gd name="connsiteY1" fmla="*/ 182164 h 11079472"/>
              <a:gd name="connsiteX2" fmla="*/ 182164 w 1092961"/>
              <a:gd name="connsiteY2" fmla="*/ 0 h 11079472"/>
              <a:gd name="connsiteX3" fmla="*/ 910797 w 1092961"/>
              <a:gd name="connsiteY3" fmla="*/ 0 h 11079472"/>
              <a:gd name="connsiteX4" fmla="*/ 1092961 w 1092961"/>
              <a:gd name="connsiteY4" fmla="*/ 182164 h 11079472"/>
              <a:gd name="connsiteX5" fmla="*/ 1092961 w 1092961"/>
              <a:gd name="connsiteY5" fmla="*/ 10897308 h 11079472"/>
              <a:gd name="connsiteX6" fmla="*/ 910797 w 1092961"/>
              <a:gd name="connsiteY6" fmla="*/ 11079472 h 11079472"/>
              <a:gd name="connsiteX0" fmla="*/ 0 w 1092961"/>
              <a:gd name="connsiteY0" fmla="*/ 182164 h 11079472"/>
              <a:gd name="connsiteX1" fmla="*/ 182164 w 1092961"/>
              <a:gd name="connsiteY1" fmla="*/ 0 h 11079472"/>
              <a:gd name="connsiteX2" fmla="*/ 910797 w 1092961"/>
              <a:gd name="connsiteY2" fmla="*/ 0 h 11079472"/>
              <a:gd name="connsiteX3" fmla="*/ 1092961 w 1092961"/>
              <a:gd name="connsiteY3" fmla="*/ 182164 h 11079472"/>
              <a:gd name="connsiteX4" fmla="*/ 1092961 w 1092961"/>
              <a:gd name="connsiteY4" fmla="*/ 10897308 h 11079472"/>
              <a:gd name="connsiteX5" fmla="*/ 910797 w 1092961"/>
              <a:gd name="connsiteY5" fmla="*/ 11079472 h 11079472"/>
              <a:gd name="connsiteX6" fmla="*/ 182164 w 1092961"/>
              <a:gd name="connsiteY6" fmla="*/ 11079472 h 11079472"/>
              <a:gd name="connsiteX0" fmla="*/ 182164 w 1092961"/>
              <a:gd name="connsiteY0" fmla="*/ 11079472 h 11079472"/>
              <a:gd name="connsiteX1" fmla="*/ 0 w 1092961"/>
              <a:gd name="connsiteY1" fmla="*/ 182164 h 11079472"/>
              <a:gd name="connsiteX2" fmla="*/ 182164 w 1092961"/>
              <a:gd name="connsiteY2" fmla="*/ 0 h 11079472"/>
              <a:gd name="connsiteX3" fmla="*/ 910797 w 1092961"/>
              <a:gd name="connsiteY3" fmla="*/ 0 h 11079472"/>
              <a:gd name="connsiteX4" fmla="*/ 1092961 w 1092961"/>
              <a:gd name="connsiteY4" fmla="*/ 182164 h 11079472"/>
              <a:gd name="connsiteX5" fmla="*/ 1092961 w 1092961"/>
              <a:gd name="connsiteY5" fmla="*/ 10897308 h 11079472"/>
              <a:gd name="connsiteX6" fmla="*/ 910797 w 1092961"/>
              <a:gd name="connsiteY6" fmla="*/ 11079472 h 11079472"/>
              <a:gd name="connsiteX0" fmla="*/ 0 w 1092961"/>
              <a:gd name="connsiteY0" fmla="*/ 182164 h 11079472"/>
              <a:gd name="connsiteX1" fmla="*/ 182164 w 1092961"/>
              <a:gd name="connsiteY1" fmla="*/ 0 h 11079472"/>
              <a:gd name="connsiteX2" fmla="*/ 910797 w 1092961"/>
              <a:gd name="connsiteY2" fmla="*/ 0 h 11079472"/>
              <a:gd name="connsiteX3" fmla="*/ 1092961 w 1092961"/>
              <a:gd name="connsiteY3" fmla="*/ 182164 h 11079472"/>
              <a:gd name="connsiteX4" fmla="*/ 1092961 w 1092961"/>
              <a:gd name="connsiteY4" fmla="*/ 10897308 h 11079472"/>
              <a:gd name="connsiteX5" fmla="*/ 910797 w 1092961"/>
              <a:gd name="connsiteY5" fmla="*/ 11079472 h 11079472"/>
              <a:gd name="connsiteX6" fmla="*/ 182164 w 1092961"/>
              <a:gd name="connsiteY6" fmla="*/ 11079472 h 11079472"/>
              <a:gd name="connsiteX0" fmla="*/ 182164 w 1092961"/>
              <a:gd name="connsiteY0" fmla="*/ 11079472 h 11079472"/>
              <a:gd name="connsiteX1" fmla="*/ 182164 w 1092961"/>
              <a:gd name="connsiteY1" fmla="*/ 0 h 11079472"/>
              <a:gd name="connsiteX2" fmla="*/ 910797 w 1092961"/>
              <a:gd name="connsiteY2" fmla="*/ 0 h 11079472"/>
              <a:gd name="connsiteX3" fmla="*/ 1092961 w 1092961"/>
              <a:gd name="connsiteY3" fmla="*/ 182164 h 11079472"/>
              <a:gd name="connsiteX4" fmla="*/ 1092961 w 1092961"/>
              <a:gd name="connsiteY4" fmla="*/ 10897308 h 11079472"/>
              <a:gd name="connsiteX5" fmla="*/ 910797 w 1092961"/>
              <a:gd name="connsiteY5" fmla="*/ 11079472 h 11079472"/>
              <a:gd name="connsiteX0" fmla="*/ 0 w 1092961"/>
              <a:gd name="connsiteY0" fmla="*/ 182164 h 11079472"/>
              <a:gd name="connsiteX1" fmla="*/ 182164 w 1092961"/>
              <a:gd name="connsiteY1" fmla="*/ 0 h 11079472"/>
              <a:gd name="connsiteX2" fmla="*/ 910797 w 1092961"/>
              <a:gd name="connsiteY2" fmla="*/ 0 h 11079472"/>
              <a:gd name="connsiteX3" fmla="*/ 1092961 w 1092961"/>
              <a:gd name="connsiteY3" fmla="*/ 182164 h 11079472"/>
              <a:gd name="connsiteX4" fmla="*/ 1092961 w 1092961"/>
              <a:gd name="connsiteY4" fmla="*/ 10897308 h 11079472"/>
              <a:gd name="connsiteX5" fmla="*/ 910797 w 1092961"/>
              <a:gd name="connsiteY5" fmla="*/ 11079472 h 11079472"/>
              <a:gd name="connsiteX6" fmla="*/ 182164 w 1092961"/>
              <a:gd name="connsiteY6" fmla="*/ 11079472 h 11079472"/>
              <a:gd name="connsiteX0" fmla="*/ 910797 w 1092961"/>
              <a:gd name="connsiteY0" fmla="*/ 0 h 11079472"/>
              <a:gd name="connsiteX1" fmla="*/ 1092961 w 1092961"/>
              <a:gd name="connsiteY1" fmla="*/ 182164 h 11079472"/>
              <a:gd name="connsiteX2" fmla="*/ 1092961 w 1092961"/>
              <a:gd name="connsiteY2" fmla="*/ 10897308 h 11079472"/>
              <a:gd name="connsiteX3" fmla="*/ 910797 w 1092961"/>
              <a:gd name="connsiteY3" fmla="*/ 11079472 h 11079472"/>
              <a:gd name="connsiteX0" fmla="*/ 0 w 910797"/>
              <a:gd name="connsiteY0" fmla="*/ 0 h 11079472"/>
              <a:gd name="connsiteX1" fmla="*/ 728633 w 910797"/>
              <a:gd name="connsiteY1" fmla="*/ 0 h 11079472"/>
              <a:gd name="connsiteX2" fmla="*/ 910797 w 910797"/>
              <a:gd name="connsiteY2" fmla="*/ 182164 h 11079472"/>
              <a:gd name="connsiteX3" fmla="*/ 910797 w 910797"/>
              <a:gd name="connsiteY3" fmla="*/ 10897308 h 11079472"/>
              <a:gd name="connsiteX4" fmla="*/ 728633 w 910797"/>
              <a:gd name="connsiteY4" fmla="*/ 11079472 h 11079472"/>
              <a:gd name="connsiteX5" fmla="*/ 0 w 910797"/>
              <a:gd name="connsiteY5" fmla="*/ 11079472 h 11079472"/>
              <a:gd name="connsiteX0" fmla="*/ 728633 w 910797"/>
              <a:gd name="connsiteY0" fmla="*/ 0 h 11079472"/>
              <a:gd name="connsiteX1" fmla="*/ 910797 w 910797"/>
              <a:gd name="connsiteY1" fmla="*/ 182164 h 11079472"/>
              <a:gd name="connsiteX2" fmla="*/ 910797 w 910797"/>
              <a:gd name="connsiteY2" fmla="*/ 10897308 h 11079472"/>
              <a:gd name="connsiteX3" fmla="*/ 728633 w 910797"/>
              <a:gd name="connsiteY3" fmla="*/ 11079472 h 11079472"/>
            </a:gdLst>
            <a:ahLst/>
            <a:cxnLst>
              <a:cxn ang="0">
                <a:pos x="connsiteX0" y="connsiteY0"/>
              </a:cxn>
              <a:cxn ang="0">
                <a:pos x="connsiteX1" y="connsiteY1"/>
              </a:cxn>
              <a:cxn ang="0">
                <a:pos x="connsiteX2" y="connsiteY2"/>
              </a:cxn>
              <a:cxn ang="0">
                <a:pos x="connsiteX3" y="connsiteY3"/>
              </a:cxn>
            </a:cxnLst>
            <a:rect l="l" t="t" r="r" b="b"/>
            <a:pathLst>
              <a:path w="910797" h="11079472" stroke="0" extrusionOk="0">
                <a:moveTo>
                  <a:pt x="0" y="0"/>
                </a:moveTo>
                <a:lnTo>
                  <a:pt x="728633" y="0"/>
                </a:lnTo>
                <a:cubicBezTo>
                  <a:pt x="829239" y="0"/>
                  <a:pt x="910797" y="81558"/>
                  <a:pt x="910797" y="182164"/>
                </a:cubicBezTo>
                <a:lnTo>
                  <a:pt x="910797" y="10897308"/>
                </a:lnTo>
                <a:cubicBezTo>
                  <a:pt x="910797" y="10997914"/>
                  <a:pt x="829239" y="11079472"/>
                  <a:pt x="728633" y="11079472"/>
                </a:cubicBezTo>
                <a:lnTo>
                  <a:pt x="0" y="11079472"/>
                </a:lnTo>
              </a:path>
              <a:path w="910797" h="11079472" fill="none">
                <a:moveTo>
                  <a:pt x="728633" y="0"/>
                </a:moveTo>
                <a:cubicBezTo>
                  <a:pt x="829239" y="0"/>
                  <a:pt x="910797" y="81558"/>
                  <a:pt x="910797" y="182164"/>
                </a:cubicBezTo>
                <a:lnTo>
                  <a:pt x="910797" y="10897308"/>
                </a:lnTo>
                <a:cubicBezTo>
                  <a:pt x="910797" y="10997914"/>
                  <a:pt x="829239" y="11079472"/>
                  <a:pt x="728633" y="11079472"/>
                </a:cubicBezTo>
              </a:path>
            </a:pathLst>
          </a:custGeom>
          <a:ln w="1270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861"/>
              </a:solidFill>
              <a:effectLst/>
              <a:uLnTx/>
              <a:uFillTx/>
              <a:latin typeface="+mj-lt"/>
              <a:ea typeface="+mn-ea"/>
              <a:cs typeface="+mn-cs"/>
            </a:endParaRPr>
          </a:p>
        </p:txBody>
      </p:sp>
      <p:sp>
        <p:nvSpPr>
          <p:cNvPr id="10" name="vdp-box">
            <a:extLst>
              <a:ext uri="{FF2B5EF4-FFF2-40B4-BE49-F238E27FC236}">
                <a16:creationId xmlns:a16="http://schemas.microsoft.com/office/drawing/2014/main" id="{D01D9EBC-7708-6615-71E8-DCB2542384F8}"/>
              </a:ext>
            </a:extLst>
          </p:cNvPr>
          <p:cNvSpPr/>
          <p:nvPr/>
        </p:nvSpPr>
        <p:spPr>
          <a:xfrm>
            <a:off x="555468" y="1717891"/>
            <a:ext cx="8877025" cy="2298394"/>
          </a:xfrm>
          <a:prstGeom prst="roundRect">
            <a:avLst>
              <a:gd name="adj" fmla="val 4133"/>
            </a:avLst>
          </a:prstGeom>
          <a:noFill/>
          <a:ln w="12700">
            <a:solidFill>
              <a:schemeClr val="tx1">
                <a:lumMod val="40000"/>
                <a:lumOff val="60000"/>
              </a:schemeClr>
            </a:solidFill>
            <a:headEnd type="none" w="med" len="med"/>
            <a:tailEnd type="none" w="med" len="med"/>
          </a:ln>
          <a:effectLst>
            <a:outerShdw blurRad="381000" algn="ctr" rotWithShape="0">
              <a:schemeClr val="accent1">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960" tIns="0" rIns="822960" bIns="0" numCol="1" spcCol="0" rtlCol="0" fromWordArt="0" anchor="ctr" anchorCtr="0" forceAA="0" compatLnSpc="1">
            <a:prstTxWarp prst="textNoShape">
              <a:avLst/>
            </a:prstTxWarp>
            <a:noAutofit/>
          </a:bodyPr>
          <a:lstStyle/>
          <a:p>
            <a:pPr algn="ctr">
              <a:lnSpc>
                <a:spcPct val="96000"/>
              </a:lnSpc>
            </a:pPr>
            <a:endParaRPr lang="en-US" sz="2800">
              <a:solidFill>
                <a:srgbClr val="505861"/>
              </a:solidFill>
              <a:cs typeface="Microsoft Sans Serif" panose="020B0604020202020204" pitchFamily="34" charset="0"/>
            </a:endParaRPr>
          </a:p>
        </p:txBody>
      </p:sp>
      <p:grpSp>
        <p:nvGrpSpPr>
          <p:cNvPr id="75" name="vdc">
            <a:extLst>
              <a:ext uri="{FF2B5EF4-FFF2-40B4-BE49-F238E27FC236}">
                <a16:creationId xmlns:a16="http://schemas.microsoft.com/office/drawing/2014/main" id="{F59E7CB9-3720-E02D-BB09-4232FDE55E30}"/>
              </a:ext>
            </a:extLst>
          </p:cNvPr>
          <p:cNvGrpSpPr/>
          <p:nvPr/>
        </p:nvGrpSpPr>
        <p:grpSpPr>
          <a:xfrm>
            <a:off x="9853056" y="1776659"/>
            <a:ext cx="1781885" cy="2239626"/>
            <a:chOff x="9791300" y="1845681"/>
            <a:chExt cx="1781885" cy="2239626"/>
          </a:xfrm>
        </p:grpSpPr>
        <p:sp>
          <p:nvSpPr>
            <p:cNvPr id="9" name="cloud-box">
              <a:extLst>
                <a:ext uri="{FF2B5EF4-FFF2-40B4-BE49-F238E27FC236}">
                  <a16:creationId xmlns:a16="http://schemas.microsoft.com/office/drawing/2014/main" id="{7DAF3CF8-7159-8E27-A841-78111DF6445F}"/>
                </a:ext>
              </a:extLst>
            </p:cNvPr>
            <p:cNvSpPr/>
            <p:nvPr/>
          </p:nvSpPr>
          <p:spPr>
            <a:xfrm>
              <a:off x="9791300" y="1845681"/>
              <a:ext cx="1781885" cy="2239626"/>
            </a:xfrm>
            <a:prstGeom prst="roundRect">
              <a:avLst>
                <a:gd name="adj" fmla="val 5263"/>
              </a:avLst>
            </a:prstGeom>
            <a:solidFill>
              <a:schemeClr val="bg1"/>
            </a:solidFill>
            <a:ln w="3175">
              <a:solidFill>
                <a:schemeClr val="bg1"/>
              </a:solidFill>
              <a:headEnd type="none" w="med" len="med"/>
              <a:tailEnd type="none" w="med" len="med"/>
            </a:ln>
            <a:effectLst>
              <a:outerShdw blurRad="381000" algn="ctr" rotWithShape="0">
                <a:schemeClr val="accent1">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960" tIns="0" rIns="822960" bIns="0" numCol="1" spcCol="0" rtlCol="0" fromWordArt="0" anchor="ctr" anchorCtr="0" forceAA="0" compatLnSpc="1">
              <a:prstTxWarp prst="textNoShape">
                <a:avLst/>
              </a:prstTxWarp>
              <a:noAutofit/>
            </a:bodyPr>
            <a:lstStyle/>
            <a:p>
              <a:pPr algn="ctr">
                <a:lnSpc>
                  <a:spcPct val="96000"/>
                </a:lnSpc>
              </a:pPr>
              <a:endParaRPr lang="en-US" sz="2800">
                <a:solidFill>
                  <a:srgbClr val="505861"/>
                </a:solidFill>
                <a:cs typeface="Microsoft Sans Serif" panose="020B0604020202020204" pitchFamily="34" charset="0"/>
              </a:endParaRPr>
            </a:p>
          </p:txBody>
        </p:sp>
        <p:pic>
          <p:nvPicPr>
            <p:cNvPr id="23" name="icon-vault">
              <a:extLst>
                <a:ext uri="{FF2B5EF4-FFF2-40B4-BE49-F238E27FC236}">
                  <a16:creationId xmlns:a16="http://schemas.microsoft.com/office/drawing/2014/main" id="{56C95717-370B-3628-B99B-02B52BAA0694}"/>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430448" y="2243150"/>
              <a:ext cx="491335" cy="491335"/>
            </a:xfrm>
            <a:prstGeom prst="rect">
              <a:avLst/>
            </a:prstGeom>
          </p:spPr>
        </p:pic>
        <p:sp>
          <p:nvSpPr>
            <p:cNvPr id="24" name="data-mgt">
              <a:extLst>
                <a:ext uri="{FF2B5EF4-FFF2-40B4-BE49-F238E27FC236}">
                  <a16:creationId xmlns:a16="http://schemas.microsoft.com/office/drawing/2014/main" id="{289778F8-BF81-B1BB-C929-3814E716BBD9}"/>
                </a:ext>
              </a:extLst>
            </p:cNvPr>
            <p:cNvSpPr txBox="1"/>
            <p:nvPr/>
          </p:nvSpPr>
          <p:spPr>
            <a:xfrm>
              <a:off x="9791300" y="3391594"/>
              <a:ext cx="1781885" cy="448713"/>
            </a:xfrm>
            <a:prstGeom prst="rect">
              <a:avLst/>
            </a:prstGeom>
            <a:noFill/>
          </p:spPr>
          <p:txBody>
            <a:bodyPr wrap="square">
              <a:spAutoFit/>
            </a:bodyP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ES Build" pitchFamily="50" charset="0"/>
                  <a:ea typeface="+mn-ea"/>
                  <a:cs typeface="Microsoft Sans Serif" panose="020B0604020202020204" pitchFamily="34" charset="0"/>
                </a:rPr>
                <a:t>Secure cloud data </a:t>
              </a:r>
              <a:br>
                <a:rPr kumimoji="0" lang="en-US" sz="1200" b="0" i="0" u="none" strike="noStrike" kern="1200" cap="none" spc="0" normalizeH="0" baseline="0" noProof="0">
                  <a:ln>
                    <a:noFill/>
                  </a:ln>
                  <a:effectLst/>
                  <a:uLnTx/>
                  <a:uFillTx/>
                  <a:latin typeface="ES Build" pitchFamily="50" charset="0"/>
                  <a:ea typeface="+mn-ea"/>
                  <a:cs typeface="Microsoft Sans Serif" panose="020B0604020202020204" pitchFamily="34" charset="0"/>
                </a:rPr>
              </a:br>
              <a:r>
                <a:rPr kumimoji="0" lang="en-US" sz="1200" b="0" i="0" u="none" strike="noStrike" kern="1200" cap="none" spc="0" normalizeH="0" baseline="0" noProof="0">
                  <a:ln>
                    <a:noFill/>
                  </a:ln>
                  <a:effectLst/>
                  <a:uLnTx/>
                  <a:uFillTx/>
                  <a:latin typeface="ES Build" pitchFamily="50" charset="0"/>
                  <a:ea typeface="+mn-ea"/>
                  <a:cs typeface="Microsoft Sans Serif" panose="020B0604020202020204" pitchFamily="34" charset="0"/>
                </a:rPr>
                <a:t>management</a:t>
              </a:r>
            </a:p>
          </p:txBody>
        </p:sp>
        <p:sp>
          <p:nvSpPr>
            <p:cNvPr id="44" name="vault-title">
              <a:extLst>
                <a:ext uri="{FF2B5EF4-FFF2-40B4-BE49-F238E27FC236}">
                  <a16:creationId xmlns:a16="http://schemas.microsoft.com/office/drawing/2014/main" id="{B65C43D0-6820-B3EE-0E1D-A431433D52FC}"/>
                </a:ext>
              </a:extLst>
            </p:cNvPr>
            <p:cNvSpPr txBox="1"/>
            <p:nvPr/>
          </p:nvSpPr>
          <p:spPr>
            <a:xfrm>
              <a:off x="9829428" y="2800838"/>
              <a:ext cx="1705628" cy="331116"/>
            </a:xfrm>
            <a:prstGeom prst="rect">
              <a:avLst/>
            </a:prstGeom>
            <a:noFill/>
          </p:spPr>
          <p:txBody>
            <a:bodyPr wrap="square">
              <a:spAutoFit/>
            </a:bodyP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a:ln>
                    <a:noFill/>
                  </a:ln>
                  <a:effectLst/>
                  <a:uLnTx/>
                  <a:uFillTx/>
                  <a:latin typeface="ES Build" pitchFamily="50" charset="0"/>
                  <a:ea typeface="+mn-ea"/>
                  <a:cs typeface="Microsoft Sans Serif" panose="020B0604020202020204" pitchFamily="34" charset="0"/>
                </a:rPr>
                <a:t>Cloud Vault </a:t>
              </a:r>
            </a:p>
          </p:txBody>
        </p:sp>
      </p:grpSp>
      <p:sp>
        <p:nvSpPr>
          <p:cNvPr id="26" name="zero">
            <a:extLst>
              <a:ext uri="{FF2B5EF4-FFF2-40B4-BE49-F238E27FC236}">
                <a16:creationId xmlns:a16="http://schemas.microsoft.com/office/drawing/2014/main" id="{32AB43AD-3191-FDE3-1115-99F2439E0FC9}"/>
              </a:ext>
            </a:extLst>
          </p:cNvPr>
          <p:cNvSpPr txBox="1"/>
          <p:nvPr/>
        </p:nvSpPr>
        <p:spPr>
          <a:xfrm>
            <a:off x="4312357" y="5643344"/>
            <a:ext cx="3496930" cy="309844"/>
          </a:xfrm>
          <a:prstGeom prst="roundRect">
            <a:avLst>
              <a:gd name="adj" fmla="val 10519"/>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a:lnSpc>
                <a:spcPct val="96000"/>
              </a:lnSpc>
              <a:defRPr sz="1000">
                <a:solidFill>
                  <a:schemeClr val="bg1"/>
                </a:solidFill>
                <a:cs typeface="Microsoft Sans Serif"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200">
                <a:solidFill>
                  <a:schemeClr val="tx1"/>
                </a:solidFill>
              </a:rPr>
              <a:t>Secure by design with Zero Trust Architecture </a:t>
            </a:r>
          </a:p>
        </p:txBody>
      </p:sp>
      <p:sp>
        <p:nvSpPr>
          <p:cNvPr id="80" name="donut">
            <a:extLst>
              <a:ext uri="{FF2B5EF4-FFF2-40B4-BE49-F238E27FC236}">
                <a16:creationId xmlns:a16="http://schemas.microsoft.com/office/drawing/2014/main" id="{B9458FCA-7B1F-F197-B183-5D8834FA15C8}"/>
              </a:ext>
            </a:extLst>
          </p:cNvPr>
          <p:cNvSpPr/>
          <p:nvPr/>
        </p:nvSpPr>
        <p:spPr>
          <a:xfrm>
            <a:off x="-16131917" y="2494590"/>
            <a:ext cx="17045209" cy="16993794"/>
          </a:xfrm>
          <a:prstGeom prst="donut">
            <a:avLst>
              <a:gd name="adj" fmla="val 2748"/>
            </a:avLst>
          </a:prstGeom>
          <a:solidFill>
            <a:schemeClr val="tx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6600" b="0" i="0" u="none" strike="noStrike" kern="1200" cap="none" spc="0" normalizeH="0" baseline="0" noProof="0">
                <a:ln>
                  <a:noFill/>
                </a:ln>
                <a:solidFill>
                  <a:schemeClr val="tx1">
                    <a:alpha val="0"/>
                  </a:schemeClr>
                </a:solidFill>
                <a:effectLst/>
                <a:uLnTx/>
                <a:uFillTx/>
                <a:latin typeface="ES Build" pitchFamily="50" charset="0"/>
                <a:ea typeface="+mn-ea"/>
                <a:cs typeface="Microsoft Sans Serif" panose="020B0604020202020204" pitchFamily="34" charset="0"/>
              </a:rPr>
              <a:t>DATA</a:t>
            </a:r>
          </a:p>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6600" b="0" i="0" u="none" strike="noStrike" kern="1200" cap="none" spc="0" normalizeH="0" baseline="0" noProof="0">
                <a:ln>
                  <a:noFill/>
                </a:ln>
                <a:solidFill>
                  <a:schemeClr val="tx1">
                    <a:alpha val="0"/>
                  </a:schemeClr>
                </a:solidFill>
                <a:effectLst/>
                <a:uLnTx/>
                <a:uFillTx/>
                <a:latin typeface="ES Build" pitchFamily="50" charset="0"/>
                <a:ea typeface="+mn-ea"/>
                <a:cs typeface="Microsoft Sans Serif" panose="020B0604020202020204" pitchFamily="34" charset="0"/>
              </a:rPr>
              <a:t>RESILIENCE</a:t>
            </a:r>
          </a:p>
        </p:txBody>
      </p:sp>
      <p:sp>
        <p:nvSpPr>
          <p:cNvPr id="2" name="Rounded Rectangle 13">
            <a:extLst>
              <a:ext uri="{FF2B5EF4-FFF2-40B4-BE49-F238E27FC236}">
                <a16:creationId xmlns:a16="http://schemas.microsoft.com/office/drawing/2014/main" id="{C00C82C9-632B-14D6-94E7-0C5E7E0FD384}"/>
              </a:ext>
            </a:extLst>
          </p:cNvPr>
          <p:cNvSpPr/>
          <p:nvPr/>
        </p:nvSpPr>
        <p:spPr>
          <a:xfrm>
            <a:off x="4981833" y="2245581"/>
            <a:ext cx="2088830" cy="76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77240" tIns="0" rIns="457200" bIns="0" rtlCol="0" anchor="ctr">
            <a:noAutofit/>
          </a:bodyPr>
          <a:lstStyle/>
          <a:p>
            <a:pPr marL="0" marR="0" lvl="0" indent="0" defTabSz="914400" rtl="0" eaLnBrk="1" fontAlgn="auto" latinLnBrk="0" hangingPunct="1">
              <a:lnSpc>
                <a:spcPct val="89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ES Build" pitchFamily="50" charset="0"/>
                <a:ea typeface="+mn-ea"/>
                <a:cs typeface="Microsoft Sans Serif" panose="020B0604020202020204" pitchFamily="34" charset="0"/>
              </a:rPr>
              <a:t>Data Freedom</a:t>
            </a:r>
          </a:p>
        </p:txBody>
      </p:sp>
      <p:sp>
        <p:nvSpPr>
          <p:cNvPr id="3" name="Rounded Rectangle 13">
            <a:extLst>
              <a:ext uri="{FF2B5EF4-FFF2-40B4-BE49-F238E27FC236}">
                <a16:creationId xmlns:a16="http://schemas.microsoft.com/office/drawing/2014/main" id="{23AB0C43-806E-F36D-E901-F3CA73DB3ACB}"/>
              </a:ext>
            </a:extLst>
          </p:cNvPr>
          <p:cNvSpPr/>
          <p:nvPr/>
        </p:nvSpPr>
        <p:spPr>
          <a:xfrm>
            <a:off x="2904505" y="2245581"/>
            <a:ext cx="2088830" cy="765275"/>
          </a:xfrm>
          <a:prstGeom prst="rect">
            <a:avLst/>
          </a:prstGeom>
          <a:solidFill>
            <a:srgbClr val="8E71F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77240" tIns="0" rIns="457200" bIns="0" rtlCol="0" anchor="ctr">
            <a:noAutofit/>
          </a:bodyPr>
          <a:lstStyle/>
          <a:p>
            <a:pPr marL="0" marR="0" lvl="0" indent="0" defTabSz="914400" rtl="0" eaLnBrk="1" fontAlgn="auto" latinLnBrk="0" hangingPunct="1">
              <a:lnSpc>
                <a:spcPct val="89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ES Build" pitchFamily="50" charset="0"/>
                <a:ea typeface="+mn-ea"/>
                <a:cs typeface="Microsoft Sans Serif" panose="020B0604020202020204" pitchFamily="34" charset="0"/>
              </a:rPr>
              <a:t>Data Recovery</a:t>
            </a:r>
          </a:p>
        </p:txBody>
      </p:sp>
      <p:sp>
        <p:nvSpPr>
          <p:cNvPr id="31" name="Rounded Rectangle 13">
            <a:extLst>
              <a:ext uri="{FF2B5EF4-FFF2-40B4-BE49-F238E27FC236}">
                <a16:creationId xmlns:a16="http://schemas.microsoft.com/office/drawing/2014/main" id="{A362C2E7-6AAC-B292-C1D3-14223AFE7044}"/>
              </a:ext>
            </a:extLst>
          </p:cNvPr>
          <p:cNvSpPr/>
          <p:nvPr/>
        </p:nvSpPr>
        <p:spPr>
          <a:xfrm>
            <a:off x="7030130" y="2245581"/>
            <a:ext cx="2088830" cy="7652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77240" tIns="0" rIns="457200" bIns="0" rtlCol="0" anchor="ctr">
            <a:noAutofit/>
          </a:bodyPr>
          <a:lstStyle/>
          <a:p>
            <a:pPr marL="0" marR="0" lvl="0" indent="0" defTabSz="914400" rtl="0" eaLnBrk="1" fontAlgn="auto" latinLnBrk="0" hangingPunct="1">
              <a:lnSpc>
                <a:spcPct val="89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ES Build" pitchFamily="50" charset="0"/>
                <a:ea typeface="+mn-ea"/>
                <a:cs typeface="Microsoft Sans Serif" panose="020B0604020202020204" pitchFamily="34" charset="0"/>
              </a:rPr>
              <a:t>Data Security</a:t>
            </a:r>
          </a:p>
        </p:txBody>
      </p:sp>
      <p:sp>
        <p:nvSpPr>
          <p:cNvPr id="33" name="bkup-text">
            <a:extLst>
              <a:ext uri="{FF2B5EF4-FFF2-40B4-BE49-F238E27FC236}">
                <a16:creationId xmlns:a16="http://schemas.microsoft.com/office/drawing/2014/main" id="{9B811DE2-19CF-B665-7E5D-E63126EC5B9F}"/>
              </a:ext>
            </a:extLst>
          </p:cNvPr>
          <p:cNvSpPr/>
          <p:nvPr/>
        </p:nvSpPr>
        <p:spPr>
          <a:xfrm>
            <a:off x="830806" y="2250693"/>
            <a:ext cx="2088830" cy="76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77240" tIns="0" rIns="457200" bIns="0" rtlCol="0" anchor="ctr">
            <a:noAutofit/>
          </a:bodyPr>
          <a:lstStyle/>
          <a:p>
            <a:pPr marL="0" marR="0" lvl="0" indent="0" defTabSz="914400" rtl="0" eaLnBrk="1" fontAlgn="auto" latinLnBrk="0" hangingPunct="1">
              <a:lnSpc>
                <a:spcPct val="89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ES Build" pitchFamily="50" charset="0"/>
                <a:ea typeface="+mn-ea"/>
                <a:cs typeface="Microsoft Sans Serif" panose="020B0604020202020204" pitchFamily="34" charset="0"/>
              </a:rPr>
              <a:t>Data Backup</a:t>
            </a:r>
          </a:p>
        </p:txBody>
      </p:sp>
      <p:sp>
        <p:nvSpPr>
          <p:cNvPr id="35" name="Rounded Rectangle 13">
            <a:extLst>
              <a:ext uri="{FF2B5EF4-FFF2-40B4-BE49-F238E27FC236}">
                <a16:creationId xmlns:a16="http://schemas.microsoft.com/office/drawing/2014/main" id="{006C6A6D-4277-D16F-419B-1BB2112C9150}"/>
              </a:ext>
            </a:extLst>
          </p:cNvPr>
          <p:cNvSpPr/>
          <p:nvPr/>
        </p:nvSpPr>
        <p:spPr>
          <a:xfrm>
            <a:off x="830803" y="2911245"/>
            <a:ext cx="8298754" cy="62107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4320" tIns="0" rIns="274320" bIns="0" rtlCol="0" anchor="ctr">
            <a:noAutofit/>
          </a:bodyP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ES Build" pitchFamily="50" charset="0"/>
                <a:ea typeface="+mn-ea"/>
                <a:cs typeface="Microsoft Sans Serif" panose="020B0604020202020204" pitchFamily="34" charset="0"/>
              </a:rPr>
              <a:t>Data Intelligence</a:t>
            </a:r>
          </a:p>
        </p:txBody>
      </p:sp>
      <p:pic>
        <p:nvPicPr>
          <p:cNvPr id="37" name="Graphic 36">
            <a:extLst>
              <a:ext uri="{FF2B5EF4-FFF2-40B4-BE49-F238E27FC236}">
                <a16:creationId xmlns:a16="http://schemas.microsoft.com/office/drawing/2014/main" id="{C624DDFC-5E40-2791-6474-C181572BEAD2}"/>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120754" y="2393567"/>
            <a:ext cx="514790" cy="411834"/>
          </a:xfrm>
          <a:prstGeom prst="rect">
            <a:avLst/>
          </a:prstGeom>
        </p:spPr>
      </p:pic>
      <p:pic>
        <p:nvPicPr>
          <p:cNvPr id="39" name="Graphic 38">
            <a:extLst>
              <a:ext uri="{FF2B5EF4-FFF2-40B4-BE49-F238E27FC236}">
                <a16:creationId xmlns:a16="http://schemas.microsoft.com/office/drawing/2014/main" id="{49BD990A-5961-1B1A-7430-2EEB019E873E}"/>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147008" y="2414842"/>
            <a:ext cx="365760" cy="365760"/>
          </a:xfrm>
          <a:prstGeom prst="rect">
            <a:avLst/>
          </a:prstGeom>
        </p:spPr>
      </p:pic>
      <p:pic>
        <p:nvPicPr>
          <p:cNvPr id="41" name="Graphic 40">
            <a:extLst>
              <a:ext uri="{FF2B5EF4-FFF2-40B4-BE49-F238E27FC236}">
                <a16:creationId xmlns:a16="http://schemas.microsoft.com/office/drawing/2014/main" id="{105E6A3F-A0EA-2C0D-7DCF-BF546D44ABA4}"/>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7179623" y="2350002"/>
            <a:ext cx="489508" cy="489508"/>
          </a:xfrm>
          <a:prstGeom prst="rect">
            <a:avLst/>
          </a:prstGeom>
        </p:spPr>
      </p:pic>
      <p:grpSp>
        <p:nvGrpSpPr>
          <p:cNvPr id="12" name="Group 11">
            <a:extLst>
              <a:ext uri="{FF2B5EF4-FFF2-40B4-BE49-F238E27FC236}">
                <a16:creationId xmlns:a16="http://schemas.microsoft.com/office/drawing/2014/main" id="{26F7459E-61BF-B6FA-496C-D8078B73E022}"/>
              </a:ext>
            </a:extLst>
          </p:cNvPr>
          <p:cNvGrpSpPr/>
          <p:nvPr/>
        </p:nvGrpSpPr>
        <p:grpSpPr>
          <a:xfrm>
            <a:off x="1033667" y="2414842"/>
            <a:ext cx="364158" cy="365760"/>
            <a:chOff x="971911" y="2521964"/>
            <a:chExt cx="364158" cy="365760"/>
          </a:xfrm>
        </p:grpSpPr>
        <p:sp>
          <p:nvSpPr>
            <p:cNvPr id="53" name="Freeform 52">
              <a:extLst>
                <a:ext uri="{FF2B5EF4-FFF2-40B4-BE49-F238E27FC236}">
                  <a16:creationId xmlns:a16="http://schemas.microsoft.com/office/drawing/2014/main" id="{003A83D1-6D7B-3D93-1B40-D60AACBC5B74}"/>
                </a:ext>
              </a:extLst>
            </p:cNvPr>
            <p:cNvSpPr/>
            <p:nvPr/>
          </p:nvSpPr>
          <p:spPr>
            <a:xfrm>
              <a:off x="1052823" y="2684377"/>
              <a:ext cx="84520" cy="40595"/>
            </a:xfrm>
            <a:custGeom>
              <a:avLst/>
              <a:gdLst>
                <a:gd name="connsiteX0" fmla="*/ 63427 w 63426"/>
                <a:gd name="connsiteY0" fmla="*/ 0 h 30463"/>
                <a:gd name="connsiteX1" fmla="*/ 0 w 63426"/>
                <a:gd name="connsiteY1" fmla="*/ 0 h 30463"/>
                <a:gd name="connsiteX2" fmla="*/ 0 w 63426"/>
                <a:gd name="connsiteY2" fmla="*/ 30463 h 30463"/>
                <a:gd name="connsiteX3" fmla="*/ 63427 w 63426"/>
                <a:gd name="connsiteY3" fmla="*/ 30463 h 30463"/>
                <a:gd name="connsiteX4" fmla="*/ 63427 w 63426"/>
                <a:gd name="connsiteY4" fmla="*/ 0 h 3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426" h="30463">
                  <a:moveTo>
                    <a:pt x="63427" y="0"/>
                  </a:moveTo>
                  <a:lnTo>
                    <a:pt x="0" y="0"/>
                  </a:lnTo>
                  <a:lnTo>
                    <a:pt x="0" y="30463"/>
                  </a:lnTo>
                  <a:lnTo>
                    <a:pt x="63427" y="30463"/>
                  </a:lnTo>
                  <a:lnTo>
                    <a:pt x="63427" y="0"/>
                  </a:lnTo>
                  <a:close/>
                </a:path>
              </a:pathLst>
            </a:custGeom>
            <a:solidFill>
              <a:schemeClr val="bg1"/>
            </a:solidFill>
            <a:ln w="2514" cap="flat">
              <a:noFill/>
              <a:prstDash val="solid"/>
              <a:miter/>
            </a:ln>
          </p:spPr>
          <p:txBody>
            <a:bodyPr rtlCol="0" anchor="ctr"/>
            <a:lstStyle/>
            <a:p>
              <a:endParaRPr lang="en-US"/>
            </a:p>
          </p:txBody>
        </p:sp>
        <p:sp>
          <p:nvSpPr>
            <p:cNvPr id="54" name="Freeform 53">
              <a:extLst>
                <a:ext uri="{FF2B5EF4-FFF2-40B4-BE49-F238E27FC236}">
                  <a16:creationId xmlns:a16="http://schemas.microsoft.com/office/drawing/2014/main" id="{E4D0C70B-F573-79C9-D47B-02048FED454A}"/>
                </a:ext>
              </a:extLst>
            </p:cNvPr>
            <p:cNvSpPr/>
            <p:nvPr/>
          </p:nvSpPr>
          <p:spPr>
            <a:xfrm>
              <a:off x="1052823" y="2603153"/>
              <a:ext cx="202265" cy="40595"/>
            </a:xfrm>
            <a:custGeom>
              <a:avLst/>
              <a:gdLst>
                <a:gd name="connsiteX0" fmla="*/ 151784 w 151784"/>
                <a:gd name="connsiteY0" fmla="*/ 0 h 30463"/>
                <a:gd name="connsiteX1" fmla="*/ 0 w 151784"/>
                <a:gd name="connsiteY1" fmla="*/ 0 h 30463"/>
                <a:gd name="connsiteX2" fmla="*/ 0 w 151784"/>
                <a:gd name="connsiteY2" fmla="*/ 30463 h 30463"/>
                <a:gd name="connsiteX3" fmla="*/ 151784 w 151784"/>
                <a:gd name="connsiteY3" fmla="*/ 30463 h 30463"/>
                <a:gd name="connsiteX4" fmla="*/ 151784 w 151784"/>
                <a:gd name="connsiteY4" fmla="*/ 0 h 3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784" h="30463">
                  <a:moveTo>
                    <a:pt x="151784" y="0"/>
                  </a:moveTo>
                  <a:lnTo>
                    <a:pt x="0" y="0"/>
                  </a:lnTo>
                  <a:lnTo>
                    <a:pt x="0" y="30463"/>
                  </a:lnTo>
                  <a:lnTo>
                    <a:pt x="151784" y="30463"/>
                  </a:lnTo>
                  <a:lnTo>
                    <a:pt x="151784" y="0"/>
                  </a:lnTo>
                  <a:close/>
                </a:path>
              </a:pathLst>
            </a:custGeom>
            <a:solidFill>
              <a:schemeClr val="bg1"/>
            </a:solidFill>
            <a:ln w="2514" cap="flat">
              <a:noFill/>
              <a:prstDash val="solid"/>
              <a:miter/>
            </a:ln>
          </p:spPr>
          <p:txBody>
            <a:bodyPr rtlCol="0" anchor="ctr"/>
            <a:lstStyle/>
            <a:p>
              <a:endParaRPr lang="en-US"/>
            </a:p>
          </p:txBody>
        </p:sp>
        <p:sp>
          <p:nvSpPr>
            <p:cNvPr id="55" name="Freeform 54">
              <a:extLst>
                <a:ext uri="{FF2B5EF4-FFF2-40B4-BE49-F238E27FC236}">
                  <a16:creationId xmlns:a16="http://schemas.microsoft.com/office/drawing/2014/main" id="{3E0DB1A4-295B-5AA2-668D-B6CBD0C8421E}"/>
                </a:ext>
              </a:extLst>
            </p:cNvPr>
            <p:cNvSpPr/>
            <p:nvPr/>
          </p:nvSpPr>
          <p:spPr>
            <a:xfrm>
              <a:off x="971911" y="2521964"/>
              <a:ext cx="364158" cy="365760"/>
            </a:xfrm>
            <a:custGeom>
              <a:avLst/>
              <a:gdLst>
                <a:gd name="connsiteX0" fmla="*/ 264262 w 273272"/>
                <a:gd name="connsiteY0" fmla="*/ 42329 h 274474"/>
                <a:gd name="connsiteX1" fmla="*/ 231004 w 273272"/>
                <a:gd name="connsiteY1" fmla="*/ 8969 h 274474"/>
                <a:gd name="connsiteX2" fmla="*/ 212477 w 273272"/>
                <a:gd name="connsiteY2" fmla="*/ 152 h 274474"/>
                <a:gd name="connsiteX3" fmla="*/ 212477 w 273272"/>
                <a:gd name="connsiteY3" fmla="*/ 0 h 274474"/>
                <a:gd name="connsiteX4" fmla="*/ 0 w 273272"/>
                <a:gd name="connsiteY4" fmla="*/ 0 h 274474"/>
                <a:gd name="connsiteX5" fmla="*/ 0 w 273272"/>
                <a:gd name="connsiteY5" fmla="*/ 210245 h 274474"/>
                <a:gd name="connsiteX6" fmla="*/ 8934 w 273272"/>
                <a:gd name="connsiteY6" fmla="*/ 231918 h 274474"/>
                <a:gd name="connsiteX7" fmla="*/ 42192 w 273272"/>
                <a:gd name="connsiteY7" fmla="*/ 265278 h 274474"/>
                <a:gd name="connsiteX8" fmla="*/ 63781 w 273272"/>
                <a:gd name="connsiteY8" fmla="*/ 274246 h 274474"/>
                <a:gd name="connsiteX9" fmla="*/ 85193 w 273272"/>
                <a:gd name="connsiteY9" fmla="*/ 274246 h 274474"/>
                <a:gd name="connsiteX10" fmla="*/ 85193 w 273272"/>
                <a:gd name="connsiteY10" fmla="*/ 243631 h 274474"/>
                <a:gd name="connsiteX11" fmla="*/ 35054 w 273272"/>
                <a:gd name="connsiteY11" fmla="*/ 243631 h 274474"/>
                <a:gd name="connsiteX12" fmla="*/ 31865 w 273272"/>
                <a:gd name="connsiteY12" fmla="*/ 242284 h 274474"/>
                <a:gd name="connsiteX13" fmla="*/ 30549 w 273272"/>
                <a:gd name="connsiteY13" fmla="*/ 239083 h 274474"/>
                <a:gd name="connsiteX14" fmla="*/ 30397 w 273272"/>
                <a:gd name="connsiteY14" fmla="*/ 30463 h 274474"/>
                <a:gd name="connsiteX15" fmla="*/ 238218 w 273272"/>
                <a:gd name="connsiteY15" fmla="*/ 30641 h 274474"/>
                <a:gd name="connsiteX16" fmla="*/ 241407 w 273272"/>
                <a:gd name="connsiteY16" fmla="*/ 31962 h 274474"/>
                <a:gd name="connsiteX17" fmla="*/ 242723 w 273272"/>
                <a:gd name="connsiteY17" fmla="*/ 35164 h 274474"/>
                <a:gd name="connsiteX18" fmla="*/ 242976 w 273272"/>
                <a:gd name="connsiteY18" fmla="*/ 243910 h 274474"/>
                <a:gd name="connsiteX19" fmla="*/ 203265 w 273272"/>
                <a:gd name="connsiteY19" fmla="*/ 243910 h 274474"/>
                <a:gd name="connsiteX20" fmla="*/ 203265 w 273272"/>
                <a:gd name="connsiteY20" fmla="*/ 274399 h 274474"/>
                <a:gd name="connsiteX21" fmla="*/ 243027 w 273272"/>
                <a:gd name="connsiteY21" fmla="*/ 274399 h 274474"/>
                <a:gd name="connsiteX22" fmla="*/ 243027 w 273272"/>
                <a:gd name="connsiteY22" fmla="*/ 274475 h 274474"/>
                <a:gd name="connsiteX23" fmla="*/ 273272 w 273272"/>
                <a:gd name="connsiteY23" fmla="*/ 274475 h 274474"/>
                <a:gd name="connsiteX24" fmla="*/ 273272 w 273272"/>
                <a:gd name="connsiteY24" fmla="*/ 64001 h 274474"/>
                <a:gd name="connsiteX25" fmla="*/ 264338 w 273272"/>
                <a:gd name="connsiteY25" fmla="*/ 42329 h 274474"/>
                <a:gd name="connsiteX26" fmla="*/ 264262 w 273272"/>
                <a:gd name="connsiteY26" fmla="*/ 42329 h 2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73272" h="274474">
                  <a:moveTo>
                    <a:pt x="264262" y="42329"/>
                  </a:moveTo>
                  <a:lnTo>
                    <a:pt x="231004" y="8969"/>
                  </a:lnTo>
                  <a:cubicBezTo>
                    <a:pt x="225993" y="3938"/>
                    <a:pt x="219438" y="864"/>
                    <a:pt x="212477" y="152"/>
                  </a:cubicBezTo>
                  <a:lnTo>
                    <a:pt x="212477" y="0"/>
                  </a:lnTo>
                  <a:lnTo>
                    <a:pt x="0" y="0"/>
                  </a:lnTo>
                  <a:lnTo>
                    <a:pt x="0" y="210245"/>
                  </a:lnTo>
                  <a:cubicBezTo>
                    <a:pt x="0" y="218376"/>
                    <a:pt x="3214" y="226176"/>
                    <a:pt x="8934" y="231918"/>
                  </a:cubicBezTo>
                  <a:lnTo>
                    <a:pt x="42192" y="265278"/>
                  </a:lnTo>
                  <a:cubicBezTo>
                    <a:pt x="47912" y="271020"/>
                    <a:pt x="55682" y="274246"/>
                    <a:pt x="63781" y="274246"/>
                  </a:cubicBezTo>
                  <a:lnTo>
                    <a:pt x="85193" y="274246"/>
                  </a:lnTo>
                  <a:lnTo>
                    <a:pt x="85193" y="243631"/>
                  </a:lnTo>
                  <a:lnTo>
                    <a:pt x="35054" y="243631"/>
                  </a:lnTo>
                  <a:cubicBezTo>
                    <a:pt x="33814" y="243605"/>
                    <a:pt x="32675" y="243097"/>
                    <a:pt x="31865" y="242284"/>
                  </a:cubicBezTo>
                  <a:cubicBezTo>
                    <a:pt x="31055" y="241471"/>
                    <a:pt x="30549" y="240328"/>
                    <a:pt x="30549" y="239083"/>
                  </a:cubicBezTo>
                  <a:lnTo>
                    <a:pt x="30397" y="30463"/>
                  </a:lnTo>
                  <a:lnTo>
                    <a:pt x="238218" y="30641"/>
                  </a:lnTo>
                  <a:cubicBezTo>
                    <a:pt x="239458" y="30641"/>
                    <a:pt x="240597" y="31149"/>
                    <a:pt x="241407" y="31962"/>
                  </a:cubicBezTo>
                  <a:cubicBezTo>
                    <a:pt x="242217" y="32775"/>
                    <a:pt x="242723" y="33919"/>
                    <a:pt x="242723" y="35164"/>
                  </a:cubicBezTo>
                  <a:cubicBezTo>
                    <a:pt x="242723" y="35164"/>
                    <a:pt x="242900" y="179426"/>
                    <a:pt x="242976" y="243910"/>
                  </a:cubicBezTo>
                  <a:lnTo>
                    <a:pt x="203265" y="243910"/>
                  </a:lnTo>
                  <a:lnTo>
                    <a:pt x="203265" y="274399"/>
                  </a:lnTo>
                  <a:lnTo>
                    <a:pt x="243027" y="274399"/>
                  </a:lnTo>
                  <a:lnTo>
                    <a:pt x="243027" y="274475"/>
                  </a:lnTo>
                  <a:lnTo>
                    <a:pt x="273272" y="274475"/>
                  </a:lnTo>
                  <a:lnTo>
                    <a:pt x="273272" y="64001"/>
                  </a:lnTo>
                  <a:cubicBezTo>
                    <a:pt x="273272" y="55871"/>
                    <a:pt x="270058" y="48071"/>
                    <a:pt x="264338" y="42329"/>
                  </a:cubicBezTo>
                  <a:lnTo>
                    <a:pt x="264262" y="42329"/>
                  </a:lnTo>
                  <a:close/>
                </a:path>
              </a:pathLst>
            </a:custGeom>
            <a:solidFill>
              <a:schemeClr val="bg1"/>
            </a:solidFill>
            <a:ln w="2514" cap="flat">
              <a:noFill/>
              <a:prstDash val="solid"/>
              <a:miter/>
            </a:ln>
          </p:spPr>
          <p:txBody>
            <a:bodyPr rtlCol="0" anchor="ctr"/>
            <a:lstStyle/>
            <a:p>
              <a:endParaRPr lang="en-US"/>
            </a:p>
          </p:txBody>
        </p:sp>
        <p:sp>
          <p:nvSpPr>
            <p:cNvPr id="56" name="Freeform 55">
              <a:extLst>
                <a:ext uri="{FF2B5EF4-FFF2-40B4-BE49-F238E27FC236}">
                  <a16:creationId xmlns:a16="http://schemas.microsoft.com/office/drawing/2014/main" id="{A64A9F0B-4252-539A-58E4-C9392C97F863}"/>
                </a:ext>
              </a:extLst>
            </p:cNvPr>
            <p:cNvSpPr/>
            <p:nvPr/>
          </p:nvSpPr>
          <p:spPr>
            <a:xfrm>
              <a:off x="1113905" y="2760049"/>
              <a:ext cx="104792" cy="127675"/>
            </a:xfrm>
            <a:custGeom>
              <a:avLst/>
              <a:gdLst>
                <a:gd name="connsiteX0" fmla="*/ 0 w 78638"/>
                <a:gd name="connsiteY0" fmla="*/ 45987 h 95810"/>
                <a:gd name="connsiteX1" fmla="*/ 23513 w 78638"/>
                <a:gd name="connsiteY1" fmla="*/ 45987 h 95810"/>
                <a:gd name="connsiteX2" fmla="*/ 23513 w 78638"/>
                <a:gd name="connsiteY2" fmla="*/ 95811 h 95810"/>
                <a:gd name="connsiteX3" fmla="*/ 55125 w 78638"/>
                <a:gd name="connsiteY3" fmla="*/ 95811 h 95810"/>
                <a:gd name="connsiteX4" fmla="*/ 55125 w 78638"/>
                <a:gd name="connsiteY4" fmla="*/ 45987 h 95810"/>
                <a:gd name="connsiteX5" fmla="*/ 78638 w 78638"/>
                <a:gd name="connsiteY5" fmla="*/ 45987 h 95810"/>
                <a:gd name="connsiteX6" fmla="*/ 39332 w 78638"/>
                <a:gd name="connsiteY6" fmla="*/ 0 h 95810"/>
                <a:gd name="connsiteX7" fmla="*/ 0 w 78638"/>
                <a:gd name="connsiteY7" fmla="*/ 45987 h 95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38" h="95810">
                  <a:moveTo>
                    <a:pt x="0" y="45987"/>
                  </a:moveTo>
                  <a:lnTo>
                    <a:pt x="23513" y="45987"/>
                  </a:lnTo>
                  <a:lnTo>
                    <a:pt x="23513" y="95811"/>
                  </a:lnTo>
                  <a:lnTo>
                    <a:pt x="55125" y="95811"/>
                  </a:lnTo>
                  <a:lnTo>
                    <a:pt x="55125" y="45987"/>
                  </a:lnTo>
                  <a:lnTo>
                    <a:pt x="78638" y="45987"/>
                  </a:lnTo>
                  <a:lnTo>
                    <a:pt x="39332" y="0"/>
                  </a:lnTo>
                  <a:lnTo>
                    <a:pt x="0" y="45987"/>
                  </a:lnTo>
                  <a:close/>
                </a:path>
              </a:pathLst>
            </a:custGeom>
            <a:solidFill>
              <a:schemeClr val="bg1"/>
            </a:solidFill>
            <a:ln w="2514" cap="flat">
              <a:noFill/>
              <a:prstDash val="solid"/>
              <a:miter/>
            </a:ln>
          </p:spPr>
          <p:txBody>
            <a:bodyPr rtlCol="0" anchor="ctr"/>
            <a:lstStyle/>
            <a:p>
              <a:endParaRPr lang="en-US"/>
            </a:p>
          </p:txBody>
        </p:sp>
      </p:grpSp>
      <p:pic>
        <p:nvPicPr>
          <p:cNvPr id="17" name="g-intel">
            <a:extLst>
              <a:ext uri="{FF2B5EF4-FFF2-40B4-BE49-F238E27FC236}">
                <a16:creationId xmlns:a16="http://schemas.microsoft.com/office/drawing/2014/main" id="{D8A9F56B-9FCE-ACC3-99CD-CB540D858C41}"/>
              </a:ext>
            </a:extLst>
          </p:cNvPr>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3710282" y="2962598"/>
            <a:ext cx="455896" cy="455896"/>
          </a:xfrm>
          <a:prstGeom prst="rect">
            <a:avLst/>
          </a:prstGeom>
        </p:spPr>
      </p:pic>
      <p:sp>
        <p:nvSpPr>
          <p:cNvPr id="43" name="native">
            <a:extLst>
              <a:ext uri="{FF2B5EF4-FFF2-40B4-BE49-F238E27FC236}">
                <a16:creationId xmlns:a16="http://schemas.microsoft.com/office/drawing/2014/main" id="{B313B1C2-656C-DFE5-1FDB-9D4ABB563A88}"/>
              </a:ext>
            </a:extLst>
          </p:cNvPr>
          <p:cNvSpPr/>
          <p:nvPr/>
        </p:nvSpPr>
        <p:spPr bwMode="auto">
          <a:xfrm>
            <a:off x="1168209" y="3840695"/>
            <a:ext cx="7620206" cy="365760"/>
          </a:xfrm>
          <a:prstGeom prst="roundRect">
            <a:avLst>
              <a:gd name="adj" fmla="val 10762"/>
            </a:avLst>
          </a:prstGeom>
          <a:solidFill>
            <a:schemeClr val="bg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6000"/>
              </a:lnSpc>
            </a:pPr>
            <a:r>
              <a:rPr lang="en-US" sz="1200" b="1">
                <a:solidFill>
                  <a:srgbClr val="505861"/>
                </a:solidFill>
                <a:cs typeface="Microsoft Sans Serif" panose="020B0604020202020204" pitchFamily="34" charset="0"/>
              </a:rPr>
              <a:t>Native APIs</a:t>
            </a:r>
          </a:p>
        </p:txBody>
      </p:sp>
      <p:pic>
        <p:nvPicPr>
          <p:cNvPr id="21" name="Graphic 20">
            <a:extLst>
              <a:ext uri="{FF2B5EF4-FFF2-40B4-BE49-F238E27FC236}">
                <a16:creationId xmlns:a16="http://schemas.microsoft.com/office/drawing/2014/main" id="{6ED8018F-46CF-0A22-0F11-C42F3280524E}"/>
              </a:ext>
            </a:extLst>
          </p:cNvPr>
          <p:cNvPicPr>
            <a:picLocks noChangeAspect="1"/>
          </p:cNvPicPr>
          <p:nvPr/>
        </p:nvPicPr>
        <p:blipFill rotWithShape="1">
          <a:blip r:embed="rId13">
            <a:extLst>
              <a:ext uri="{96DAC541-7B7A-43D3-8B79-37D633B846F1}">
                <asvg:svgBlip xmlns:asvg="http://schemas.microsoft.com/office/drawing/2016/SVG/main" r:embed="rId14"/>
              </a:ext>
            </a:extLst>
          </a:blip>
          <a:srcRect l="9624" t="6476" r="6756"/>
          <a:stretch/>
        </p:blipFill>
        <p:spPr>
          <a:xfrm>
            <a:off x="5828467" y="4504702"/>
            <a:ext cx="343325" cy="383989"/>
          </a:xfrm>
          <a:prstGeom prst="rect">
            <a:avLst/>
          </a:prstGeom>
        </p:spPr>
      </p:pic>
      <p:sp>
        <p:nvSpPr>
          <p:cNvPr id="121" name="Rounded Rectangle 120">
            <a:extLst>
              <a:ext uri="{FF2B5EF4-FFF2-40B4-BE49-F238E27FC236}">
                <a16:creationId xmlns:a16="http://schemas.microsoft.com/office/drawing/2014/main" id="{4BA42A92-1BCB-2AE1-3250-0A686A358F5C}"/>
              </a:ext>
            </a:extLst>
          </p:cNvPr>
          <p:cNvSpPr/>
          <p:nvPr/>
        </p:nvSpPr>
        <p:spPr>
          <a:xfrm>
            <a:off x="830804" y="2245581"/>
            <a:ext cx="8309927" cy="1286737"/>
          </a:xfrm>
          <a:prstGeom prst="roundRect">
            <a:avLst>
              <a:gd name="adj" fmla="val 4276"/>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a:solidFill>
                <a:schemeClr val="bg1"/>
              </a:solidFill>
              <a:latin typeface="ES Build" pitchFamily="50" charset="0"/>
              <a:cs typeface="Microsoft Sans Serif" panose="020B0604020202020204" pitchFamily="34" charset="0"/>
            </a:endParaRPr>
          </a:p>
        </p:txBody>
      </p:sp>
      <p:grpSp>
        <p:nvGrpSpPr>
          <p:cNvPr id="11" name="Group 10">
            <a:extLst>
              <a:ext uri="{FF2B5EF4-FFF2-40B4-BE49-F238E27FC236}">
                <a16:creationId xmlns:a16="http://schemas.microsoft.com/office/drawing/2014/main" id="{3A03FA6A-AA49-0EDD-E06E-08FB880FED64}"/>
              </a:ext>
            </a:extLst>
          </p:cNvPr>
          <p:cNvGrpSpPr/>
          <p:nvPr/>
        </p:nvGrpSpPr>
        <p:grpSpPr>
          <a:xfrm>
            <a:off x="1168209" y="4374202"/>
            <a:ext cx="7623942" cy="959789"/>
            <a:chOff x="487285" y="1703573"/>
            <a:chExt cx="7623942" cy="959789"/>
          </a:xfrm>
        </p:grpSpPr>
        <p:sp>
          <p:nvSpPr>
            <p:cNvPr id="19" name="Freeform 40">
              <a:extLst>
                <a:ext uri="{FF2B5EF4-FFF2-40B4-BE49-F238E27FC236}">
                  <a16:creationId xmlns:a16="http://schemas.microsoft.com/office/drawing/2014/main" id="{376C9DBC-DEC4-C09E-10F5-C964D4B18906}"/>
                </a:ext>
              </a:extLst>
            </p:cNvPr>
            <p:cNvSpPr>
              <a:spLocks noChangeAspect="1"/>
            </p:cNvSpPr>
            <p:nvPr/>
          </p:nvSpPr>
          <p:spPr>
            <a:xfrm>
              <a:off x="2079493" y="1887013"/>
              <a:ext cx="430203" cy="351212"/>
            </a:xfrm>
            <a:custGeom>
              <a:avLst/>
              <a:gdLst>
                <a:gd name="connsiteX0" fmla="*/ 294299 w 588498"/>
                <a:gd name="connsiteY0" fmla="*/ 461947 h 461947"/>
                <a:gd name="connsiteX1" fmla="*/ 289846 w 588498"/>
                <a:gd name="connsiteY1" fmla="*/ 460733 h 461947"/>
                <a:gd name="connsiteX2" fmla="*/ 5263 w 588498"/>
                <a:gd name="connsiteY2" fmla="*/ 307714 h 461947"/>
                <a:gd name="connsiteX3" fmla="*/ 0 w 588498"/>
                <a:gd name="connsiteY3" fmla="*/ 299212 h 461947"/>
                <a:gd name="connsiteX4" fmla="*/ 5263 w 588498"/>
                <a:gd name="connsiteY4" fmla="*/ 290711 h 461947"/>
                <a:gd name="connsiteX5" fmla="*/ 85011 w 588498"/>
                <a:gd name="connsiteY5" fmla="*/ 248206 h 461947"/>
                <a:gd name="connsiteX6" fmla="*/ 97965 w 588498"/>
                <a:gd name="connsiteY6" fmla="*/ 252254 h 461947"/>
                <a:gd name="connsiteX7" fmla="*/ 93916 w 588498"/>
                <a:gd name="connsiteY7" fmla="*/ 265208 h 461947"/>
                <a:gd name="connsiteX8" fmla="*/ 30361 w 588498"/>
                <a:gd name="connsiteY8" fmla="*/ 299212 h 461947"/>
                <a:gd name="connsiteX9" fmla="*/ 294299 w 588498"/>
                <a:gd name="connsiteY9" fmla="*/ 441302 h 461947"/>
                <a:gd name="connsiteX10" fmla="*/ 557832 w 588498"/>
                <a:gd name="connsiteY10" fmla="*/ 299617 h 461947"/>
                <a:gd name="connsiteX11" fmla="*/ 493871 w 588498"/>
                <a:gd name="connsiteY11" fmla="*/ 263589 h 461947"/>
                <a:gd name="connsiteX12" fmla="*/ 490228 w 588498"/>
                <a:gd name="connsiteY12" fmla="*/ 250635 h 461947"/>
                <a:gd name="connsiteX13" fmla="*/ 503182 w 588498"/>
                <a:gd name="connsiteY13" fmla="*/ 246992 h 461947"/>
                <a:gd name="connsiteX14" fmla="*/ 578882 w 588498"/>
                <a:gd name="connsiteY14" fmla="*/ 289902 h 461947"/>
                <a:gd name="connsiteX15" fmla="*/ 587383 w 588498"/>
                <a:gd name="connsiteY15" fmla="*/ 295164 h 461947"/>
                <a:gd name="connsiteX16" fmla="*/ 583335 w 588498"/>
                <a:gd name="connsiteY16" fmla="*/ 308118 h 461947"/>
                <a:gd name="connsiteX17" fmla="*/ 298752 w 588498"/>
                <a:gd name="connsiteY17" fmla="*/ 461137 h 461947"/>
                <a:gd name="connsiteX18" fmla="*/ 294299 w 588498"/>
                <a:gd name="connsiteY18" fmla="*/ 461947 h 461947"/>
                <a:gd name="connsiteX19" fmla="*/ 294299 w 588498"/>
                <a:gd name="connsiteY19" fmla="*/ 332812 h 461947"/>
                <a:gd name="connsiteX20" fmla="*/ 291870 w 588498"/>
                <a:gd name="connsiteY20" fmla="*/ 332407 h 461947"/>
                <a:gd name="connsiteX21" fmla="*/ 289441 w 588498"/>
                <a:gd name="connsiteY21" fmla="*/ 331597 h 461947"/>
                <a:gd name="connsiteX22" fmla="*/ 245316 w 588498"/>
                <a:gd name="connsiteY22" fmla="*/ 307714 h 461947"/>
                <a:gd name="connsiteX23" fmla="*/ 241268 w 588498"/>
                <a:gd name="connsiteY23" fmla="*/ 294760 h 461947"/>
                <a:gd name="connsiteX24" fmla="*/ 254222 w 588498"/>
                <a:gd name="connsiteY24" fmla="*/ 290711 h 461947"/>
                <a:gd name="connsiteX25" fmla="*/ 284178 w 588498"/>
                <a:gd name="connsiteY25" fmla="*/ 306904 h 461947"/>
                <a:gd name="connsiteX26" fmla="*/ 284178 w 588498"/>
                <a:gd name="connsiteY26" fmla="*/ 274114 h 461947"/>
                <a:gd name="connsiteX27" fmla="*/ 293894 w 588498"/>
                <a:gd name="connsiteY27" fmla="*/ 264399 h 461947"/>
                <a:gd name="connsiteX28" fmla="*/ 303609 w 588498"/>
                <a:gd name="connsiteY28" fmla="*/ 274114 h 461947"/>
                <a:gd name="connsiteX29" fmla="*/ 303609 w 588498"/>
                <a:gd name="connsiteY29" fmla="*/ 306904 h 461947"/>
                <a:gd name="connsiteX30" fmla="*/ 334375 w 588498"/>
                <a:gd name="connsiteY30" fmla="*/ 290307 h 461947"/>
                <a:gd name="connsiteX31" fmla="*/ 347329 w 588498"/>
                <a:gd name="connsiteY31" fmla="*/ 294355 h 461947"/>
                <a:gd name="connsiteX32" fmla="*/ 343281 w 588498"/>
                <a:gd name="connsiteY32" fmla="*/ 307309 h 461947"/>
                <a:gd name="connsiteX33" fmla="*/ 298347 w 588498"/>
                <a:gd name="connsiteY33" fmla="*/ 331193 h 461947"/>
                <a:gd name="connsiteX34" fmla="*/ 295918 w 588498"/>
                <a:gd name="connsiteY34" fmla="*/ 332002 h 461947"/>
                <a:gd name="connsiteX35" fmla="*/ 294299 w 588498"/>
                <a:gd name="connsiteY35" fmla="*/ 332812 h 461947"/>
                <a:gd name="connsiteX36" fmla="*/ 401169 w 588498"/>
                <a:gd name="connsiteY36" fmla="*/ 274924 h 461947"/>
                <a:gd name="connsiteX37" fmla="*/ 392668 w 588498"/>
                <a:gd name="connsiteY37" fmla="*/ 270066 h 461947"/>
                <a:gd name="connsiteX38" fmla="*/ 396311 w 588498"/>
                <a:gd name="connsiteY38" fmla="*/ 257112 h 461947"/>
                <a:gd name="connsiteX39" fmla="*/ 434768 w 588498"/>
                <a:gd name="connsiteY39" fmla="*/ 235657 h 461947"/>
                <a:gd name="connsiteX40" fmla="*/ 434768 w 588498"/>
                <a:gd name="connsiteY40" fmla="*/ 192342 h 461947"/>
                <a:gd name="connsiteX41" fmla="*/ 444484 w 588498"/>
                <a:gd name="connsiteY41" fmla="*/ 182627 h 461947"/>
                <a:gd name="connsiteX42" fmla="*/ 454200 w 588498"/>
                <a:gd name="connsiteY42" fmla="*/ 192342 h 461947"/>
                <a:gd name="connsiteX43" fmla="*/ 454200 w 588498"/>
                <a:gd name="connsiteY43" fmla="*/ 241324 h 461947"/>
                <a:gd name="connsiteX44" fmla="*/ 449342 w 588498"/>
                <a:gd name="connsiteY44" fmla="*/ 249825 h 461947"/>
                <a:gd name="connsiteX45" fmla="*/ 406027 w 588498"/>
                <a:gd name="connsiteY45" fmla="*/ 273709 h 461947"/>
                <a:gd name="connsiteX46" fmla="*/ 401169 w 588498"/>
                <a:gd name="connsiteY46" fmla="*/ 274924 h 461947"/>
                <a:gd name="connsiteX47" fmla="*/ 186618 w 588498"/>
                <a:gd name="connsiteY47" fmla="*/ 274114 h 461947"/>
                <a:gd name="connsiteX48" fmla="*/ 182166 w 588498"/>
                <a:gd name="connsiteY48" fmla="*/ 272900 h 461947"/>
                <a:gd name="connsiteX49" fmla="*/ 139660 w 588498"/>
                <a:gd name="connsiteY49" fmla="*/ 249825 h 461947"/>
                <a:gd name="connsiteX50" fmla="*/ 134803 w 588498"/>
                <a:gd name="connsiteY50" fmla="*/ 241324 h 461947"/>
                <a:gd name="connsiteX51" fmla="*/ 134803 w 588498"/>
                <a:gd name="connsiteY51" fmla="*/ 189103 h 461947"/>
                <a:gd name="connsiteX52" fmla="*/ 144518 w 588498"/>
                <a:gd name="connsiteY52" fmla="*/ 179388 h 461947"/>
                <a:gd name="connsiteX53" fmla="*/ 154233 w 588498"/>
                <a:gd name="connsiteY53" fmla="*/ 189103 h 461947"/>
                <a:gd name="connsiteX54" fmla="*/ 154233 w 588498"/>
                <a:gd name="connsiteY54" fmla="*/ 235252 h 461947"/>
                <a:gd name="connsiteX55" fmla="*/ 191881 w 588498"/>
                <a:gd name="connsiteY55" fmla="*/ 255898 h 461947"/>
                <a:gd name="connsiteX56" fmla="*/ 195929 w 588498"/>
                <a:gd name="connsiteY56" fmla="*/ 268852 h 461947"/>
                <a:gd name="connsiteX57" fmla="*/ 186618 w 588498"/>
                <a:gd name="connsiteY57" fmla="*/ 274114 h 461947"/>
                <a:gd name="connsiteX58" fmla="*/ 294299 w 588498"/>
                <a:gd name="connsiteY58" fmla="*/ 229180 h 461947"/>
                <a:gd name="connsiteX59" fmla="*/ 284583 w 588498"/>
                <a:gd name="connsiteY59" fmla="*/ 219464 h 461947"/>
                <a:gd name="connsiteX60" fmla="*/ 284583 w 588498"/>
                <a:gd name="connsiteY60" fmla="*/ 178174 h 461947"/>
                <a:gd name="connsiteX61" fmla="*/ 243697 w 588498"/>
                <a:gd name="connsiteY61" fmla="*/ 155909 h 461947"/>
                <a:gd name="connsiteX62" fmla="*/ 239649 w 588498"/>
                <a:gd name="connsiteY62" fmla="*/ 142955 h 461947"/>
                <a:gd name="connsiteX63" fmla="*/ 252603 w 588498"/>
                <a:gd name="connsiteY63" fmla="*/ 138907 h 461947"/>
                <a:gd name="connsiteX64" fmla="*/ 293894 w 588498"/>
                <a:gd name="connsiteY64" fmla="*/ 161171 h 461947"/>
                <a:gd name="connsiteX65" fmla="*/ 334375 w 588498"/>
                <a:gd name="connsiteY65" fmla="*/ 139716 h 461947"/>
                <a:gd name="connsiteX66" fmla="*/ 347329 w 588498"/>
                <a:gd name="connsiteY66" fmla="*/ 143765 h 461947"/>
                <a:gd name="connsiteX67" fmla="*/ 343281 w 588498"/>
                <a:gd name="connsiteY67" fmla="*/ 156718 h 461947"/>
                <a:gd name="connsiteX68" fmla="*/ 303204 w 588498"/>
                <a:gd name="connsiteY68" fmla="*/ 178174 h 461947"/>
                <a:gd name="connsiteX69" fmla="*/ 303204 w 588498"/>
                <a:gd name="connsiteY69" fmla="*/ 219464 h 461947"/>
                <a:gd name="connsiteX70" fmla="*/ 294299 w 588498"/>
                <a:gd name="connsiteY70" fmla="*/ 229180 h 461947"/>
                <a:gd name="connsiteX71" fmla="*/ 144113 w 588498"/>
                <a:gd name="connsiteY71" fmla="*/ 155504 h 461947"/>
                <a:gd name="connsiteX72" fmla="*/ 134398 w 588498"/>
                <a:gd name="connsiteY72" fmla="*/ 145789 h 461947"/>
                <a:gd name="connsiteX73" fmla="*/ 134398 w 588498"/>
                <a:gd name="connsiteY73" fmla="*/ 91544 h 461947"/>
                <a:gd name="connsiteX74" fmla="*/ 134398 w 588498"/>
                <a:gd name="connsiteY74" fmla="*/ 91544 h 461947"/>
                <a:gd name="connsiteX75" fmla="*/ 134803 w 588498"/>
                <a:gd name="connsiteY75" fmla="*/ 89115 h 461947"/>
                <a:gd name="connsiteX76" fmla="*/ 136017 w 588498"/>
                <a:gd name="connsiteY76" fmla="*/ 86281 h 461947"/>
                <a:gd name="connsiteX77" fmla="*/ 137636 w 588498"/>
                <a:gd name="connsiteY77" fmla="*/ 84257 h 461947"/>
                <a:gd name="connsiteX78" fmla="*/ 139255 w 588498"/>
                <a:gd name="connsiteY78" fmla="*/ 83043 h 461947"/>
                <a:gd name="connsiteX79" fmla="*/ 139660 w 588498"/>
                <a:gd name="connsiteY79" fmla="*/ 82638 h 461947"/>
                <a:gd name="connsiteX80" fmla="*/ 183785 w 588498"/>
                <a:gd name="connsiteY80" fmla="*/ 58754 h 461947"/>
                <a:gd name="connsiteX81" fmla="*/ 196739 w 588498"/>
                <a:gd name="connsiteY81" fmla="*/ 62802 h 461947"/>
                <a:gd name="connsiteX82" fmla="*/ 192691 w 588498"/>
                <a:gd name="connsiteY82" fmla="*/ 75756 h 461947"/>
                <a:gd name="connsiteX83" fmla="*/ 164354 w 588498"/>
                <a:gd name="connsiteY83" fmla="*/ 91139 h 461947"/>
                <a:gd name="connsiteX84" fmla="*/ 195120 w 588498"/>
                <a:gd name="connsiteY84" fmla="*/ 107331 h 461947"/>
                <a:gd name="connsiteX85" fmla="*/ 199168 w 588498"/>
                <a:gd name="connsiteY85" fmla="*/ 120285 h 461947"/>
                <a:gd name="connsiteX86" fmla="*/ 186214 w 588498"/>
                <a:gd name="connsiteY86" fmla="*/ 124333 h 461947"/>
                <a:gd name="connsiteX87" fmla="*/ 153829 w 588498"/>
                <a:gd name="connsiteY87" fmla="*/ 106927 h 461947"/>
                <a:gd name="connsiteX88" fmla="*/ 153829 w 588498"/>
                <a:gd name="connsiteY88" fmla="*/ 145384 h 461947"/>
                <a:gd name="connsiteX89" fmla="*/ 144113 w 588498"/>
                <a:gd name="connsiteY89" fmla="*/ 155504 h 461947"/>
                <a:gd name="connsiteX90" fmla="*/ 444484 w 588498"/>
                <a:gd name="connsiteY90" fmla="*/ 151861 h 461947"/>
                <a:gd name="connsiteX91" fmla="*/ 434768 w 588498"/>
                <a:gd name="connsiteY91" fmla="*/ 142145 h 461947"/>
                <a:gd name="connsiteX92" fmla="*/ 434768 w 588498"/>
                <a:gd name="connsiteY92" fmla="*/ 107736 h 461947"/>
                <a:gd name="connsiteX93" fmla="*/ 405622 w 588498"/>
                <a:gd name="connsiteY93" fmla="*/ 123524 h 461947"/>
                <a:gd name="connsiteX94" fmla="*/ 392668 w 588498"/>
                <a:gd name="connsiteY94" fmla="*/ 119476 h 461947"/>
                <a:gd name="connsiteX95" fmla="*/ 396716 w 588498"/>
                <a:gd name="connsiteY95" fmla="*/ 106522 h 461947"/>
                <a:gd name="connsiteX96" fmla="*/ 424243 w 588498"/>
                <a:gd name="connsiteY96" fmla="*/ 91948 h 461947"/>
                <a:gd name="connsiteX97" fmla="*/ 393883 w 588498"/>
                <a:gd name="connsiteY97" fmla="*/ 74946 h 461947"/>
                <a:gd name="connsiteX98" fmla="*/ 390239 w 588498"/>
                <a:gd name="connsiteY98" fmla="*/ 61992 h 461947"/>
                <a:gd name="connsiteX99" fmla="*/ 403193 w 588498"/>
                <a:gd name="connsiteY99" fmla="*/ 58349 h 461947"/>
                <a:gd name="connsiteX100" fmla="*/ 446508 w 588498"/>
                <a:gd name="connsiteY100" fmla="*/ 83043 h 461947"/>
                <a:gd name="connsiteX101" fmla="*/ 449342 w 588498"/>
                <a:gd name="connsiteY101" fmla="*/ 84257 h 461947"/>
                <a:gd name="connsiteX102" fmla="*/ 454200 w 588498"/>
                <a:gd name="connsiteY102" fmla="*/ 92353 h 461947"/>
                <a:gd name="connsiteX103" fmla="*/ 454200 w 588498"/>
                <a:gd name="connsiteY103" fmla="*/ 142955 h 461947"/>
                <a:gd name="connsiteX104" fmla="*/ 444484 w 588498"/>
                <a:gd name="connsiteY104" fmla="*/ 151861 h 461947"/>
                <a:gd name="connsiteX105" fmla="*/ 250174 w 588498"/>
                <a:gd name="connsiteY105" fmla="*/ 43776 h 461947"/>
                <a:gd name="connsiteX106" fmla="*/ 241673 w 588498"/>
                <a:gd name="connsiteY106" fmla="*/ 38918 h 461947"/>
                <a:gd name="connsiteX107" fmla="*/ 245721 w 588498"/>
                <a:gd name="connsiteY107" fmla="*/ 25964 h 461947"/>
                <a:gd name="connsiteX108" fmla="*/ 289846 w 588498"/>
                <a:gd name="connsiteY108" fmla="*/ 2080 h 461947"/>
                <a:gd name="connsiteX109" fmla="*/ 293894 w 588498"/>
                <a:gd name="connsiteY109" fmla="*/ 866 h 461947"/>
                <a:gd name="connsiteX110" fmla="*/ 302395 w 588498"/>
                <a:gd name="connsiteY110" fmla="*/ 1271 h 461947"/>
                <a:gd name="connsiteX111" fmla="*/ 344900 w 588498"/>
                <a:gd name="connsiteY111" fmla="*/ 25154 h 461947"/>
                <a:gd name="connsiteX112" fmla="*/ 348543 w 588498"/>
                <a:gd name="connsiteY112" fmla="*/ 38108 h 461947"/>
                <a:gd name="connsiteX113" fmla="*/ 335589 w 588498"/>
                <a:gd name="connsiteY113" fmla="*/ 41752 h 461947"/>
                <a:gd name="connsiteX114" fmla="*/ 296728 w 588498"/>
                <a:gd name="connsiteY114" fmla="*/ 19892 h 461947"/>
                <a:gd name="connsiteX115" fmla="*/ 255032 w 588498"/>
                <a:gd name="connsiteY115" fmla="*/ 42561 h 461947"/>
                <a:gd name="connsiteX116" fmla="*/ 250174 w 588498"/>
                <a:gd name="connsiteY116" fmla="*/ 43776 h 461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588498" h="461947">
                  <a:moveTo>
                    <a:pt x="294299" y="461947"/>
                  </a:moveTo>
                  <a:cubicBezTo>
                    <a:pt x="292679" y="461947"/>
                    <a:pt x="291060" y="461542"/>
                    <a:pt x="289846" y="460733"/>
                  </a:cubicBezTo>
                  <a:lnTo>
                    <a:pt x="5263" y="307714"/>
                  </a:lnTo>
                  <a:cubicBezTo>
                    <a:pt x="2024" y="306094"/>
                    <a:pt x="0" y="302856"/>
                    <a:pt x="0" y="299212"/>
                  </a:cubicBezTo>
                  <a:cubicBezTo>
                    <a:pt x="0" y="295569"/>
                    <a:pt x="2024" y="292331"/>
                    <a:pt x="5263" y="290711"/>
                  </a:cubicBezTo>
                  <a:lnTo>
                    <a:pt x="85011" y="248206"/>
                  </a:lnTo>
                  <a:cubicBezTo>
                    <a:pt x="89868" y="245777"/>
                    <a:pt x="95536" y="247397"/>
                    <a:pt x="97965" y="252254"/>
                  </a:cubicBezTo>
                  <a:cubicBezTo>
                    <a:pt x="100393" y="257112"/>
                    <a:pt x="98774" y="262779"/>
                    <a:pt x="93916" y="265208"/>
                  </a:cubicBezTo>
                  <a:lnTo>
                    <a:pt x="30361" y="299212"/>
                  </a:lnTo>
                  <a:lnTo>
                    <a:pt x="294299" y="441302"/>
                  </a:lnTo>
                  <a:lnTo>
                    <a:pt x="557832" y="299617"/>
                  </a:lnTo>
                  <a:lnTo>
                    <a:pt x="493871" y="263589"/>
                  </a:lnTo>
                  <a:cubicBezTo>
                    <a:pt x="489418" y="261160"/>
                    <a:pt x="487799" y="255088"/>
                    <a:pt x="490228" y="250635"/>
                  </a:cubicBezTo>
                  <a:cubicBezTo>
                    <a:pt x="493062" y="246182"/>
                    <a:pt x="498729" y="244563"/>
                    <a:pt x="503182" y="246992"/>
                  </a:cubicBezTo>
                  <a:lnTo>
                    <a:pt x="578882" y="289902"/>
                  </a:lnTo>
                  <a:cubicBezTo>
                    <a:pt x="582120" y="289902"/>
                    <a:pt x="585359" y="291926"/>
                    <a:pt x="587383" y="295164"/>
                  </a:cubicBezTo>
                  <a:cubicBezTo>
                    <a:pt x="589812" y="300022"/>
                    <a:pt x="588193" y="305690"/>
                    <a:pt x="583335" y="308118"/>
                  </a:cubicBezTo>
                  <a:lnTo>
                    <a:pt x="298752" y="461137"/>
                  </a:lnTo>
                  <a:cubicBezTo>
                    <a:pt x="297537" y="461542"/>
                    <a:pt x="295918" y="461947"/>
                    <a:pt x="294299" y="461947"/>
                  </a:cubicBezTo>
                  <a:close/>
                  <a:moveTo>
                    <a:pt x="294299" y="332812"/>
                  </a:moveTo>
                  <a:cubicBezTo>
                    <a:pt x="293489" y="332812"/>
                    <a:pt x="292679" y="332812"/>
                    <a:pt x="291870" y="332407"/>
                  </a:cubicBezTo>
                  <a:cubicBezTo>
                    <a:pt x="291060" y="332002"/>
                    <a:pt x="290251" y="332002"/>
                    <a:pt x="289441" y="331597"/>
                  </a:cubicBezTo>
                  <a:lnTo>
                    <a:pt x="245316" y="307714"/>
                  </a:lnTo>
                  <a:cubicBezTo>
                    <a:pt x="240458" y="305285"/>
                    <a:pt x="238839" y="299212"/>
                    <a:pt x="241268" y="294760"/>
                  </a:cubicBezTo>
                  <a:cubicBezTo>
                    <a:pt x="243697" y="289902"/>
                    <a:pt x="249769" y="288283"/>
                    <a:pt x="254222" y="290711"/>
                  </a:cubicBezTo>
                  <a:lnTo>
                    <a:pt x="284178" y="306904"/>
                  </a:lnTo>
                  <a:lnTo>
                    <a:pt x="284178" y="274114"/>
                  </a:lnTo>
                  <a:cubicBezTo>
                    <a:pt x="284178" y="268852"/>
                    <a:pt x="288631" y="264399"/>
                    <a:pt x="293894" y="264399"/>
                  </a:cubicBezTo>
                  <a:cubicBezTo>
                    <a:pt x="299156" y="264399"/>
                    <a:pt x="303609" y="268852"/>
                    <a:pt x="303609" y="274114"/>
                  </a:cubicBezTo>
                  <a:lnTo>
                    <a:pt x="303609" y="306904"/>
                  </a:lnTo>
                  <a:lnTo>
                    <a:pt x="334375" y="290307"/>
                  </a:lnTo>
                  <a:cubicBezTo>
                    <a:pt x="339233" y="287878"/>
                    <a:pt x="344900" y="289497"/>
                    <a:pt x="347329" y="294355"/>
                  </a:cubicBezTo>
                  <a:cubicBezTo>
                    <a:pt x="349758" y="299212"/>
                    <a:pt x="348139" y="304880"/>
                    <a:pt x="343281" y="307309"/>
                  </a:cubicBezTo>
                  <a:lnTo>
                    <a:pt x="298347" y="331193"/>
                  </a:lnTo>
                  <a:cubicBezTo>
                    <a:pt x="297537" y="331597"/>
                    <a:pt x="296728" y="332002"/>
                    <a:pt x="295918" y="332002"/>
                  </a:cubicBezTo>
                  <a:cubicBezTo>
                    <a:pt x="295918" y="332407"/>
                    <a:pt x="295108" y="332812"/>
                    <a:pt x="294299" y="332812"/>
                  </a:cubicBezTo>
                  <a:close/>
                  <a:moveTo>
                    <a:pt x="401169" y="274924"/>
                  </a:moveTo>
                  <a:cubicBezTo>
                    <a:pt x="397931" y="274924"/>
                    <a:pt x="394287" y="273305"/>
                    <a:pt x="392668" y="270066"/>
                  </a:cubicBezTo>
                  <a:cubicBezTo>
                    <a:pt x="390239" y="265208"/>
                    <a:pt x="391858" y="259541"/>
                    <a:pt x="396311" y="257112"/>
                  </a:cubicBezTo>
                  <a:lnTo>
                    <a:pt x="434768" y="235657"/>
                  </a:lnTo>
                  <a:lnTo>
                    <a:pt x="434768" y="192342"/>
                  </a:lnTo>
                  <a:cubicBezTo>
                    <a:pt x="434768" y="187079"/>
                    <a:pt x="439222" y="182627"/>
                    <a:pt x="444484" y="182627"/>
                  </a:cubicBezTo>
                  <a:cubicBezTo>
                    <a:pt x="449747" y="182627"/>
                    <a:pt x="454200" y="187079"/>
                    <a:pt x="454200" y="192342"/>
                  </a:cubicBezTo>
                  <a:lnTo>
                    <a:pt x="454200" y="241324"/>
                  </a:lnTo>
                  <a:cubicBezTo>
                    <a:pt x="454200" y="244968"/>
                    <a:pt x="452176" y="248206"/>
                    <a:pt x="449342" y="249825"/>
                  </a:cubicBezTo>
                  <a:lnTo>
                    <a:pt x="406027" y="273709"/>
                  </a:lnTo>
                  <a:cubicBezTo>
                    <a:pt x="404408" y="274519"/>
                    <a:pt x="402788" y="274924"/>
                    <a:pt x="401169" y="274924"/>
                  </a:cubicBezTo>
                  <a:close/>
                  <a:moveTo>
                    <a:pt x="186618" y="274114"/>
                  </a:moveTo>
                  <a:cubicBezTo>
                    <a:pt x="184999" y="274114"/>
                    <a:pt x="183380" y="273709"/>
                    <a:pt x="182166" y="272900"/>
                  </a:cubicBezTo>
                  <a:lnTo>
                    <a:pt x="139660" y="249825"/>
                  </a:lnTo>
                  <a:cubicBezTo>
                    <a:pt x="136422" y="248206"/>
                    <a:pt x="134803" y="244968"/>
                    <a:pt x="134803" y="241324"/>
                  </a:cubicBezTo>
                  <a:lnTo>
                    <a:pt x="134803" y="189103"/>
                  </a:lnTo>
                  <a:cubicBezTo>
                    <a:pt x="134803" y="183841"/>
                    <a:pt x="139255" y="179388"/>
                    <a:pt x="144518" y="179388"/>
                  </a:cubicBezTo>
                  <a:cubicBezTo>
                    <a:pt x="149781" y="179388"/>
                    <a:pt x="154233" y="183841"/>
                    <a:pt x="154233" y="189103"/>
                  </a:cubicBezTo>
                  <a:lnTo>
                    <a:pt x="154233" y="235252"/>
                  </a:lnTo>
                  <a:lnTo>
                    <a:pt x="191881" y="255898"/>
                  </a:lnTo>
                  <a:cubicBezTo>
                    <a:pt x="196739" y="258326"/>
                    <a:pt x="198358" y="264399"/>
                    <a:pt x="195929" y="268852"/>
                  </a:cubicBezTo>
                  <a:cubicBezTo>
                    <a:pt x="193500" y="272495"/>
                    <a:pt x="189857" y="274114"/>
                    <a:pt x="186618" y="274114"/>
                  </a:cubicBezTo>
                  <a:close/>
                  <a:moveTo>
                    <a:pt x="294299" y="229180"/>
                  </a:moveTo>
                  <a:cubicBezTo>
                    <a:pt x="289036" y="229180"/>
                    <a:pt x="284583" y="224727"/>
                    <a:pt x="284583" y="219464"/>
                  </a:cubicBezTo>
                  <a:lnTo>
                    <a:pt x="284583" y="178174"/>
                  </a:lnTo>
                  <a:lnTo>
                    <a:pt x="243697" y="155909"/>
                  </a:lnTo>
                  <a:cubicBezTo>
                    <a:pt x="238839" y="153480"/>
                    <a:pt x="237220" y="147408"/>
                    <a:pt x="239649" y="142955"/>
                  </a:cubicBezTo>
                  <a:cubicBezTo>
                    <a:pt x="242078" y="138097"/>
                    <a:pt x="248150" y="136478"/>
                    <a:pt x="252603" y="138907"/>
                  </a:cubicBezTo>
                  <a:lnTo>
                    <a:pt x="293894" y="161171"/>
                  </a:lnTo>
                  <a:lnTo>
                    <a:pt x="334375" y="139716"/>
                  </a:lnTo>
                  <a:cubicBezTo>
                    <a:pt x="339233" y="137287"/>
                    <a:pt x="344900" y="138907"/>
                    <a:pt x="347329" y="143765"/>
                  </a:cubicBezTo>
                  <a:cubicBezTo>
                    <a:pt x="349758" y="148622"/>
                    <a:pt x="348139" y="154290"/>
                    <a:pt x="343281" y="156718"/>
                  </a:cubicBezTo>
                  <a:lnTo>
                    <a:pt x="303204" y="178174"/>
                  </a:lnTo>
                  <a:lnTo>
                    <a:pt x="303204" y="219464"/>
                  </a:lnTo>
                  <a:cubicBezTo>
                    <a:pt x="304014" y="225132"/>
                    <a:pt x="299561" y="229180"/>
                    <a:pt x="294299" y="229180"/>
                  </a:cubicBezTo>
                  <a:close/>
                  <a:moveTo>
                    <a:pt x="144113" y="155504"/>
                  </a:moveTo>
                  <a:cubicBezTo>
                    <a:pt x="138851" y="155504"/>
                    <a:pt x="134398" y="151051"/>
                    <a:pt x="134398" y="145789"/>
                  </a:cubicBezTo>
                  <a:lnTo>
                    <a:pt x="134398" y="91544"/>
                  </a:lnTo>
                  <a:cubicBezTo>
                    <a:pt x="134398" y="91544"/>
                    <a:pt x="134398" y="91544"/>
                    <a:pt x="134398" y="91544"/>
                  </a:cubicBezTo>
                  <a:cubicBezTo>
                    <a:pt x="134398" y="90734"/>
                    <a:pt x="134398" y="89924"/>
                    <a:pt x="134803" y="89115"/>
                  </a:cubicBezTo>
                  <a:cubicBezTo>
                    <a:pt x="135207" y="88305"/>
                    <a:pt x="135207" y="87091"/>
                    <a:pt x="136017" y="86281"/>
                  </a:cubicBezTo>
                  <a:cubicBezTo>
                    <a:pt x="136422" y="85472"/>
                    <a:pt x="136827" y="85067"/>
                    <a:pt x="137636" y="84257"/>
                  </a:cubicBezTo>
                  <a:cubicBezTo>
                    <a:pt x="138041" y="83852"/>
                    <a:pt x="138851" y="83447"/>
                    <a:pt x="139255" y="83043"/>
                  </a:cubicBezTo>
                  <a:cubicBezTo>
                    <a:pt x="139255" y="83043"/>
                    <a:pt x="139660" y="82638"/>
                    <a:pt x="139660" y="82638"/>
                  </a:cubicBezTo>
                  <a:lnTo>
                    <a:pt x="183785" y="58754"/>
                  </a:lnTo>
                  <a:cubicBezTo>
                    <a:pt x="188643" y="56325"/>
                    <a:pt x="194310" y="57944"/>
                    <a:pt x="196739" y="62802"/>
                  </a:cubicBezTo>
                  <a:cubicBezTo>
                    <a:pt x="199168" y="67660"/>
                    <a:pt x="197548" y="73327"/>
                    <a:pt x="192691" y="75756"/>
                  </a:cubicBezTo>
                  <a:lnTo>
                    <a:pt x="164354" y="91139"/>
                  </a:lnTo>
                  <a:lnTo>
                    <a:pt x="195120" y="107331"/>
                  </a:lnTo>
                  <a:cubicBezTo>
                    <a:pt x="199977" y="109760"/>
                    <a:pt x="201597" y="115832"/>
                    <a:pt x="199168" y="120285"/>
                  </a:cubicBezTo>
                  <a:cubicBezTo>
                    <a:pt x="196739" y="125143"/>
                    <a:pt x="190667" y="126762"/>
                    <a:pt x="186214" y="124333"/>
                  </a:cubicBezTo>
                  <a:lnTo>
                    <a:pt x="153829" y="106927"/>
                  </a:lnTo>
                  <a:lnTo>
                    <a:pt x="153829" y="145384"/>
                  </a:lnTo>
                  <a:cubicBezTo>
                    <a:pt x="153829" y="151456"/>
                    <a:pt x="149376" y="155504"/>
                    <a:pt x="144113" y="155504"/>
                  </a:cubicBezTo>
                  <a:close/>
                  <a:moveTo>
                    <a:pt x="444484" y="151861"/>
                  </a:moveTo>
                  <a:cubicBezTo>
                    <a:pt x="439222" y="151861"/>
                    <a:pt x="434768" y="147408"/>
                    <a:pt x="434768" y="142145"/>
                  </a:cubicBezTo>
                  <a:lnTo>
                    <a:pt x="434768" y="107736"/>
                  </a:lnTo>
                  <a:lnTo>
                    <a:pt x="405622" y="123524"/>
                  </a:lnTo>
                  <a:cubicBezTo>
                    <a:pt x="400764" y="125953"/>
                    <a:pt x="395097" y="124333"/>
                    <a:pt x="392668" y="119476"/>
                  </a:cubicBezTo>
                  <a:cubicBezTo>
                    <a:pt x="390239" y="114618"/>
                    <a:pt x="391858" y="108951"/>
                    <a:pt x="396716" y="106522"/>
                  </a:cubicBezTo>
                  <a:lnTo>
                    <a:pt x="424243" y="91948"/>
                  </a:lnTo>
                  <a:lnTo>
                    <a:pt x="393883" y="74946"/>
                  </a:lnTo>
                  <a:cubicBezTo>
                    <a:pt x="389430" y="72113"/>
                    <a:pt x="387810" y="66445"/>
                    <a:pt x="390239" y="61992"/>
                  </a:cubicBezTo>
                  <a:cubicBezTo>
                    <a:pt x="392668" y="57539"/>
                    <a:pt x="398740" y="55920"/>
                    <a:pt x="403193" y="58349"/>
                  </a:cubicBezTo>
                  <a:lnTo>
                    <a:pt x="446508" y="83043"/>
                  </a:lnTo>
                  <a:cubicBezTo>
                    <a:pt x="447318" y="83447"/>
                    <a:pt x="448532" y="83447"/>
                    <a:pt x="449342" y="84257"/>
                  </a:cubicBezTo>
                  <a:cubicBezTo>
                    <a:pt x="452176" y="85876"/>
                    <a:pt x="454200" y="89115"/>
                    <a:pt x="454200" y="92353"/>
                  </a:cubicBezTo>
                  <a:lnTo>
                    <a:pt x="454200" y="142955"/>
                  </a:lnTo>
                  <a:cubicBezTo>
                    <a:pt x="454200" y="147408"/>
                    <a:pt x="450152" y="151861"/>
                    <a:pt x="444484" y="151861"/>
                  </a:cubicBezTo>
                  <a:close/>
                  <a:moveTo>
                    <a:pt x="250174" y="43776"/>
                  </a:moveTo>
                  <a:cubicBezTo>
                    <a:pt x="246936" y="43776"/>
                    <a:pt x="243292" y="41752"/>
                    <a:pt x="241673" y="38918"/>
                  </a:cubicBezTo>
                  <a:cubicBezTo>
                    <a:pt x="239244" y="34060"/>
                    <a:pt x="240863" y="28393"/>
                    <a:pt x="245721" y="25964"/>
                  </a:cubicBezTo>
                  <a:lnTo>
                    <a:pt x="289846" y="2080"/>
                  </a:lnTo>
                  <a:cubicBezTo>
                    <a:pt x="291060" y="1271"/>
                    <a:pt x="292275" y="866"/>
                    <a:pt x="293894" y="866"/>
                  </a:cubicBezTo>
                  <a:cubicBezTo>
                    <a:pt x="296728" y="-349"/>
                    <a:pt x="299966" y="-349"/>
                    <a:pt x="302395" y="1271"/>
                  </a:cubicBezTo>
                  <a:lnTo>
                    <a:pt x="344900" y="25154"/>
                  </a:lnTo>
                  <a:cubicBezTo>
                    <a:pt x="349353" y="27583"/>
                    <a:pt x="351377" y="33656"/>
                    <a:pt x="348543" y="38108"/>
                  </a:cubicBezTo>
                  <a:cubicBezTo>
                    <a:pt x="346115" y="42561"/>
                    <a:pt x="340043" y="44181"/>
                    <a:pt x="335589" y="41752"/>
                  </a:cubicBezTo>
                  <a:lnTo>
                    <a:pt x="296728" y="19892"/>
                  </a:lnTo>
                  <a:lnTo>
                    <a:pt x="255032" y="42561"/>
                  </a:lnTo>
                  <a:cubicBezTo>
                    <a:pt x="253413" y="43371"/>
                    <a:pt x="251793" y="43776"/>
                    <a:pt x="250174" y="43776"/>
                  </a:cubicBezTo>
                  <a:close/>
                </a:path>
              </a:pathLst>
            </a:custGeom>
            <a:solidFill>
              <a:schemeClr val="bg1"/>
            </a:solidFill>
            <a:ln w="40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861"/>
                </a:solidFill>
                <a:effectLst/>
                <a:uLnTx/>
                <a:uFillTx/>
                <a:latin typeface="ES Build Neutral"/>
                <a:ea typeface="+mn-ea"/>
                <a:cs typeface="+mn-cs"/>
              </a:endParaRPr>
            </a:p>
          </p:txBody>
        </p:sp>
        <p:grpSp>
          <p:nvGrpSpPr>
            <p:cNvPr id="20" name="Group 19">
              <a:extLst>
                <a:ext uri="{FF2B5EF4-FFF2-40B4-BE49-F238E27FC236}">
                  <a16:creationId xmlns:a16="http://schemas.microsoft.com/office/drawing/2014/main" id="{F461ECAE-0147-0E7B-6418-C9AB01052919}"/>
                </a:ext>
              </a:extLst>
            </p:cNvPr>
            <p:cNvGrpSpPr/>
            <p:nvPr/>
          </p:nvGrpSpPr>
          <p:grpSpPr>
            <a:xfrm>
              <a:off x="2717428" y="1711717"/>
              <a:ext cx="951143" cy="951645"/>
              <a:chOff x="3075428" y="1711717"/>
              <a:chExt cx="1180036" cy="1180659"/>
            </a:xfrm>
          </p:grpSpPr>
          <p:sp>
            <p:nvSpPr>
              <p:cNvPr id="86" name="Freeform 85">
                <a:extLst>
                  <a:ext uri="{FF2B5EF4-FFF2-40B4-BE49-F238E27FC236}">
                    <a16:creationId xmlns:a16="http://schemas.microsoft.com/office/drawing/2014/main" id="{E32821B7-FE03-912D-9C47-DFD90FEDA643}"/>
                  </a:ext>
                </a:extLst>
              </p:cNvPr>
              <p:cNvSpPr/>
              <p:nvPr/>
            </p:nvSpPr>
            <p:spPr>
              <a:xfrm>
                <a:off x="3075428" y="1711717"/>
                <a:ext cx="1180036" cy="1180659"/>
              </a:xfrm>
              <a:custGeom>
                <a:avLst/>
                <a:gdLst>
                  <a:gd name="connsiteX0" fmla="*/ 1093102 w 1180036"/>
                  <a:gd name="connsiteY0" fmla="*/ 1180660 h 1180659"/>
                  <a:gd name="connsiteX1" fmla="*/ 86934 w 1180036"/>
                  <a:gd name="connsiteY1" fmla="*/ 1180660 h 1180659"/>
                  <a:gd name="connsiteX2" fmla="*/ 0 w 1180036"/>
                  <a:gd name="connsiteY2" fmla="*/ 1093680 h 1180659"/>
                  <a:gd name="connsiteX3" fmla="*/ 0 w 1180036"/>
                  <a:gd name="connsiteY3" fmla="*/ 86980 h 1180659"/>
                  <a:gd name="connsiteX4" fmla="*/ 86934 w 1180036"/>
                  <a:gd name="connsiteY4" fmla="*/ 0 h 1180659"/>
                  <a:gd name="connsiteX5" fmla="*/ 1093102 w 1180036"/>
                  <a:gd name="connsiteY5" fmla="*/ 0 h 1180659"/>
                  <a:gd name="connsiteX6" fmla="*/ 1180036 w 1180036"/>
                  <a:gd name="connsiteY6" fmla="*/ 86980 h 1180659"/>
                  <a:gd name="connsiteX7" fmla="*/ 1180036 w 1180036"/>
                  <a:gd name="connsiteY7" fmla="*/ 1093680 h 1180659"/>
                  <a:gd name="connsiteX8" fmla="*/ 1093102 w 1180036"/>
                  <a:gd name="connsiteY8" fmla="*/ 1180660 h 118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036" h="1180659">
                    <a:moveTo>
                      <a:pt x="1093102" y="1180660"/>
                    </a:moveTo>
                    <a:lnTo>
                      <a:pt x="86934" y="1180660"/>
                    </a:lnTo>
                    <a:cubicBezTo>
                      <a:pt x="38911" y="1180660"/>
                      <a:pt x="0" y="1141728"/>
                      <a:pt x="0" y="1093680"/>
                    </a:cubicBezTo>
                    <a:lnTo>
                      <a:pt x="0" y="86980"/>
                    </a:lnTo>
                    <a:cubicBezTo>
                      <a:pt x="0" y="38932"/>
                      <a:pt x="38911" y="0"/>
                      <a:pt x="86934" y="0"/>
                    </a:cubicBezTo>
                    <a:lnTo>
                      <a:pt x="1093102" y="0"/>
                    </a:lnTo>
                    <a:cubicBezTo>
                      <a:pt x="1141125" y="0"/>
                      <a:pt x="1180036" y="38932"/>
                      <a:pt x="1180036" y="86980"/>
                    </a:cubicBezTo>
                    <a:lnTo>
                      <a:pt x="1180036" y="1093680"/>
                    </a:lnTo>
                    <a:cubicBezTo>
                      <a:pt x="1180036" y="1141728"/>
                      <a:pt x="1141125" y="1180660"/>
                      <a:pt x="1093102" y="1180660"/>
                    </a:cubicBezTo>
                  </a:path>
                </a:pathLst>
              </a:custGeom>
              <a:solidFill>
                <a:schemeClr val="tx1"/>
              </a:solidFill>
              <a:ln w="0" cap="flat">
                <a:noFill/>
                <a:prstDash val="solid"/>
                <a:miter/>
              </a:ln>
            </p:spPr>
            <p:txBody>
              <a:bodyPr rtlCol="0" anchor="ctr"/>
              <a:lstStyle/>
              <a:p>
                <a:endParaRPr lang="en-US" sz="1400"/>
              </a:p>
            </p:txBody>
          </p:sp>
          <p:pic>
            <p:nvPicPr>
              <p:cNvPr id="87" name="Graphic 86">
                <a:extLst>
                  <a:ext uri="{FF2B5EF4-FFF2-40B4-BE49-F238E27FC236}">
                    <a16:creationId xmlns:a16="http://schemas.microsoft.com/office/drawing/2014/main" id="{A97C91CC-71F7-C285-A71F-AB0162E4C650}"/>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340263" y="1824529"/>
                <a:ext cx="645068" cy="645068"/>
              </a:xfrm>
              <a:prstGeom prst="rect">
                <a:avLst/>
              </a:prstGeom>
            </p:spPr>
          </p:pic>
        </p:grpSp>
        <p:grpSp>
          <p:nvGrpSpPr>
            <p:cNvPr id="22" name="Group 21">
              <a:extLst>
                <a:ext uri="{FF2B5EF4-FFF2-40B4-BE49-F238E27FC236}">
                  <a16:creationId xmlns:a16="http://schemas.microsoft.com/office/drawing/2014/main" id="{E5314E53-EAF7-E1E0-7951-D7BF94A3B35B}"/>
                </a:ext>
              </a:extLst>
            </p:cNvPr>
            <p:cNvGrpSpPr/>
            <p:nvPr/>
          </p:nvGrpSpPr>
          <p:grpSpPr>
            <a:xfrm>
              <a:off x="1608632" y="1711717"/>
              <a:ext cx="951143" cy="951645"/>
              <a:chOff x="1787632" y="1711717"/>
              <a:chExt cx="1180036" cy="1180659"/>
            </a:xfrm>
          </p:grpSpPr>
          <p:sp>
            <p:nvSpPr>
              <p:cNvPr id="84" name="Freeform 83">
                <a:extLst>
                  <a:ext uri="{FF2B5EF4-FFF2-40B4-BE49-F238E27FC236}">
                    <a16:creationId xmlns:a16="http://schemas.microsoft.com/office/drawing/2014/main" id="{CF776D25-8A4F-1B6C-2F77-ED63F0710F8B}"/>
                  </a:ext>
                </a:extLst>
              </p:cNvPr>
              <p:cNvSpPr/>
              <p:nvPr/>
            </p:nvSpPr>
            <p:spPr>
              <a:xfrm>
                <a:off x="1787632" y="1711717"/>
                <a:ext cx="1180036" cy="1180659"/>
              </a:xfrm>
              <a:custGeom>
                <a:avLst/>
                <a:gdLst>
                  <a:gd name="connsiteX0" fmla="*/ 1093102 w 1180036"/>
                  <a:gd name="connsiteY0" fmla="*/ 1180660 h 1180659"/>
                  <a:gd name="connsiteX1" fmla="*/ 86934 w 1180036"/>
                  <a:gd name="connsiteY1" fmla="*/ 1180660 h 1180659"/>
                  <a:gd name="connsiteX2" fmla="*/ 0 w 1180036"/>
                  <a:gd name="connsiteY2" fmla="*/ 1093680 h 1180659"/>
                  <a:gd name="connsiteX3" fmla="*/ 0 w 1180036"/>
                  <a:gd name="connsiteY3" fmla="*/ 86980 h 1180659"/>
                  <a:gd name="connsiteX4" fmla="*/ 86934 w 1180036"/>
                  <a:gd name="connsiteY4" fmla="*/ 0 h 1180659"/>
                  <a:gd name="connsiteX5" fmla="*/ 1093102 w 1180036"/>
                  <a:gd name="connsiteY5" fmla="*/ 0 h 1180659"/>
                  <a:gd name="connsiteX6" fmla="*/ 1180036 w 1180036"/>
                  <a:gd name="connsiteY6" fmla="*/ 86980 h 1180659"/>
                  <a:gd name="connsiteX7" fmla="*/ 1180036 w 1180036"/>
                  <a:gd name="connsiteY7" fmla="*/ 1093680 h 1180659"/>
                  <a:gd name="connsiteX8" fmla="*/ 1093102 w 1180036"/>
                  <a:gd name="connsiteY8" fmla="*/ 1180660 h 118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036" h="1180659">
                    <a:moveTo>
                      <a:pt x="1093102" y="1180660"/>
                    </a:moveTo>
                    <a:lnTo>
                      <a:pt x="86934" y="1180660"/>
                    </a:lnTo>
                    <a:cubicBezTo>
                      <a:pt x="38911" y="1180660"/>
                      <a:pt x="0" y="1141728"/>
                      <a:pt x="0" y="1093680"/>
                    </a:cubicBezTo>
                    <a:lnTo>
                      <a:pt x="0" y="86980"/>
                    </a:lnTo>
                    <a:cubicBezTo>
                      <a:pt x="0" y="38932"/>
                      <a:pt x="38911" y="0"/>
                      <a:pt x="86934" y="0"/>
                    </a:cubicBezTo>
                    <a:lnTo>
                      <a:pt x="1093102" y="0"/>
                    </a:lnTo>
                    <a:cubicBezTo>
                      <a:pt x="1141125" y="0"/>
                      <a:pt x="1180036" y="38932"/>
                      <a:pt x="1180036" y="86980"/>
                    </a:cubicBezTo>
                    <a:lnTo>
                      <a:pt x="1180036" y="1093680"/>
                    </a:lnTo>
                    <a:cubicBezTo>
                      <a:pt x="1180036" y="1141728"/>
                      <a:pt x="1141125" y="1180660"/>
                      <a:pt x="1093102" y="1180660"/>
                    </a:cubicBezTo>
                  </a:path>
                </a:pathLst>
              </a:custGeom>
              <a:solidFill>
                <a:schemeClr val="tx1"/>
              </a:solidFill>
              <a:ln w="0" cap="flat">
                <a:noFill/>
                <a:prstDash val="solid"/>
                <a:miter/>
              </a:ln>
            </p:spPr>
            <p:txBody>
              <a:bodyPr rtlCol="0" anchor="ctr"/>
              <a:lstStyle/>
              <a:p>
                <a:endParaRPr lang="en-US" sz="1400"/>
              </a:p>
            </p:txBody>
          </p:sp>
          <p:pic>
            <p:nvPicPr>
              <p:cNvPr id="85" name="Graphic 84">
                <a:extLst>
                  <a:ext uri="{FF2B5EF4-FFF2-40B4-BE49-F238E27FC236}">
                    <a16:creationId xmlns:a16="http://schemas.microsoft.com/office/drawing/2014/main" id="{DEB6193D-F4A3-15FE-4CD3-F6B03CAB516F}"/>
                  </a:ext>
                </a:extLst>
              </p:cNvPr>
              <p:cNvPicPr>
                <a:picLocks noChangeAspect="1"/>
              </p:cNvPicPr>
              <p:nvPr/>
            </p:nvPicPr>
            <p:blipFill>
              <a:blip r:embed="rId17">
                <a:extLst>
                  <a:ext uri="{96DAC541-7B7A-43D3-8B79-37D633B846F1}">
                    <asvg:svgBlip xmlns:asvg="http://schemas.microsoft.com/office/drawing/2016/SVG/main" r:embed="rId18"/>
                  </a:ext>
                </a:extLst>
              </a:blip>
              <a:srcRect/>
              <a:stretch/>
            </p:blipFill>
            <p:spPr>
              <a:xfrm>
                <a:off x="2049683" y="1836277"/>
                <a:ext cx="645068" cy="645068"/>
              </a:xfrm>
              <a:prstGeom prst="rect">
                <a:avLst/>
              </a:prstGeom>
            </p:spPr>
          </p:pic>
        </p:grpSp>
        <p:grpSp>
          <p:nvGrpSpPr>
            <p:cNvPr id="45" name="Group 44">
              <a:extLst>
                <a:ext uri="{FF2B5EF4-FFF2-40B4-BE49-F238E27FC236}">
                  <a16:creationId xmlns:a16="http://schemas.microsoft.com/office/drawing/2014/main" id="{F5944D22-C2B6-17A9-B166-DF5ED889FEB8}"/>
                </a:ext>
              </a:extLst>
            </p:cNvPr>
            <p:cNvGrpSpPr/>
            <p:nvPr/>
          </p:nvGrpSpPr>
          <p:grpSpPr>
            <a:xfrm>
              <a:off x="499836" y="1710438"/>
              <a:ext cx="951143" cy="951645"/>
              <a:chOff x="499836" y="1711717"/>
              <a:chExt cx="1180036" cy="1180659"/>
            </a:xfrm>
          </p:grpSpPr>
          <p:sp>
            <p:nvSpPr>
              <p:cNvPr id="82" name="Freeform 81">
                <a:extLst>
                  <a:ext uri="{FF2B5EF4-FFF2-40B4-BE49-F238E27FC236}">
                    <a16:creationId xmlns:a16="http://schemas.microsoft.com/office/drawing/2014/main" id="{7DA2FB39-F220-DE86-C7E9-115EEACB502D}"/>
                  </a:ext>
                </a:extLst>
              </p:cNvPr>
              <p:cNvSpPr/>
              <p:nvPr/>
            </p:nvSpPr>
            <p:spPr>
              <a:xfrm>
                <a:off x="499836" y="1711717"/>
                <a:ext cx="1180036" cy="1180659"/>
              </a:xfrm>
              <a:custGeom>
                <a:avLst/>
                <a:gdLst>
                  <a:gd name="connsiteX0" fmla="*/ 86934 w 1180036"/>
                  <a:gd name="connsiteY0" fmla="*/ 1180660 h 1180659"/>
                  <a:gd name="connsiteX1" fmla="*/ 1093102 w 1180036"/>
                  <a:gd name="connsiteY1" fmla="*/ 1180660 h 1180659"/>
                  <a:gd name="connsiteX2" fmla="*/ 1180036 w 1180036"/>
                  <a:gd name="connsiteY2" fmla="*/ 1093680 h 1180659"/>
                  <a:gd name="connsiteX3" fmla="*/ 1180036 w 1180036"/>
                  <a:gd name="connsiteY3" fmla="*/ 86980 h 1180659"/>
                  <a:gd name="connsiteX4" fmla="*/ 1093102 w 1180036"/>
                  <a:gd name="connsiteY4" fmla="*/ 0 h 1180659"/>
                  <a:gd name="connsiteX5" fmla="*/ 86934 w 1180036"/>
                  <a:gd name="connsiteY5" fmla="*/ 0 h 1180659"/>
                  <a:gd name="connsiteX6" fmla="*/ 0 w 1180036"/>
                  <a:gd name="connsiteY6" fmla="*/ 86980 h 1180659"/>
                  <a:gd name="connsiteX7" fmla="*/ 0 w 1180036"/>
                  <a:gd name="connsiteY7" fmla="*/ 1093680 h 1180659"/>
                  <a:gd name="connsiteX8" fmla="*/ 86934 w 1180036"/>
                  <a:gd name="connsiteY8" fmla="*/ 1180660 h 118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036" h="1180659">
                    <a:moveTo>
                      <a:pt x="86934" y="1180660"/>
                    </a:moveTo>
                    <a:lnTo>
                      <a:pt x="1093102" y="1180660"/>
                    </a:lnTo>
                    <a:cubicBezTo>
                      <a:pt x="1141125" y="1180660"/>
                      <a:pt x="1180036" y="1141728"/>
                      <a:pt x="1180036" y="1093680"/>
                    </a:cubicBezTo>
                    <a:lnTo>
                      <a:pt x="1180036" y="86980"/>
                    </a:lnTo>
                    <a:cubicBezTo>
                      <a:pt x="1180036" y="38932"/>
                      <a:pt x="1141125" y="0"/>
                      <a:pt x="1093102" y="0"/>
                    </a:cubicBezTo>
                    <a:lnTo>
                      <a:pt x="86934" y="0"/>
                    </a:lnTo>
                    <a:cubicBezTo>
                      <a:pt x="38911" y="0"/>
                      <a:pt x="0" y="38932"/>
                      <a:pt x="0" y="86980"/>
                    </a:cubicBezTo>
                    <a:lnTo>
                      <a:pt x="0" y="1093680"/>
                    </a:lnTo>
                    <a:cubicBezTo>
                      <a:pt x="0" y="1141728"/>
                      <a:pt x="38911" y="1180660"/>
                      <a:pt x="86934" y="1180660"/>
                    </a:cubicBezTo>
                  </a:path>
                </a:pathLst>
              </a:custGeom>
              <a:solidFill>
                <a:schemeClr val="tx1"/>
              </a:solidFill>
              <a:ln w="0" cap="flat">
                <a:noFill/>
                <a:prstDash val="solid"/>
                <a:miter/>
              </a:ln>
            </p:spPr>
            <p:txBody>
              <a:bodyPr rtlCol="0" anchor="ctr"/>
              <a:lstStyle/>
              <a:p>
                <a:endParaRPr lang="en-US" sz="1400"/>
              </a:p>
            </p:txBody>
          </p:sp>
          <p:pic>
            <p:nvPicPr>
              <p:cNvPr id="83" name="Graphic 82">
                <a:extLst>
                  <a:ext uri="{FF2B5EF4-FFF2-40B4-BE49-F238E27FC236}">
                    <a16:creationId xmlns:a16="http://schemas.microsoft.com/office/drawing/2014/main" id="{CD868DC6-A70B-947C-1B26-898539FA9BF5}"/>
                  </a:ext>
                </a:extLst>
              </p:cNvPr>
              <p:cNvPicPr>
                <a:picLocks noChangeAspect="1"/>
              </p:cNvPicPr>
              <p:nvPr/>
            </p:nvPicPr>
            <p:blipFill>
              <a:blip r:embed="rId19">
                <a:extLst>
                  <a:ext uri="{96DAC541-7B7A-43D3-8B79-37D633B846F1}">
                    <asvg:svgBlip xmlns:asvg="http://schemas.microsoft.com/office/drawing/2016/SVG/main" r:embed="rId20"/>
                  </a:ext>
                </a:extLst>
              </a:blip>
              <a:srcRect/>
              <a:stretch/>
            </p:blipFill>
            <p:spPr>
              <a:xfrm>
                <a:off x="782409" y="1831724"/>
                <a:ext cx="645068" cy="645068"/>
              </a:xfrm>
              <a:prstGeom prst="rect">
                <a:avLst/>
              </a:prstGeom>
            </p:spPr>
          </p:pic>
        </p:grpSp>
        <p:grpSp>
          <p:nvGrpSpPr>
            <p:cNvPr id="46" name="Group 45">
              <a:extLst>
                <a:ext uri="{FF2B5EF4-FFF2-40B4-BE49-F238E27FC236}">
                  <a16:creationId xmlns:a16="http://schemas.microsoft.com/office/drawing/2014/main" id="{E4A6022D-6522-8996-282A-4B8341F36410}"/>
                </a:ext>
              </a:extLst>
            </p:cNvPr>
            <p:cNvGrpSpPr/>
            <p:nvPr/>
          </p:nvGrpSpPr>
          <p:grpSpPr>
            <a:xfrm>
              <a:off x="3826224" y="1711717"/>
              <a:ext cx="951143" cy="951645"/>
              <a:chOff x="4363224" y="1711717"/>
              <a:chExt cx="1180036" cy="1180659"/>
            </a:xfrm>
          </p:grpSpPr>
          <p:sp>
            <p:nvSpPr>
              <p:cNvPr id="78" name="Freeform 77">
                <a:extLst>
                  <a:ext uri="{FF2B5EF4-FFF2-40B4-BE49-F238E27FC236}">
                    <a16:creationId xmlns:a16="http://schemas.microsoft.com/office/drawing/2014/main" id="{7FF6C44E-D1AE-12E7-7120-587EF44FEECA}"/>
                  </a:ext>
                </a:extLst>
              </p:cNvPr>
              <p:cNvSpPr/>
              <p:nvPr/>
            </p:nvSpPr>
            <p:spPr>
              <a:xfrm>
                <a:off x="4363224" y="1711717"/>
                <a:ext cx="1180036" cy="1180659"/>
              </a:xfrm>
              <a:custGeom>
                <a:avLst/>
                <a:gdLst>
                  <a:gd name="connsiteX0" fmla="*/ 1093102 w 1180036"/>
                  <a:gd name="connsiteY0" fmla="*/ 1180660 h 1180659"/>
                  <a:gd name="connsiteX1" fmla="*/ 86934 w 1180036"/>
                  <a:gd name="connsiteY1" fmla="*/ 1180660 h 1180659"/>
                  <a:gd name="connsiteX2" fmla="*/ 0 w 1180036"/>
                  <a:gd name="connsiteY2" fmla="*/ 1093680 h 1180659"/>
                  <a:gd name="connsiteX3" fmla="*/ 0 w 1180036"/>
                  <a:gd name="connsiteY3" fmla="*/ 86980 h 1180659"/>
                  <a:gd name="connsiteX4" fmla="*/ 86934 w 1180036"/>
                  <a:gd name="connsiteY4" fmla="*/ 0 h 1180659"/>
                  <a:gd name="connsiteX5" fmla="*/ 1093102 w 1180036"/>
                  <a:gd name="connsiteY5" fmla="*/ 0 h 1180659"/>
                  <a:gd name="connsiteX6" fmla="*/ 1180036 w 1180036"/>
                  <a:gd name="connsiteY6" fmla="*/ 86980 h 1180659"/>
                  <a:gd name="connsiteX7" fmla="*/ 1180036 w 1180036"/>
                  <a:gd name="connsiteY7" fmla="*/ 1093680 h 1180659"/>
                  <a:gd name="connsiteX8" fmla="*/ 1093102 w 1180036"/>
                  <a:gd name="connsiteY8" fmla="*/ 1180660 h 118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036" h="1180659">
                    <a:moveTo>
                      <a:pt x="1093102" y="1180660"/>
                    </a:moveTo>
                    <a:lnTo>
                      <a:pt x="86934" y="1180660"/>
                    </a:lnTo>
                    <a:cubicBezTo>
                      <a:pt x="38911" y="1180660"/>
                      <a:pt x="0" y="1141728"/>
                      <a:pt x="0" y="1093680"/>
                    </a:cubicBezTo>
                    <a:lnTo>
                      <a:pt x="0" y="86980"/>
                    </a:lnTo>
                    <a:cubicBezTo>
                      <a:pt x="0" y="38932"/>
                      <a:pt x="38911" y="0"/>
                      <a:pt x="86934" y="0"/>
                    </a:cubicBezTo>
                    <a:lnTo>
                      <a:pt x="1093102" y="0"/>
                    </a:lnTo>
                    <a:cubicBezTo>
                      <a:pt x="1141125" y="0"/>
                      <a:pt x="1180036" y="38932"/>
                      <a:pt x="1180036" y="86980"/>
                    </a:cubicBezTo>
                    <a:lnTo>
                      <a:pt x="1180036" y="1093680"/>
                    </a:lnTo>
                    <a:cubicBezTo>
                      <a:pt x="1180036" y="1141728"/>
                      <a:pt x="1141125" y="1180660"/>
                      <a:pt x="1093102" y="1180660"/>
                    </a:cubicBezTo>
                  </a:path>
                </a:pathLst>
              </a:custGeom>
              <a:solidFill>
                <a:schemeClr val="tx1"/>
              </a:solidFill>
              <a:ln w="0" cap="flat">
                <a:noFill/>
                <a:prstDash val="solid"/>
                <a:miter/>
              </a:ln>
            </p:spPr>
            <p:txBody>
              <a:bodyPr rtlCol="0" anchor="ctr"/>
              <a:lstStyle/>
              <a:p>
                <a:endParaRPr lang="en-US" sz="1400"/>
              </a:p>
            </p:txBody>
          </p:sp>
          <p:pic>
            <p:nvPicPr>
              <p:cNvPr id="81" name="Graphic 80">
                <a:extLst>
                  <a:ext uri="{FF2B5EF4-FFF2-40B4-BE49-F238E27FC236}">
                    <a16:creationId xmlns:a16="http://schemas.microsoft.com/office/drawing/2014/main" id="{1AB47CBB-90E0-44B8-E516-58FA7987B5E9}"/>
                  </a:ext>
                </a:extLst>
              </p:cNvPr>
              <p:cNvPicPr>
                <a:picLocks noChangeAspect="1"/>
              </p:cNvPicPr>
              <p:nvPr/>
            </p:nvPicPr>
            <p:blipFill>
              <a:blip r:embed="rId21">
                <a:extLst>
                  <a:ext uri="{96DAC541-7B7A-43D3-8B79-37D633B846F1}">
                    <asvg:svgBlip xmlns:asvg="http://schemas.microsoft.com/office/drawing/2016/SVG/main" r:embed="rId22"/>
                  </a:ext>
                </a:extLst>
              </a:blip>
              <a:srcRect/>
              <a:stretch/>
            </p:blipFill>
            <p:spPr>
              <a:xfrm>
                <a:off x="4629538" y="1829558"/>
                <a:ext cx="645068" cy="645068"/>
              </a:xfrm>
              <a:prstGeom prst="rect">
                <a:avLst/>
              </a:prstGeom>
            </p:spPr>
          </p:pic>
        </p:grpSp>
        <p:sp>
          <p:nvSpPr>
            <p:cNvPr id="47" name="Freeform 46">
              <a:extLst>
                <a:ext uri="{FF2B5EF4-FFF2-40B4-BE49-F238E27FC236}">
                  <a16:creationId xmlns:a16="http://schemas.microsoft.com/office/drawing/2014/main" id="{D49F6711-8EBB-4B2B-9174-260B98016D42}"/>
                </a:ext>
              </a:extLst>
            </p:cNvPr>
            <p:cNvSpPr/>
            <p:nvPr/>
          </p:nvSpPr>
          <p:spPr>
            <a:xfrm>
              <a:off x="7156348" y="1703573"/>
              <a:ext cx="951143" cy="951645"/>
            </a:xfrm>
            <a:custGeom>
              <a:avLst/>
              <a:gdLst>
                <a:gd name="connsiteX0" fmla="*/ 1093102 w 1180036"/>
                <a:gd name="connsiteY0" fmla="*/ 1180660 h 1180659"/>
                <a:gd name="connsiteX1" fmla="*/ 86934 w 1180036"/>
                <a:gd name="connsiteY1" fmla="*/ 1180660 h 1180659"/>
                <a:gd name="connsiteX2" fmla="*/ 0 w 1180036"/>
                <a:gd name="connsiteY2" fmla="*/ 1093680 h 1180659"/>
                <a:gd name="connsiteX3" fmla="*/ 0 w 1180036"/>
                <a:gd name="connsiteY3" fmla="*/ 86980 h 1180659"/>
                <a:gd name="connsiteX4" fmla="*/ 86934 w 1180036"/>
                <a:gd name="connsiteY4" fmla="*/ 0 h 1180659"/>
                <a:gd name="connsiteX5" fmla="*/ 1093102 w 1180036"/>
                <a:gd name="connsiteY5" fmla="*/ 0 h 1180659"/>
                <a:gd name="connsiteX6" fmla="*/ 1180036 w 1180036"/>
                <a:gd name="connsiteY6" fmla="*/ 86980 h 1180659"/>
                <a:gd name="connsiteX7" fmla="*/ 1180036 w 1180036"/>
                <a:gd name="connsiteY7" fmla="*/ 1093680 h 1180659"/>
                <a:gd name="connsiteX8" fmla="*/ 1093102 w 1180036"/>
                <a:gd name="connsiteY8" fmla="*/ 1180660 h 118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036" h="1180659">
                  <a:moveTo>
                    <a:pt x="1093102" y="1180660"/>
                  </a:moveTo>
                  <a:lnTo>
                    <a:pt x="86934" y="1180660"/>
                  </a:lnTo>
                  <a:cubicBezTo>
                    <a:pt x="38911" y="1180660"/>
                    <a:pt x="0" y="1141728"/>
                    <a:pt x="0" y="1093680"/>
                  </a:cubicBezTo>
                  <a:lnTo>
                    <a:pt x="0" y="86980"/>
                  </a:lnTo>
                  <a:cubicBezTo>
                    <a:pt x="0" y="38932"/>
                    <a:pt x="38911" y="0"/>
                    <a:pt x="86934" y="0"/>
                  </a:cubicBezTo>
                  <a:lnTo>
                    <a:pt x="1093102" y="0"/>
                  </a:lnTo>
                  <a:cubicBezTo>
                    <a:pt x="1141125" y="0"/>
                    <a:pt x="1180036" y="38932"/>
                    <a:pt x="1180036" y="86980"/>
                  </a:cubicBezTo>
                  <a:lnTo>
                    <a:pt x="1180036" y="1093680"/>
                  </a:lnTo>
                  <a:cubicBezTo>
                    <a:pt x="1180036" y="1141728"/>
                    <a:pt x="1141125" y="1180660"/>
                    <a:pt x="1093102" y="1180660"/>
                  </a:cubicBezTo>
                </a:path>
              </a:pathLst>
            </a:custGeom>
            <a:solidFill>
              <a:schemeClr val="tx1"/>
            </a:solidFill>
            <a:ln w="0" cap="flat">
              <a:noFill/>
              <a:prstDash val="solid"/>
              <a:miter/>
            </a:ln>
          </p:spPr>
          <p:txBody>
            <a:bodyPr rtlCol="0" anchor="ctr"/>
            <a:lstStyle/>
            <a:p>
              <a:endParaRPr lang="en-US" sz="1400"/>
            </a:p>
          </p:txBody>
        </p:sp>
        <p:sp>
          <p:nvSpPr>
            <p:cNvPr id="52" name="TextBox 51">
              <a:extLst>
                <a:ext uri="{FF2B5EF4-FFF2-40B4-BE49-F238E27FC236}">
                  <a16:creationId xmlns:a16="http://schemas.microsoft.com/office/drawing/2014/main" id="{F0A57F2C-1939-9568-B0C9-E82B209413B9}"/>
                </a:ext>
              </a:extLst>
            </p:cNvPr>
            <p:cNvSpPr txBox="1"/>
            <p:nvPr/>
          </p:nvSpPr>
          <p:spPr>
            <a:xfrm>
              <a:off x="7156348" y="2299413"/>
              <a:ext cx="954879" cy="246221"/>
            </a:xfrm>
            <a:prstGeom prst="rect">
              <a:avLst/>
            </a:prstGeom>
            <a:noFill/>
          </p:spPr>
          <p:txBody>
            <a:bodyPr wrap="square" rtlCol="0">
              <a:spAutoFit/>
            </a:bodyPr>
            <a:lstStyle/>
            <a:p>
              <a:pPr algn="ctr"/>
              <a:r>
                <a:rPr lang="en-US" sz="1000" b="1">
                  <a:solidFill>
                    <a:schemeClr val="bg1"/>
                  </a:solidFill>
                  <a:latin typeface="ES Build SemiBold" pitchFamily="2" charset="77"/>
                  <a:ea typeface="ES Build SemiBold" pitchFamily="2" charset="77"/>
                  <a:cs typeface="Microsoft Sans Serif" panose="020B0604020202020204" pitchFamily="34" charset="0"/>
                </a:rPr>
                <a:t>Containers</a:t>
              </a:r>
            </a:p>
          </p:txBody>
        </p:sp>
        <p:pic>
          <p:nvPicPr>
            <p:cNvPr id="57" name="Graphic 56">
              <a:extLst>
                <a:ext uri="{FF2B5EF4-FFF2-40B4-BE49-F238E27FC236}">
                  <a16:creationId xmlns:a16="http://schemas.microsoft.com/office/drawing/2014/main" id="{8DBC73CB-4C2B-8945-A11B-830628A318FF}"/>
                </a:ext>
              </a:extLst>
            </p:cNvPr>
            <p:cNvPicPr>
              <a:picLocks noChangeAspect="1"/>
            </p:cNvPicPr>
            <p:nvPr/>
          </p:nvPicPr>
          <p:blipFill>
            <a:blip r:embed="rId23">
              <a:extLst>
                <a:ext uri="{96DAC541-7B7A-43D3-8B79-37D633B846F1}">
                  <asvg:svgBlip xmlns:asvg="http://schemas.microsoft.com/office/drawing/2016/SVG/main" r:embed="rId24"/>
                </a:ext>
              </a:extLst>
            </a:blip>
            <a:srcRect/>
            <a:stretch/>
          </p:blipFill>
          <p:spPr>
            <a:xfrm>
              <a:off x="7369139" y="1807929"/>
              <a:ext cx="519943" cy="519943"/>
            </a:xfrm>
            <a:prstGeom prst="rect">
              <a:avLst/>
            </a:prstGeom>
          </p:spPr>
        </p:pic>
        <p:grpSp>
          <p:nvGrpSpPr>
            <p:cNvPr id="58" name="Group 57">
              <a:extLst>
                <a:ext uri="{FF2B5EF4-FFF2-40B4-BE49-F238E27FC236}">
                  <a16:creationId xmlns:a16="http://schemas.microsoft.com/office/drawing/2014/main" id="{CF3BD0B1-CA7A-8DA3-50D0-7F86F4ED801C}"/>
                </a:ext>
              </a:extLst>
            </p:cNvPr>
            <p:cNvGrpSpPr/>
            <p:nvPr/>
          </p:nvGrpSpPr>
          <p:grpSpPr>
            <a:xfrm>
              <a:off x="6047552" y="1711717"/>
              <a:ext cx="951143" cy="951645"/>
              <a:chOff x="5651020" y="1711718"/>
              <a:chExt cx="1180036" cy="1180659"/>
            </a:xfrm>
          </p:grpSpPr>
          <p:sp>
            <p:nvSpPr>
              <p:cNvPr id="76" name="Freeform 75">
                <a:extLst>
                  <a:ext uri="{FF2B5EF4-FFF2-40B4-BE49-F238E27FC236}">
                    <a16:creationId xmlns:a16="http://schemas.microsoft.com/office/drawing/2014/main" id="{04A01BE3-39E4-CFFD-2E93-5C8667DC6FF5}"/>
                  </a:ext>
                </a:extLst>
              </p:cNvPr>
              <p:cNvSpPr/>
              <p:nvPr/>
            </p:nvSpPr>
            <p:spPr>
              <a:xfrm>
                <a:off x="5651020" y="1711718"/>
                <a:ext cx="1180036" cy="1180659"/>
              </a:xfrm>
              <a:custGeom>
                <a:avLst/>
                <a:gdLst>
                  <a:gd name="connsiteX0" fmla="*/ 1093102 w 1180036"/>
                  <a:gd name="connsiteY0" fmla="*/ 1180660 h 1180659"/>
                  <a:gd name="connsiteX1" fmla="*/ 86934 w 1180036"/>
                  <a:gd name="connsiteY1" fmla="*/ 1180660 h 1180659"/>
                  <a:gd name="connsiteX2" fmla="*/ 0 w 1180036"/>
                  <a:gd name="connsiteY2" fmla="*/ 1093680 h 1180659"/>
                  <a:gd name="connsiteX3" fmla="*/ 0 w 1180036"/>
                  <a:gd name="connsiteY3" fmla="*/ 86980 h 1180659"/>
                  <a:gd name="connsiteX4" fmla="*/ 86934 w 1180036"/>
                  <a:gd name="connsiteY4" fmla="*/ 0 h 1180659"/>
                  <a:gd name="connsiteX5" fmla="*/ 1093102 w 1180036"/>
                  <a:gd name="connsiteY5" fmla="*/ 0 h 1180659"/>
                  <a:gd name="connsiteX6" fmla="*/ 1180036 w 1180036"/>
                  <a:gd name="connsiteY6" fmla="*/ 86980 h 1180659"/>
                  <a:gd name="connsiteX7" fmla="*/ 1180036 w 1180036"/>
                  <a:gd name="connsiteY7" fmla="*/ 1093680 h 1180659"/>
                  <a:gd name="connsiteX8" fmla="*/ 1093102 w 1180036"/>
                  <a:gd name="connsiteY8" fmla="*/ 1180660 h 118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036" h="1180659">
                    <a:moveTo>
                      <a:pt x="1093102" y="1180660"/>
                    </a:moveTo>
                    <a:lnTo>
                      <a:pt x="86934" y="1180660"/>
                    </a:lnTo>
                    <a:cubicBezTo>
                      <a:pt x="38911" y="1180660"/>
                      <a:pt x="0" y="1141728"/>
                      <a:pt x="0" y="1093680"/>
                    </a:cubicBezTo>
                    <a:lnTo>
                      <a:pt x="0" y="86980"/>
                    </a:lnTo>
                    <a:cubicBezTo>
                      <a:pt x="0" y="38932"/>
                      <a:pt x="38911" y="0"/>
                      <a:pt x="86934" y="0"/>
                    </a:cubicBezTo>
                    <a:lnTo>
                      <a:pt x="1093102" y="0"/>
                    </a:lnTo>
                    <a:cubicBezTo>
                      <a:pt x="1141125" y="0"/>
                      <a:pt x="1180036" y="38932"/>
                      <a:pt x="1180036" y="86980"/>
                    </a:cubicBezTo>
                    <a:lnTo>
                      <a:pt x="1180036" y="1093680"/>
                    </a:lnTo>
                    <a:cubicBezTo>
                      <a:pt x="1180036" y="1141728"/>
                      <a:pt x="1141125" y="1180660"/>
                      <a:pt x="1093102" y="1180660"/>
                    </a:cubicBezTo>
                  </a:path>
                </a:pathLst>
              </a:custGeom>
              <a:solidFill>
                <a:schemeClr val="tx1"/>
              </a:solidFill>
              <a:ln w="0" cap="flat">
                <a:noFill/>
                <a:prstDash val="solid"/>
                <a:miter/>
              </a:ln>
            </p:spPr>
            <p:txBody>
              <a:bodyPr rtlCol="0" anchor="ctr"/>
              <a:lstStyle/>
              <a:p>
                <a:endParaRPr lang="en-US" sz="1400"/>
              </a:p>
            </p:txBody>
          </p:sp>
          <p:pic>
            <p:nvPicPr>
              <p:cNvPr id="77" name="Graphic 76">
                <a:extLst>
                  <a:ext uri="{FF2B5EF4-FFF2-40B4-BE49-F238E27FC236}">
                    <a16:creationId xmlns:a16="http://schemas.microsoft.com/office/drawing/2014/main" id="{D47E45A2-28FD-F892-7C18-6D7056F4096F}"/>
                  </a:ext>
                </a:extLst>
              </p:cNvPr>
              <p:cNvPicPr>
                <a:picLocks noChangeAspect="1"/>
              </p:cNvPicPr>
              <p:nvPr/>
            </p:nvPicPr>
            <p:blipFill>
              <a:blip r:embed="rId25">
                <a:extLst>
                  <a:ext uri="{96DAC541-7B7A-43D3-8B79-37D633B846F1}">
                    <asvg:svgBlip xmlns:asvg="http://schemas.microsoft.com/office/drawing/2016/SVG/main" r:embed="rId26"/>
                  </a:ext>
                </a:extLst>
              </a:blip>
              <a:srcRect/>
              <a:stretch/>
            </p:blipFill>
            <p:spPr>
              <a:xfrm>
                <a:off x="5915966" y="1819326"/>
                <a:ext cx="645068" cy="645068"/>
              </a:xfrm>
              <a:prstGeom prst="rect">
                <a:avLst/>
              </a:prstGeom>
            </p:spPr>
          </p:pic>
        </p:grpSp>
        <p:sp>
          <p:nvSpPr>
            <p:cNvPr id="59" name="Freeform 58">
              <a:extLst>
                <a:ext uri="{FF2B5EF4-FFF2-40B4-BE49-F238E27FC236}">
                  <a16:creationId xmlns:a16="http://schemas.microsoft.com/office/drawing/2014/main" id="{95CAB274-9312-D793-48D6-B62FF85E9FBF}"/>
                </a:ext>
              </a:extLst>
            </p:cNvPr>
            <p:cNvSpPr/>
            <p:nvPr/>
          </p:nvSpPr>
          <p:spPr>
            <a:xfrm>
              <a:off x="4935020" y="1710437"/>
              <a:ext cx="951143" cy="951644"/>
            </a:xfrm>
            <a:custGeom>
              <a:avLst/>
              <a:gdLst>
                <a:gd name="connsiteX0" fmla="*/ 1093102 w 1180036"/>
                <a:gd name="connsiteY0" fmla="*/ 1180660 h 1180659"/>
                <a:gd name="connsiteX1" fmla="*/ 86934 w 1180036"/>
                <a:gd name="connsiteY1" fmla="*/ 1180660 h 1180659"/>
                <a:gd name="connsiteX2" fmla="*/ 0 w 1180036"/>
                <a:gd name="connsiteY2" fmla="*/ 1093680 h 1180659"/>
                <a:gd name="connsiteX3" fmla="*/ 0 w 1180036"/>
                <a:gd name="connsiteY3" fmla="*/ 86980 h 1180659"/>
                <a:gd name="connsiteX4" fmla="*/ 86934 w 1180036"/>
                <a:gd name="connsiteY4" fmla="*/ 0 h 1180659"/>
                <a:gd name="connsiteX5" fmla="*/ 1093102 w 1180036"/>
                <a:gd name="connsiteY5" fmla="*/ 0 h 1180659"/>
                <a:gd name="connsiteX6" fmla="*/ 1180036 w 1180036"/>
                <a:gd name="connsiteY6" fmla="*/ 86980 h 1180659"/>
                <a:gd name="connsiteX7" fmla="*/ 1180036 w 1180036"/>
                <a:gd name="connsiteY7" fmla="*/ 1093680 h 1180659"/>
                <a:gd name="connsiteX8" fmla="*/ 1093102 w 1180036"/>
                <a:gd name="connsiteY8" fmla="*/ 1180660 h 118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036" h="1180659">
                  <a:moveTo>
                    <a:pt x="1093102" y="1180660"/>
                  </a:moveTo>
                  <a:lnTo>
                    <a:pt x="86934" y="1180660"/>
                  </a:lnTo>
                  <a:cubicBezTo>
                    <a:pt x="38911" y="1180660"/>
                    <a:pt x="0" y="1141728"/>
                    <a:pt x="0" y="1093680"/>
                  </a:cubicBezTo>
                  <a:lnTo>
                    <a:pt x="0" y="86980"/>
                  </a:lnTo>
                  <a:cubicBezTo>
                    <a:pt x="0" y="38932"/>
                    <a:pt x="38911" y="0"/>
                    <a:pt x="86934" y="0"/>
                  </a:cubicBezTo>
                  <a:lnTo>
                    <a:pt x="1093102" y="0"/>
                  </a:lnTo>
                  <a:cubicBezTo>
                    <a:pt x="1141125" y="0"/>
                    <a:pt x="1180036" y="38932"/>
                    <a:pt x="1180036" y="86980"/>
                  </a:cubicBezTo>
                  <a:lnTo>
                    <a:pt x="1180036" y="1093680"/>
                  </a:lnTo>
                  <a:cubicBezTo>
                    <a:pt x="1180036" y="1141728"/>
                    <a:pt x="1141125" y="1180660"/>
                    <a:pt x="1093102" y="1180660"/>
                  </a:cubicBezTo>
                </a:path>
              </a:pathLst>
            </a:custGeom>
            <a:solidFill>
              <a:schemeClr val="tx1"/>
            </a:solidFill>
            <a:ln w="0" cap="flat">
              <a:noFill/>
              <a:prstDash val="solid"/>
              <a:miter/>
            </a:ln>
          </p:spPr>
          <p:txBody>
            <a:bodyPr rtlCol="0" anchor="ctr"/>
            <a:lstStyle/>
            <a:p>
              <a:endParaRPr lang="en-US" sz="1400"/>
            </a:p>
          </p:txBody>
        </p:sp>
        <p:sp>
          <p:nvSpPr>
            <p:cNvPr id="60" name="TextBox 59">
              <a:extLst>
                <a:ext uri="{FF2B5EF4-FFF2-40B4-BE49-F238E27FC236}">
                  <a16:creationId xmlns:a16="http://schemas.microsoft.com/office/drawing/2014/main" id="{A981C837-443A-C501-D0A5-C24E227191AE}"/>
                </a:ext>
              </a:extLst>
            </p:cNvPr>
            <p:cNvSpPr txBox="1"/>
            <p:nvPr/>
          </p:nvSpPr>
          <p:spPr>
            <a:xfrm>
              <a:off x="4942361" y="2299413"/>
              <a:ext cx="943801" cy="355225"/>
            </a:xfrm>
            <a:prstGeom prst="rect">
              <a:avLst/>
            </a:prstGeom>
            <a:noFill/>
          </p:spPr>
          <p:txBody>
            <a:bodyPr wrap="square" rtlCol="0">
              <a:spAutoFit/>
            </a:bodyPr>
            <a:lstStyle/>
            <a:p>
              <a:pPr algn="ctr">
                <a:lnSpc>
                  <a:spcPts val="1000"/>
                </a:lnSpc>
              </a:pPr>
              <a:r>
                <a:rPr lang="en-US" sz="1000" b="1">
                  <a:solidFill>
                    <a:schemeClr val="bg1"/>
                  </a:solidFill>
                  <a:latin typeface="ES Build SemiBold" pitchFamily="2" charset="77"/>
                  <a:ea typeface="ES Build SemiBold" pitchFamily="2" charset="77"/>
                  <a:cs typeface="Microsoft Sans Serif" panose="020B0604020202020204" pitchFamily="34" charset="0"/>
                </a:rPr>
                <a:t>Unstructured data</a:t>
              </a:r>
            </a:p>
          </p:txBody>
        </p:sp>
        <p:pic>
          <p:nvPicPr>
            <p:cNvPr id="66" name="Graphic 65">
              <a:extLst>
                <a:ext uri="{FF2B5EF4-FFF2-40B4-BE49-F238E27FC236}">
                  <a16:creationId xmlns:a16="http://schemas.microsoft.com/office/drawing/2014/main" id="{B99B420F-C445-035B-E446-ED1743D935DA}"/>
                </a:ext>
              </a:extLst>
            </p:cNvPr>
            <p:cNvPicPr>
              <a:picLocks noChangeAspect="1"/>
            </p:cNvPicPr>
            <p:nvPr/>
          </p:nvPicPr>
          <p:blipFill>
            <a:blip r:embed="rId27">
              <a:extLst>
                <a:ext uri="{96DAC541-7B7A-43D3-8B79-37D633B846F1}">
                  <asvg:svgBlip xmlns:asvg="http://schemas.microsoft.com/office/drawing/2016/SVG/main" r:embed="rId28"/>
                </a:ext>
              </a:extLst>
            </a:blip>
            <a:srcRect/>
            <a:stretch/>
          </p:blipFill>
          <p:spPr>
            <a:xfrm>
              <a:off x="5147812" y="1802647"/>
              <a:ext cx="519943" cy="519943"/>
            </a:xfrm>
            <a:prstGeom prst="rect">
              <a:avLst/>
            </a:prstGeom>
          </p:spPr>
        </p:pic>
        <p:sp>
          <p:nvSpPr>
            <p:cNvPr id="69" name="TextBox 68">
              <a:extLst>
                <a:ext uri="{FF2B5EF4-FFF2-40B4-BE49-F238E27FC236}">
                  <a16:creationId xmlns:a16="http://schemas.microsoft.com/office/drawing/2014/main" id="{4AAFB50D-9996-0328-B1B5-E791FF604C48}"/>
                </a:ext>
              </a:extLst>
            </p:cNvPr>
            <p:cNvSpPr txBox="1"/>
            <p:nvPr/>
          </p:nvSpPr>
          <p:spPr>
            <a:xfrm>
              <a:off x="487285" y="2299413"/>
              <a:ext cx="954879" cy="246221"/>
            </a:xfrm>
            <a:prstGeom prst="rect">
              <a:avLst/>
            </a:prstGeom>
            <a:noFill/>
          </p:spPr>
          <p:txBody>
            <a:bodyPr wrap="square" rtlCol="0">
              <a:spAutoFit/>
            </a:bodyPr>
            <a:lstStyle/>
            <a:p>
              <a:pPr algn="ctr"/>
              <a:r>
                <a:rPr lang="en-US" sz="1000" b="1">
                  <a:solidFill>
                    <a:schemeClr val="bg1"/>
                  </a:solidFill>
                  <a:latin typeface="ES Build SemiBold" pitchFamily="2" charset="77"/>
                  <a:ea typeface="ES Build SemiBold" pitchFamily="2" charset="77"/>
                  <a:cs typeface="Microsoft Sans Serif" panose="020B0604020202020204" pitchFamily="34" charset="0"/>
                </a:rPr>
                <a:t>Cloud</a:t>
              </a:r>
            </a:p>
          </p:txBody>
        </p:sp>
        <p:sp>
          <p:nvSpPr>
            <p:cNvPr id="71" name="TextBox 70">
              <a:extLst>
                <a:ext uri="{FF2B5EF4-FFF2-40B4-BE49-F238E27FC236}">
                  <a16:creationId xmlns:a16="http://schemas.microsoft.com/office/drawing/2014/main" id="{B7CB7C1D-42A5-80A0-F665-203E918A8071}"/>
                </a:ext>
              </a:extLst>
            </p:cNvPr>
            <p:cNvSpPr txBox="1"/>
            <p:nvPr/>
          </p:nvSpPr>
          <p:spPr>
            <a:xfrm>
              <a:off x="1608504" y="2299413"/>
              <a:ext cx="954879" cy="246221"/>
            </a:xfrm>
            <a:prstGeom prst="rect">
              <a:avLst/>
            </a:prstGeom>
            <a:noFill/>
          </p:spPr>
          <p:txBody>
            <a:bodyPr wrap="square" rtlCol="0">
              <a:spAutoFit/>
            </a:bodyPr>
            <a:lstStyle/>
            <a:p>
              <a:pPr algn="ctr"/>
              <a:r>
                <a:rPr lang="en-US" sz="1000" b="1">
                  <a:solidFill>
                    <a:schemeClr val="bg1"/>
                  </a:solidFill>
                  <a:latin typeface="ES Build SemiBold" pitchFamily="2" charset="77"/>
                  <a:ea typeface="ES Build SemiBold" pitchFamily="2" charset="77"/>
                  <a:cs typeface="Microsoft Sans Serif" panose="020B0604020202020204" pitchFamily="34" charset="0"/>
                </a:rPr>
                <a:t>Virtual</a:t>
              </a:r>
            </a:p>
          </p:txBody>
        </p:sp>
        <p:sp>
          <p:nvSpPr>
            <p:cNvPr id="72" name="TextBox 71">
              <a:extLst>
                <a:ext uri="{FF2B5EF4-FFF2-40B4-BE49-F238E27FC236}">
                  <a16:creationId xmlns:a16="http://schemas.microsoft.com/office/drawing/2014/main" id="{B5AFD291-3E95-2B56-6DF7-9E090819297A}"/>
                </a:ext>
              </a:extLst>
            </p:cNvPr>
            <p:cNvSpPr txBox="1"/>
            <p:nvPr/>
          </p:nvSpPr>
          <p:spPr>
            <a:xfrm>
              <a:off x="2709152" y="2299413"/>
              <a:ext cx="954879" cy="246221"/>
            </a:xfrm>
            <a:prstGeom prst="rect">
              <a:avLst/>
            </a:prstGeom>
            <a:noFill/>
          </p:spPr>
          <p:txBody>
            <a:bodyPr wrap="square" rtlCol="0">
              <a:spAutoFit/>
            </a:bodyPr>
            <a:lstStyle/>
            <a:p>
              <a:pPr algn="ctr"/>
              <a:r>
                <a:rPr lang="en-US" sz="1000" b="1">
                  <a:solidFill>
                    <a:schemeClr val="bg1"/>
                  </a:solidFill>
                  <a:latin typeface="ES Build SemiBold" pitchFamily="2" charset="77"/>
                  <a:ea typeface="ES Build SemiBold" pitchFamily="2" charset="77"/>
                  <a:cs typeface="Microsoft Sans Serif" panose="020B0604020202020204" pitchFamily="34" charset="0"/>
                </a:rPr>
                <a:t>Physical</a:t>
              </a:r>
            </a:p>
          </p:txBody>
        </p:sp>
        <p:sp>
          <p:nvSpPr>
            <p:cNvPr id="73" name="TextBox 72">
              <a:extLst>
                <a:ext uri="{FF2B5EF4-FFF2-40B4-BE49-F238E27FC236}">
                  <a16:creationId xmlns:a16="http://schemas.microsoft.com/office/drawing/2014/main" id="{E7663B36-C5C4-3274-50DC-FC2660E1E7DC}"/>
                </a:ext>
              </a:extLst>
            </p:cNvPr>
            <p:cNvSpPr txBox="1"/>
            <p:nvPr/>
          </p:nvSpPr>
          <p:spPr>
            <a:xfrm>
              <a:off x="3834483" y="2299413"/>
              <a:ext cx="954879" cy="246221"/>
            </a:xfrm>
            <a:prstGeom prst="rect">
              <a:avLst/>
            </a:prstGeom>
            <a:noFill/>
          </p:spPr>
          <p:txBody>
            <a:bodyPr wrap="square" rtlCol="0">
              <a:spAutoFit/>
            </a:bodyPr>
            <a:lstStyle/>
            <a:p>
              <a:pPr algn="ctr"/>
              <a:r>
                <a:rPr lang="en-US" sz="1000" b="1">
                  <a:solidFill>
                    <a:schemeClr val="bg1"/>
                  </a:solidFill>
                  <a:latin typeface="ES Build SemiBold" pitchFamily="2" charset="77"/>
                  <a:ea typeface="ES Build SemiBold" pitchFamily="2" charset="77"/>
                  <a:cs typeface="Microsoft Sans Serif" panose="020B0604020202020204" pitchFamily="34" charset="0"/>
                </a:rPr>
                <a:t>Apps</a:t>
              </a:r>
            </a:p>
          </p:txBody>
        </p:sp>
        <p:sp>
          <p:nvSpPr>
            <p:cNvPr id="74" name="TextBox 73">
              <a:extLst>
                <a:ext uri="{FF2B5EF4-FFF2-40B4-BE49-F238E27FC236}">
                  <a16:creationId xmlns:a16="http://schemas.microsoft.com/office/drawing/2014/main" id="{4E8A4DB1-F2AB-979C-8241-5C1E1946DA06}"/>
                </a:ext>
              </a:extLst>
            </p:cNvPr>
            <p:cNvSpPr txBox="1"/>
            <p:nvPr/>
          </p:nvSpPr>
          <p:spPr>
            <a:xfrm>
              <a:off x="6054894" y="2299413"/>
              <a:ext cx="943801" cy="226985"/>
            </a:xfrm>
            <a:prstGeom prst="rect">
              <a:avLst/>
            </a:prstGeom>
            <a:noFill/>
          </p:spPr>
          <p:txBody>
            <a:bodyPr wrap="square" rtlCol="0">
              <a:spAutoFit/>
            </a:bodyPr>
            <a:lstStyle/>
            <a:p>
              <a:pPr algn="ctr">
                <a:lnSpc>
                  <a:spcPts val="1000"/>
                </a:lnSpc>
              </a:pPr>
              <a:r>
                <a:rPr lang="en-US" sz="1000" b="1">
                  <a:solidFill>
                    <a:schemeClr val="bg1"/>
                  </a:solidFill>
                  <a:latin typeface="ES Build SemiBold" pitchFamily="2" charset="77"/>
                  <a:ea typeface="ES Build SemiBold" pitchFamily="2" charset="77"/>
                  <a:cs typeface="Microsoft Sans Serif" panose="020B0604020202020204" pitchFamily="34" charset="0"/>
                </a:rPr>
                <a:t>SaaS</a:t>
              </a:r>
            </a:p>
          </p:txBody>
        </p:sp>
      </p:grpSp>
      <p:cxnSp>
        <p:nvCxnSpPr>
          <p:cNvPr id="120" name="Straight Arrow Connector 119">
            <a:extLst>
              <a:ext uri="{FF2B5EF4-FFF2-40B4-BE49-F238E27FC236}">
                <a16:creationId xmlns:a16="http://schemas.microsoft.com/office/drawing/2014/main" id="{F7B22F75-E06D-8914-5291-044F39C9C0AF}"/>
              </a:ext>
            </a:extLst>
          </p:cNvPr>
          <p:cNvCxnSpPr>
            <a:cxnSpLocks/>
          </p:cNvCxnSpPr>
          <p:nvPr/>
        </p:nvCxnSpPr>
        <p:spPr>
          <a:xfrm>
            <a:off x="9432493" y="2896472"/>
            <a:ext cx="335237" cy="0"/>
          </a:xfrm>
          <a:prstGeom prst="straightConnector1">
            <a:avLst/>
          </a:prstGeom>
          <a:ln w="12700" cap="rnd">
            <a:solidFill>
              <a:schemeClr val="tx1">
                <a:lumMod val="40000"/>
                <a:lumOff val="60000"/>
              </a:schemeClr>
            </a:solidFill>
            <a:round/>
            <a:headEnd type="none" w="med" len="sm"/>
            <a:tailEnd type="arrow" w="med" len="sm"/>
          </a:ln>
        </p:spPr>
        <p:style>
          <a:lnRef idx="1">
            <a:schemeClr val="accent1"/>
          </a:lnRef>
          <a:fillRef idx="0">
            <a:schemeClr val="accent1"/>
          </a:fillRef>
          <a:effectRef idx="0">
            <a:schemeClr val="accent1"/>
          </a:effectRef>
          <a:fontRef idx="minor">
            <a:schemeClr val="tx1"/>
          </a:fontRef>
        </p:style>
      </p:cxnSp>
      <p:sp>
        <p:nvSpPr>
          <p:cNvPr id="6" name="native">
            <a:extLst>
              <a:ext uri="{FF2B5EF4-FFF2-40B4-BE49-F238E27FC236}">
                <a16:creationId xmlns:a16="http://schemas.microsoft.com/office/drawing/2014/main" id="{A1F0CCA4-F60A-5877-D3AC-CCB0EB6E75D8}"/>
              </a:ext>
            </a:extLst>
          </p:cNvPr>
          <p:cNvSpPr/>
          <p:nvPr/>
        </p:nvSpPr>
        <p:spPr bwMode="auto">
          <a:xfrm>
            <a:off x="2390986" y="1353105"/>
            <a:ext cx="5152814" cy="581821"/>
          </a:xfrm>
          <a:prstGeom prst="roundRect">
            <a:avLst>
              <a:gd name="adj" fmla="val 10921"/>
            </a:avLst>
          </a:prstGeom>
          <a:solidFill>
            <a:schemeClr val="bg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endParaRPr lang="en-US" sz="500">
              <a:solidFill>
                <a:srgbClr val="505861"/>
              </a:solidFill>
              <a:cs typeface="Microsoft Sans Serif" panose="020B0604020202020204" pitchFamily="34" charset="0"/>
            </a:endParaRPr>
          </a:p>
          <a:p>
            <a:pPr algn="ctr"/>
            <a:r>
              <a:rPr lang="en-US" sz="1200">
                <a:solidFill>
                  <a:srgbClr val="505861"/>
                </a:solidFill>
                <a:cs typeface="Microsoft Sans Serif" panose="020B0604020202020204" pitchFamily="34" charset="0"/>
              </a:rPr>
              <a:t>Proactive Threat Assessment |  Forensic Triage | Incident </a:t>
            </a:r>
            <a:r>
              <a:rPr lang="en-US" sz="1200">
                <a:solidFill>
                  <a:srgbClr val="505861"/>
                </a:solidFill>
                <a:effectLst/>
                <a:cs typeface="Microsoft Sans Serif" panose="020B0604020202020204" pitchFamily="34" charset="0"/>
              </a:rPr>
              <a:t>Response</a:t>
            </a:r>
          </a:p>
        </p:txBody>
      </p:sp>
      <p:sp>
        <p:nvSpPr>
          <p:cNvPr id="51" name="Title 50">
            <a:extLst>
              <a:ext uri="{FF2B5EF4-FFF2-40B4-BE49-F238E27FC236}">
                <a16:creationId xmlns:a16="http://schemas.microsoft.com/office/drawing/2014/main" id="{717FC2BE-07AA-F6A2-640D-7BC5DBB220C0}"/>
              </a:ext>
            </a:extLst>
          </p:cNvPr>
          <p:cNvSpPr>
            <a:spLocks noGrp="1"/>
          </p:cNvSpPr>
          <p:nvPr>
            <p:ph type="title"/>
          </p:nvPr>
        </p:nvSpPr>
        <p:spPr>
          <a:xfrm>
            <a:off x="486455" y="313871"/>
            <a:ext cx="11202987" cy="682625"/>
          </a:xfrm>
        </p:spPr>
        <p:txBody>
          <a:bodyPr/>
          <a:lstStyle/>
          <a:p>
            <a:pPr algn="ctr"/>
            <a:r>
              <a:rPr lang="en-US" sz="3400">
                <a:solidFill>
                  <a:schemeClr val="tx1"/>
                </a:solidFill>
              </a:rPr>
              <a:t>Products that bring data resilience to life</a:t>
            </a:r>
            <a:endParaRPr lang="en-US"/>
          </a:p>
        </p:txBody>
      </p:sp>
      <p:sp>
        <p:nvSpPr>
          <p:cNvPr id="48" name="DATA">
            <a:extLst>
              <a:ext uri="{FF2B5EF4-FFF2-40B4-BE49-F238E27FC236}">
                <a16:creationId xmlns:a16="http://schemas.microsoft.com/office/drawing/2014/main" id="{2B88B156-4636-7916-673E-890A44A4DA32}"/>
              </a:ext>
            </a:extLst>
          </p:cNvPr>
          <p:cNvSpPr txBox="1">
            <a:spLocks/>
          </p:cNvSpPr>
          <p:nvPr/>
        </p:nvSpPr>
        <p:spPr>
          <a:xfrm>
            <a:off x="-3431761" y="-9897851"/>
            <a:ext cx="18861657" cy="806374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1800" b="1" i="0" u="none" strike="noStrike" kern="1200" cap="none" spc="-3000" normalizeH="0" baseline="0" noProof="0">
                <a:ln>
                  <a:noFill/>
                </a:ln>
                <a:solidFill>
                  <a:srgbClr val="FFFFFF">
                    <a:lumMod val="85000"/>
                    <a:alpha val="0"/>
                  </a:srgbClr>
                </a:solidFill>
                <a:effectLst/>
                <a:uLnTx/>
                <a:uFillTx/>
                <a:latin typeface="ES Build Full Bauhaus" pitchFamily="2" charset="77"/>
                <a:ea typeface="ES Build Full Bauhaus" pitchFamily="2" charset="77"/>
                <a:cs typeface="+mn-cs"/>
              </a:rPr>
              <a:t>DATA</a:t>
            </a:r>
          </a:p>
        </p:txBody>
      </p:sp>
      <p:pic>
        <p:nvPicPr>
          <p:cNvPr id="49" name="arrows" hidden="1">
            <a:extLst>
              <a:ext uri="{FF2B5EF4-FFF2-40B4-BE49-F238E27FC236}">
                <a16:creationId xmlns:a16="http://schemas.microsoft.com/office/drawing/2014/main" id="{85ED38B0-FA0C-8591-F4E0-9E2975FDA141}"/>
              </a:ext>
            </a:extLst>
          </p:cNvPr>
          <p:cNvPicPr>
            <a:picLocks/>
          </p:cNvPicPr>
          <p:nvPr/>
        </p:nvPicPr>
        <p:blipFill>
          <a:blip r:embed="rId29">
            <a:extLst>
              <a:ext uri="{96DAC541-7B7A-43D3-8B79-37D633B846F1}">
                <asvg:svgBlip xmlns:asvg="http://schemas.microsoft.com/office/drawing/2016/SVG/main" r:embed="rId30"/>
              </a:ext>
            </a:extLst>
          </a:blip>
          <a:stretch>
            <a:fillRect/>
          </a:stretch>
        </p:blipFill>
        <p:spPr>
          <a:xfrm rot="900000">
            <a:off x="-2299955" y="-4357202"/>
            <a:ext cx="16937654" cy="16937654"/>
          </a:xfrm>
          <a:prstGeom prst="rect">
            <a:avLst/>
          </a:prstGeom>
        </p:spPr>
      </p:pic>
      <p:sp>
        <p:nvSpPr>
          <p:cNvPr id="50" name="donut" hidden="1">
            <a:extLst>
              <a:ext uri="{FF2B5EF4-FFF2-40B4-BE49-F238E27FC236}">
                <a16:creationId xmlns:a16="http://schemas.microsoft.com/office/drawing/2014/main" id="{ADB3C278-F744-657A-9922-AA9475DA6DC1}"/>
              </a:ext>
            </a:extLst>
          </p:cNvPr>
          <p:cNvSpPr>
            <a:spLocks/>
          </p:cNvSpPr>
          <p:nvPr/>
        </p:nvSpPr>
        <p:spPr>
          <a:xfrm>
            <a:off x="-8201342" y="-8185938"/>
            <a:ext cx="15727680" cy="15680239"/>
          </a:xfrm>
          <a:prstGeom prst="donut">
            <a:avLst>
              <a:gd name="adj" fmla="val 2748"/>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3200" b="0" i="0" u="none" strike="noStrike" kern="1200" cap="none" spc="0" normalizeH="0" baseline="0" noProof="0">
                <a:ln>
                  <a:noFill/>
                </a:ln>
                <a:solidFill>
                  <a:schemeClr val="bg1"/>
                </a:solidFill>
                <a:effectLst/>
                <a:uLnTx/>
                <a:uFillTx/>
                <a:latin typeface="ES Build" pitchFamily="50" charset="0"/>
                <a:ea typeface="+mn-ea"/>
                <a:cs typeface="Microsoft Sans Serif" panose="020B0604020202020204" pitchFamily="34" charset="0"/>
              </a:rPr>
              <a:t>DATA</a:t>
            </a:r>
          </a:p>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3200" b="0" i="0" u="none" strike="noStrike" kern="1200" cap="none" spc="0" normalizeH="0" baseline="0" noProof="0">
                <a:ln>
                  <a:noFill/>
                </a:ln>
                <a:solidFill>
                  <a:schemeClr val="bg1"/>
                </a:solidFill>
                <a:effectLst/>
                <a:uLnTx/>
                <a:uFillTx/>
                <a:latin typeface="ES Build" pitchFamily="50" charset="0"/>
                <a:ea typeface="+mn-ea"/>
                <a:cs typeface="Microsoft Sans Serif" panose="020B0604020202020204" pitchFamily="34" charset="0"/>
              </a:rPr>
              <a:t>RESILIENCE</a:t>
            </a:r>
          </a:p>
        </p:txBody>
      </p:sp>
      <p:pic>
        <p:nvPicPr>
          <p:cNvPr id="79" name="arrows">
            <a:extLst>
              <a:ext uri="{FF2B5EF4-FFF2-40B4-BE49-F238E27FC236}">
                <a16:creationId xmlns:a16="http://schemas.microsoft.com/office/drawing/2014/main" id="{D038714C-F0DB-BECF-CC7C-BBDCD498F39D}"/>
              </a:ext>
            </a:extLst>
          </p:cNvPr>
          <p:cNvPicPr/>
          <p:nvPr/>
        </p:nvPicPr>
        <p:blipFill>
          <a:blip r:embed="rId31">
            <a:extLst>
              <a:ext uri="{96DAC541-7B7A-43D3-8B79-37D633B846F1}">
                <asvg:svgBlip xmlns:asvg="http://schemas.microsoft.com/office/drawing/2016/SVG/main" r:embed="rId32"/>
              </a:ext>
            </a:extLst>
          </a:blip>
          <a:stretch>
            <a:fillRect/>
          </a:stretch>
        </p:blipFill>
        <p:spPr>
          <a:xfrm>
            <a:off x="12192000" y="6793282"/>
            <a:ext cx="16459200" cy="16459200"/>
          </a:xfrm>
          <a:prstGeom prst="rect">
            <a:avLst/>
          </a:prstGeom>
        </p:spPr>
      </p:pic>
      <p:sp>
        <p:nvSpPr>
          <p:cNvPr id="18" name="TextBox 17">
            <a:extLst>
              <a:ext uri="{FF2B5EF4-FFF2-40B4-BE49-F238E27FC236}">
                <a16:creationId xmlns:a16="http://schemas.microsoft.com/office/drawing/2014/main" id="{3387A426-4F2F-0902-C53F-94A7A9AF1D66}"/>
              </a:ext>
            </a:extLst>
          </p:cNvPr>
          <p:cNvSpPr txBox="1"/>
          <p:nvPr/>
        </p:nvSpPr>
        <p:spPr>
          <a:xfrm>
            <a:off x="2390985" y="1713408"/>
            <a:ext cx="5152814" cy="355921"/>
          </a:xfrm>
          <a:custGeom>
            <a:avLst/>
            <a:gdLst>
              <a:gd name="connsiteX0" fmla="*/ 0 w 5152814"/>
              <a:gd name="connsiteY0" fmla="*/ 0 h 355921"/>
              <a:gd name="connsiteX1" fmla="*/ 5152814 w 5152814"/>
              <a:gd name="connsiteY1" fmla="*/ 0 h 355921"/>
              <a:gd name="connsiteX2" fmla="*/ 5152814 w 5152814"/>
              <a:gd name="connsiteY2" fmla="*/ 148127 h 355921"/>
              <a:gd name="connsiteX3" fmla="*/ 5152813 w 5152814"/>
              <a:gd name="connsiteY3" fmla="*/ 148127 h 355921"/>
              <a:gd name="connsiteX4" fmla="*/ 5152813 w 5152814"/>
              <a:gd name="connsiteY4" fmla="*/ 296600 h 355921"/>
              <a:gd name="connsiteX5" fmla="*/ 5093492 w 5152814"/>
              <a:gd name="connsiteY5" fmla="*/ 355921 h 355921"/>
              <a:gd name="connsiteX6" fmla="*/ 59321 w 5152814"/>
              <a:gd name="connsiteY6" fmla="*/ 355921 h 355921"/>
              <a:gd name="connsiteX7" fmla="*/ 0 w 5152814"/>
              <a:gd name="connsiteY7" fmla="*/ 296600 h 355921"/>
              <a:gd name="connsiteX8" fmla="*/ 0 w 5152814"/>
              <a:gd name="connsiteY8" fmla="*/ 148127 h 355921"/>
              <a:gd name="connsiteX9" fmla="*/ 0 w 5152814"/>
              <a:gd name="connsiteY9" fmla="*/ 59322 h 355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52814" h="355921">
                <a:moveTo>
                  <a:pt x="0" y="0"/>
                </a:moveTo>
                <a:lnTo>
                  <a:pt x="5152814" y="0"/>
                </a:lnTo>
                <a:lnTo>
                  <a:pt x="5152814" y="148127"/>
                </a:lnTo>
                <a:lnTo>
                  <a:pt x="5152813" y="148127"/>
                </a:lnTo>
                <a:lnTo>
                  <a:pt x="5152813" y="296600"/>
                </a:lnTo>
                <a:cubicBezTo>
                  <a:pt x="5152813" y="329362"/>
                  <a:pt x="5126254" y="355921"/>
                  <a:pt x="5093492" y="355921"/>
                </a:cubicBezTo>
                <a:lnTo>
                  <a:pt x="59321" y="355921"/>
                </a:lnTo>
                <a:cubicBezTo>
                  <a:pt x="26559" y="355921"/>
                  <a:pt x="0" y="329362"/>
                  <a:pt x="0" y="296600"/>
                </a:cubicBezTo>
                <a:lnTo>
                  <a:pt x="0" y="148127"/>
                </a:lnTo>
                <a:lnTo>
                  <a:pt x="0" y="59322"/>
                </a:lnTo>
                <a:close/>
              </a:path>
            </a:pathLst>
          </a:custGeom>
          <a:solidFill>
            <a:schemeClr val="tx1">
              <a:lumMod val="20000"/>
              <a:lumOff val="8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a:lnSpc>
                <a:spcPct val="96000"/>
              </a:lnSpc>
              <a:defRPr sz="1200">
                <a:solidFill>
                  <a:srgbClr val="505861"/>
                </a:solidFill>
                <a:cs typeface="Microsoft Sans Serif"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b="1">
                <a:solidFill>
                  <a:schemeClr val="tx1"/>
                </a:solidFill>
              </a:rPr>
              <a:t>Ransomware Patterns &amp; Signals</a:t>
            </a:r>
          </a:p>
        </p:txBody>
      </p:sp>
    </p:spTree>
    <p:extLst>
      <p:ext uri="{BB962C8B-B14F-4D97-AF65-F5344CB8AC3E}">
        <p14:creationId xmlns:p14="http://schemas.microsoft.com/office/powerpoint/2010/main" val="2468625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0" name="titledr">
            <a:extLst>
              <a:ext uri="{FF2B5EF4-FFF2-40B4-BE49-F238E27FC236}">
                <a16:creationId xmlns:a16="http://schemas.microsoft.com/office/drawing/2014/main" id="{0633FA78-3D2E-C91C-F58C-CD207D8ECB7E}"/>
              </a:ext>
            </a:extLst>
          </p:cNvPr>
          <p:cNvSpPr>
            <a:spLocks noGrp="1"/>
          </p:cNvSpPr>
          <p:nvPr>
            <p:ph type="title"/>
          </p:nvPr>
        </p:nvSpPr>
        <p:spPr>
          <a:xfrm>
            <a:off x="494506" y="279036"/>
            <a:ext cx="11202987" cy="1019164"/>
          </a:xfrm>
        </p:spPr>
        <p:txBody>
          <a:bodyPr tIns="274320" anchor="t"/>
          <a:lstStyle/>
          <a:p>
            <a:pPr algn="ctr"/>
            <a:r>
              <a:rPr lang="en-US" sz="4400"/>
              <a:t>Veeam is </a:t>
            </a:r>
            <a:r>
              <a:rPr lang="en-US" sz="4400" baseline="30000"/>
              <a:t>#</a:t>
            </a:r>
            <a:r>
              <a:rPr lang="en-US" sz="4400"/>
              <a:t>1 in Data Resilience</a:t>
            </a:r>
          </a:p>
        </p:txBody>
      </p:sp>
      <p:graphicFrame>
        <p:nvGraphicFramePr>
          <p:cNvPr id="74" name="Chart 73">
            <a:extLst>
              <a:ext uri="{FF2B5EF4-FFF2-40B4-BE49-F238E27FC236}">
                <a16:creationId xmlns:a16="http://schemas.microsoft.com/office/drawing/2014/main" id="{70EBCEBB-5EE9-1C00-287B-DD5BAE9AD6D4}"/>
              </a:ext>
            </a:extLst>
          </p:cNvPr>
          <p:cNvGraphicFramePr>
            <a:graphicFrameLocks/>
          </p:cNvGraphicFramePr>
          <p:nvPr/>
        </p:nvGraphicFramePr>
        <p:xfrm>
          <a:off x="493288" y="1127125"/>
          <a:ext cx="11419315" cy="5066439"/>
        </p:xfrm>
        <a:graphic>
          <a:graphicData uri="http://schemas.openxmlformats.org/drawingml/2006/chart">
            <c:chart xmlns:c="http://schemas.openxmlformats.org/drawingml/2006/chart" xmlns:r="http://schemas.openxmlformats.org/officeDocument/2006/relationships" r:id="rId3"/>
          </a:graphicData>
        </a:graphic>
      </p:graphicFrame>
      <p:grpSp>
        <p:nvGrpSpPr>
          <p:cNvPr id="5" name="IDC">
            <a:extLst>
              <a:ext uri="{FF2B5EF4-FFF2-40B4-BE49-F238E27FC236}">
                <a16:creationId xmlns:a16="http://schemas.microsoft.com/office/drawing/2014/main" id="{91F7ECB7-B450-88EA-A315-94D5859068C2}"/>
              </a:ext>
            </a:extLst>
          </p:cNvPr>
          <p:cNvGrpSpPr/>
          <p:nvPr/>
        </p:nvGrpSpPr>
        <p:grpSpPr>
          <a:xfrm>
            <a:off x="7429332" y="1875864"/>
            <a:ext cx="5892641" cy="379115"/>
            <a:chOff x="6528104" y="5817885"/>
            <a:chExt cx="5892641" cy="379114"/>
          </a:xfrm>
        </p:grpSpPr>
        <p:sp>
          <p:nvSpPr>
            <p:cNvPr id="6" name="TextBox 5">
              <a:extLst>
                <a:ext uri="{FF2B5EF4-FFF2-40B4-BE49-F238E27FC236}">
                  <a16:creationId xmlns:a16="http://schemas.microsoft.com/office/drawing/2014/main" id="{9E46760B-6E88-608B-7C9C-6DAC1BCB5094}"/>
                </a:ext>
              </a:extLst>
            </p:cNvPr>
            <p:cNvSpPr txBox="1"/>
            <p:nvPr/>
          </p:nvSpPr>
          <p:spPr>
            <a:xfrm>
              <a:off x="7881939" y="5845860"/>
              <a:ext cx="4538806" cy="323421"/>
            </a:xfrm>
            <a:prstGeom prst="rect">
              <a:avLst/>
            </a:prstGeom>
            <a:noFill/>
          </p:spPr>
          <p:txBody>
            <a:bodyPr wrap="square" lIns="0" tIns="0" rIns="0" bIns="0">
              <a:spAutoFit/>
            </a:bodyPr>
            <a:lstStyle/>
            <a:p>
              <a:pPr marL="0" marR="0" lvl="0" indent="0" algn="l" defTabSz="150735" rtl="0" eaLnBrk="1" fontAlgn="auto" latinLnBrk="0" hangingPunct="1">
                <a:lnSpc>
                  <a:spcPct val="100000"/>
                </a:lnSpc>
                <a:spcBef>
                  <a:spcPts val="0"/>
                </a:spcBef>
                <a:spcAft>
                  <a:spcPts val="0"/>
                </a:spcAft>
                <a:buClrTx/>
                <a:buSzTx/>
                <a:buFontTx/>
                <a:buNone/>
                <a:tabLst/>
                <a:defRPr/>
              </a:pPr>
              <a:r>
                <a:rPr kumimoji="0" lang="en-US" sz="1051" b="0" i="0" u="none" strike="noStrike" kern="0" cap="none" spc="11" normalizeH="0" baseline="0" noProof="0">
                  <a:ln>
                    <a:noFill/>
                  </a:ln>
                  <a:solidFill>
                    <a:schemeClr val="bg1">
                      <a:alpha val="80000"/>
                    </a:schemeClr>
                  </a:solidFill>
                  <a:effectLst/>
                  <a:uLnTx/>
                  <a:uFillTx/>
                  <a:latin typeface="ES Build Neutral"/>
                  <a:ea typeface="Tahoma" panose="020B0604030504040204" pitchFamily="34" charset="0"/>
                  <a:cs typeface="+mn-cs"/>
                </a:rPr>
                <a:t>Worldwide Semiannual Software Tracker </a:t>
              </a:r>
              <a:br>
                <a:rPr kumimoji="0" lang="en-US" sz="1051" b="0" i="0" u="none" strike="noStrike" kern="0" cap="none" spc="11" normalizeH="0" baseline="0" noProof="0">
                  <a:ln>
                    <a:noFill/>
                  </a:ln>
                  <a:solidFill>
                    <a:schemeClr val="bg1">
                      <a:alpha val="80000"/>
                    </a:schemeClr>
                  </a:solidFill>
                  <a:effectLst/>
                  <a:uLnTx/>
                  <a:uFillTx/>
                  <a:latin typeface="ES Build Neutral"/>
                  <a:ea typeface="Tahoma" panose="020B0604030504040204" pitchFamily="34" charset="0"/>
                  <a:cs typeface="+mn-cs"/>
                </a:rPr>
              </a:br>
              <a:r>
                <a:rPr kumimoji="0" lang="en-US" sz="1051" b="0" i="0" u="none" strike="noStrike" kern="0" cap="none" spc="11" normalizeH="0" baseline="0" noProof="0">
                  <a:ln>
                    <a:noFill/>
                  </a:ln>
                  <a:solidFill>
                    <a:schemeClr val="bg1">
                      <a:alpha val="80000"/>
                    </a:schemeClr>
                  </a:solidFill>
                  <a:effectLst/>
                  <a:uLnTx/>
                  <a:uFillTx/>
                  <a:latin typeface="ES Build Neutral"/>
                  <a:ea typeface="Tahoma" panose="020B0604030504040204" pitchFamily="34" charset="0"/>
                  <a:cs typeface="+mn-cs"/>
                </a:rPr>
                <a:t>for Data Replication &amp; Protection</a:t>
              </a:r>
              <a:endParaRPr kumimoji="0" lang="en-US" sz="1051" b="0" i="0" u="none" strike="noStrike" kern="0" cap="none" spc="0" normalizeH="0" baseline="0" noProof="0">
                <a:ln>
                  <a:noFill/>
                </a:ln>
                <a:solidFill>
                  <a:schemeClr val="bg1">
                    <a:alpha val="80000"/>
                  </a:schemeClr>
                </a:solidFill>
                <a:effectLst/>
                <a:uLnTx/>
                <a:uFillTx/>
                <a:latin typeface="ES Build Neutral"/>
                <a:ea typeface="+mn-ea"/>
                <a:cs typeface="+mn-cs"/>
              </a:endParaRPr>
            </a:p>
          </p:txBody>
        </p:sp>
        <p:pic>
          <p:nvPicPr>
            <p:cNvPr id="7" name="Graphic 6">
              <a:extLst>
                <a:ext uri="{FF2B5EF4-FFF2-40B4-BE49-F238E27FC236}">
                  <a16:creationId xmlns:a16="http://schemas.microsoft.com/office/drawing/2014/main" id="{769B97E8-025C-595B-74D6-0C1A68A9640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28104" y="5817885"/>
              <a:ext cx="1251076" cy="379114"/>
            </a:xfrm>
            <a:prstGeom prst="rect">
              <a:avLst/>
            </a:prstGeom>
          </p:spPr>
        </p:pic>
      </p:grpSp>
      <p:grpSp>
        <p:nvGrpSpPr>
          <p:cNvPr id="11" name="Commvault">
            <a:extLst>
              <a:ext uri="{FF2B5EF4-FFF2-40B4-BE49-F238E27FC236}">
                <a16:creationId xmlns:a16="http://schemas.microsoft.com/office/drawing/2014/main" id="{5B249DC0-ACB8-E643-68C5-B98FCB6C1920}"/>
              </a:ext>
            </a:extLst>
          </p:cNvPr>
          <p:cNvGrpSpPr/>
          <p:nvPr/>
        </p:nvGrpSpPr>
        <p:grpSpPr>
          <a:xfrm>
            <a:off x="560295" y="5007754"/>
            <a:ext cx="612000" cy="612000"/>
            <a:chOff x="4278036" y="3342397"/>
            <a:chExt cx="612000" cy="612000"/>
          </a:xfrm>
        </p:grpSpPr>
        <p:sp>
          <p:nvSpPr>
            <p:cNvPr id="12" name="Flowchart: Connector 52">
              <a:extLst>
                <a:ext uri="{FF2B5EF4-FFF2-40B4-BE49-F238E27FC236}">
                  <a16:creationId xmlns:a16="http://schemas.microsoft.com/office/drawing/2014/main" id="{CF2AD3D9-8A93-7737-1BFF-124F5C884B87}"/>
                </a:ext>
              </a:extLst>
            </p:cNvPr>
            <p:cNvSpPr>
              <a:spLocks noChangeAspect="1"/>
            </p:cNvSpPr>
            <p:nvPr/>
          </p:nvSpPr>
          <p:spPr>
            <a:xfrm>
              <a:off x="4278036" y="3342397"/>
              <a:ext cx="612000" cy="612000"/>
            </a:xfrm>
            <a:prstGeom prst="flowChartConnector">
              <a:avLst/>
            </a:prstGeom>
            <a:solidFill>
              <a:srgbClr val="FF4A6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96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ES Build" pitchFamily="50" charset="0"/>
                <a:ea typeface="+mn-ea"/>
                <a:cs typeface="Microsoft Sans Serif" panose="020B0604020202020204" pitchFamily="34" charset="0"/>
              </a:endParaRPr>
            </a:p>
          </p:txBody>
        </p:sp>
        <p:pic>
          <p:nvPicPr>
            <p:cNvPr id="13" name="Graphic 12">
              <a:extLst>
                <a:ext uri="{FF2B5EF4-FFF2-40B4-BE49-F238E27FC236}">
                  <a16:creationId xmlns:a16="http://schemas.microsoft.com/office/drawing/2014/main" id="{6B24CE8A-B9D0-375F-05B9-DE076BD6FE5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458036" y="3505672"/>
              <a:ext cx="252000" cy="285451"/>
            </a:xfrm>
            <a:prstGeom prst="rect">
              <a:avLst/>
            </a:prstGeom>
          </p:spPr>
        </p:pic>
      </p:grpSp>
      <p:grpSp>
        <p:nvGrpSpPr>
          <p:cNvPr id="14" name="Veritas">
            <a:extLst>
              <a:ext uri="{FF2B5EF4-FFF2-40B4-BE49-F238E27FC236}">
                <a16:creationId xmlns:a16="http://schemas.microsoft.com/office/drawing/2014/main" id="{3524B174-B86D-8CE3-15D4-FB812186403B}"/>
              </a:ext>
            </a:extLst>
          </p:cNvPr>
          <p:cNvGrpSpPr/>
          <p:nvPr/>
        </p:nvGrpSpPr>
        <p:grpSpPr>
          <a:xfrm>
            <a:off x="560295" y="1122028"/>
            <a:ext cx="612000" cy="612000"/>
            <a:chOff x="2497267" y="3222177"/>
            <a:chExt cx="612000" cy="612000"/>
          </a:xfrm>
        </p:grpSpPr>
        <p:sp>
          <p:nvSpPr>
            <p:cNvPr id="15" name="Flowchart: Connector 37">
              <a:extLst>
                <a:ext uri="{FF2B5EF4-FFF2-40B4-BE49-F238E27FC236}">
                  <a16:creationId xmlns:a16="http://schemas.microsoft.com/office/drawing/2014/main" id="{47FC65E6-4B76-DA18-D545-81697199ACCD}"/>
                </a:ext>
              </a:extLst>
            </p:cNvPr>
            <p:cNvSpPr>
              <a:spLocks noChangeAspect="1"/>
            </p:cNvSpPr>
            <p:nvPr/>
          </p:nvSpPr>
          <p:spPr>
            <a:xfrm>
              <a:off x="2497267" y="3222177"/>
              <a:ext cx="612000" cy="612000"/>
            </a:xfrm>
            <a:prstGeom prst="flowChartConnector">
              <a:avLst/>
            </a:prstGeom>
            <a:solidFill>
              <a:srgbClr val="B1181E"/>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96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ES Build" pitchFamily="50" charset="0"/>
                <a:ea typeface="+mn-ea"/>
                <a:cs typeface="Microsoft Sans Serif" panose="020B0604020202020204" pitchFamily="34" charset="0"/>
              </a:endParaRPr>
            </a:p>
          </p:txBody>
        </p:sp>
        <p:grpSp>
          <p:nvGrpSpPr>
            <p:cNvPr id="16" name="Graphic 5">
              <a:extLst>
                <a:ext uri="{FF2B5EF4-FFF2-40B4-BE49-F238E27FC236}">
                  <a16:creationId xmlns:a16="http://schemas.microsoft.com/office/drawing/2014/main" id="{8F2CA650-A40E-A8B8-1E99-E9D40D324D2D}"/>
                </a:ext>
              </a:extLst>
            </p:cNvPr>
            <p:cNvGrpSpPr/>
            <p:nvPr/>
          </p:nvGrpSpPr>
          <p:grpSpPr>
            <a:xfrm>
              <a:off x="2550288" y="3478534"/>
              <a:ext cx="505959" cy="99286"/>
              <a:chOff x="2555441" y="3451224"/>
              <a:chExt cx="505959" cy="99286"/>
            </a:xfrm>
            <a:solidFill>
              <a:schemeClr val="bg1"/>
            </a:solidFill>
          </p:grpSpPr>
          <p:sp>
            <p:nvSpPr>
              <p:cNvPr id="17" name="Freeform: Shape 39">
                <a:extLst>
                  <a:ext uri="{FF2B5EF4-FFF2-40B4-BE49-F238E27FC236}">
                    <a16:creationId xmlns:a16="http://schemas.microsoft.com/office/drawing/2014/main" id="{6738E940-4EBB-3493-A59C-A054F76EE4FF}"/>
                  </a:ext>
                </a:extLst>
              </p:cNvPr>
              <p:cNvSpPr/>
              <p:nvPr/>
            </p:nvSpPr>
            <p:spPr>
              <a:xfrm flipV="1">
                <a:off x="2721553" y="3457847"/>
                <a:ext cx="74679" cy="92663"/>
              </a:xfrm>
              <a:custGeom>
                <a:avLst/>
                <a:gdLst>
                  <a:gd name="connsiteX0" fmla="*/ 13586 w 74679"/>
                  <a:gd name="connsiteY0" fmla="*/ 72307 h 92663"/>
                  <a:gd name="connsiteX1" fmla="*/ 20378 w 74679"/>
                  <a:gd name="connsiteY1" fmla="*/ 79093 h 92663"/>
                  <a:gd name="connsiteX2" fmla="*/ 49792 w 74679"/>
                  <a:gd name="connsiteY2" fmla="*/ 79093 h 92663"/>
                  <a:gd name="connsiteX3" fmla="*/ 60360 w 74679"/>
                  <a:gd name="connsiteY3" fmla="*/ 71839 h 92663"/>
                  <a:gd name="connsiteX4" fmla="*/ 53852 w 74679"/>
                  <a:gd name="connsiteY4" fmla="*/ 57218 h 92663"/>
                  <a:gd name="connsiteX5" fmla="*/ 31058 w 74679"/>
                  <a:gd name="connsiteY5" fmla="*/ 48820 h 92663"/>
                  <a:gd name="connsiteX6" fmla="*/ 21238 w 74679"/>
                  <a:gd name="connsiteY6" fmla="*/ 28681 h 92663"/>
                  <a:gd name="connsiteX7" fmla="*/ 29772 w 74679"/>
                  <a:gd name="connsiteY7" fmla="*/ 19364 h 92663"/>
                  <a:gd name="connsiteX8" fmla="*/ 72420 w 74679"/>
                  <a:gd name="connsiteY8" fmla="*/ 8 h 92663"/>
                  <a:gd name="connsiteX9" fmla="*/ 72420 w 74679"/>
                  <a:gd name="connsiteY9" fmla="*/ 14860 h 92663"/>
                  <a:gd name="connsiteX10" fmla="*/ 35112 w 74679"/>
                  <a:gd name="connsiteY10" fmla="*/ 31360 h 92663"/>
                  <a:gd name="connsiteX11" fmla="*/ 33648 w 74679"/>
                  <a:gd name="connsiteY11" fmla="*/ 32954 h 92663"/>
                  <a:gd name="connsiteX12" fmla="*/ 35331 w 74679"/>
                  <a:gd name="connsiteY12" fmla="*/ 36403 h 92663"/>
                  <a:gd name="connsiteX13" fmla="*/ 58712 w 74679"/>
                  <a:gd name="connsiteY13" fmla="*/ 44541 h 92663"/>
                  <a:gd name="connsiteX14" fmla="*/ 73031 w 74679"/>
                  <a:gd name="connsiteY14" fmla="*/ 76693 h 92663"/>
                  <a:gd name="connsiteX15" fmla="*/ 49792 w 74679"/>
                  <a:gd name="connsiteY15" fmla="*/ 92671 h 92663"/>
                  <a:gd name="connsiteX16" fmla="*/ 20378 w 74679"/>
                  <a:gd name="connsiteY16" fmla="*/ 92671 h 92663"/>
                  <a:gd name="connsiteX17" fmla="*/ 8 w 74679"/>
                  <a:gd name="connsiteY17" fmla="*/ 72307 h 92663"/>
                  <a:gd name="connsiteX18" fmla="*/ 8 w 74679"/>
                  <a:gd name="connsiteY18" fmla="*/ 2159 h 92663"/>
                  <a:gd name="connsiteX19" fmla="*/ 13586 w 74679"/>
                  <a:gd name="connsiteY19" fmla="*/ 2159 h 92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4679" h="92663">
                    <a:moveTo>
                      <a:pt x="13586" y="72307"/>
                    </a:moveTo>
                    <a:cubicBezTo>
                      <a:pt x="13586" y="76059"/>
                      <a:pt x="16627" y="79093"/>
                      <a:pt x="20378" y="79093"/>
                    </a:cubicBezTo>
                    <a:lnTo>
                      <a:pt x="49792" y="79093"/>
                    </a:lnTo>
                    <a:cubicBezTo>
                      <a:pt x="54344" y="79093"/>
                      <a:pt x="58629" y="76337"/>
                      <a:pt x="60360" y="71839"/>
                    </a:cubicBezTo>
                    <a:cubicBezTo>
                      <a:pt x="62600" y="66001"/>
                      <a:pt x="59684" y="59458"/>
                      <a:pt x="53852" y="57218"/>
                    </a:cubicBezTo>
                    <a:lnTo>
                      <a:pt x="31058" y="48820"/>
                    </a:lnTo>
                    <a:cubicBezTo>
                      <a:pt x="22784" y="45963"/>
                      <a:pt x="18393" y="36955"/>
                      <a:pt x="21238" y="28681"/>
                    </a:cubicBezTo>
                    <a:cubicBezTo>
                      <a:pt x="22725" y="24354"/>
                      <a:pt x="25902" y="21089"/>
                      <a:pt x="29772" y="19364"/>
                    </a:cubicBezTo>
                    <a:lnTo>
                      <a:pt x="72420" y="8"/>
                    </a:lnTo>
                    <a:lnTo>
                      <a:pt x="72420" y="14860"/>
                    </a:lnTo>
                    <a:lnTo>
                      <a:pt x="35112" y="31360"/>
                    </a:lnTo>
                    <a:cubicBezTo>
                      <a:pt x="34448" y="31650"/>
                      <a:pt x="33903" y="32213"/>
                      <a:pt x="33648" y="32954"/>
                    </a:cubicBezTo>
                    <a:cubicBezTo>
                      <a:pt x="33162" y="34371"/>
                      <a:pt x="33915" y="35917"/>
                      <a:pt x="35331" y="36403"/>
                    </a:cubicBezTo>
                    <a:lnTo>
                      <a:pt x="58712" y="44541"/>
                    </a:lnTo>
                    <a:cubicBezTo>
                      <a:pt x="71543" y="49466"/>
                      <a:pt x="77950" y="63862"/>
                      <a:pt x="73031" y="76693"/>
                    </a:cubicBezTo>
                    <a:cubicBezTo>
                      <a:pt x="69226" y="86590"/>
                      <a:pt x="59796" y="92671"/>
                      <a:pt x="49792" y="92671"/>
                    </a:cubicBezTo>
                    <a:lnTo>
                      <a:pt x="20378" y="92671"/>
                    </a:lnTo>
                    <a:cubicBezTo>
                      <a:pt x="9129" y="92671"/>
                      <a:pt x="8" y="83556"/>
                      <a:pt x="8" y="72307"/>
                    </a:cubicBezTo>
                    <a:lnTo>
                      <a:pt x="8" y="2159"/>
                    </a:lnTo>
                    <a:lnTo>
                      <a:pt x="13586" y="2159"/>
                    </a:lnTo>
                    <a:close/>
                  </a:path>
                </a:pathLst>
              </a:custGeom>
              <a:solidFill>
                <a:schemeClr val="bg1"/>
              </a:solidFill>
              <a:ln w="5824"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18" name="Freeform: Shape 40">
                <a:extLst>
                  <a:ext uri="{FF2B5EF4-FFF2-40B4-BE49-F238E27FC236}">
                    <a16:creationId xmlns:a16="http://schemas.microsoft.com/office/drawing/2014/main" id="{F15705CE-350A-DD79-4C1A-8B20328356C7}"/>
                  </a:ext>
                </a:extLst>
              </p:cNvPr>
              <p:cNvSpPr/>
              <p:nvPr/>
            </p:nvSpPr>
            <p:spPr>
              <a:xfrm>
                <a:off x="2809933" y="3457839"/>
                <a:ext cx="13579" cy="90518"/>
              </a:xfrm>
              <a:custGeom>
                <a:avLst/>
                <a:gdLst>
                  <a:gd name="connsiteX0" fmla="*/ -73 w 13579"/>
                  <a:gd name="connsiteY0" fmla="*/ 90345 h 90518"/>
                  <a:gd name="connsiteX1" fmla="*/ 13507 w 13579"/>
                  <a:gd name="connsiteY1" fmla="*/ 90345 h 90518"/>
                  <a:gd name="connsiteX2" fmla="*/ 13507 w 13579"/>
                  <a:gd name="connsiteY2" fmla="*/ -173 h 90518"/>
                  <a:gd name="connsiteX3" fmla="*/ -73 w 13579"/>
                  <a:gd name="connsiteY3" fmla="*/ -173 h 90518"/>
                </a:gdLst>
                <a:ahLst/>
                <a:cxnLst>
                  <a:cxn ang="0">
                    <a:pos x="connsiteX0" y="connsiteY0"/>
                  </a:cxn>
                  <a:cxn ang="0">
                    <a:pos x="connsiteX1" y="connsiteY1"/>
                  </a:cxn>
                  <a:cxn ang="0">
                    <a:pos x="connsiteX2" y="connsiteY2"/>
                  </a:cxn>
                  <a:cxn ang="0">
                    <a:pos x="connsiteX3" y="connsiteY3"/>
                  </a:cxn>
                </a:cxnLst>
                <a:rect l="l" t="t" r="r" b="b"/>
                <a:pathLst>
                  <a:path w="13579" h="90518">
                    <a:moveTo>
                      <a:pt x="-73" y="90345"/>
                    </a:moveTo>
                    <a:lnTo>
                      <a:pt x="13507" y="90345"/>
                    </a:lnTo>
                    <a:lnTo>
                      <a:pt x="13507" y="-173"/>
                    </a:lnTo>
                    <a:lnTo>
                      <a:pt x="-73" y="-173"/>
                    </a:lnTo>
                    <a:close/>
                  </a:path>
                </a:pathLst>
              </a:custGeom>
              <a:solidFill>
                <a:schemeClr val="bg1"/>
              </a:solidFill>
              <a:ln w="5824"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861"/>
                  </a:solidFill>
                  <a:effectLst/>
                  <a:uLnTx/>
                  <a:uFillTx/>
                  <a:latin typeface="ES Build Neutral"/>
                  <a:ea typeface="+mn-ea"/>
                  <a:cs typeface="+mn-cs"/>
                </a:endParaRPr>
              </a:p>
            </p:txBody>
          </p:sp>
          <p:grpSp>
            <p:nvGrpSpPr>
              <p:cNvPr id="19" name="Graphic 5">
                <a:extLst>
                  <a:ext uri="{FF2B5EF4-FFF2-40B4-BE49-F238E27FC236}">
                    <a16:creationId xmlns:a16="http://schemas.microsoft.com/office/drawing/2014/main" id="{D2B4B999-2BD2-F9DC-D4B6-C18052481A99}"/>
                  </a:ext>
                </a:extLst>
              </p:cNvPr>
              <p:cNvGrpSpPr/>
              <p:nvPr/>
            </p:nvGrpSpPr>
            <p:grpSpPr>
              <a:xfrm>
                <a:off x="2555441" y="3457847"/>
                <a:ext cx="416864" cy="90518"/>
                <a:chOff x="2555441" y="3457847"/>
                <a:chExt cx="416864" cy="90518"/>
              </a:xfrm>
              <a:solidFill>
                <a:schemeClr val="bg1"/>
              </a:solidFill>
            </p:grpSpPr>
            <p:sp>
              <p:nvSpPr>
                <p:cNvPr id="23" name="Freeform: Shape 45">
                  <a:extLst>
                    <a:ext uri="{FF2B5EF4-FFF2-40B4-BE49-F238E27FC236}">
                      <a16:creationId xmlns:a16="http://schemas.microsoft.com/office/drawing/2014/main" id="{2736D717-1D2D-8D89-88E6-12532B08EFCF}"/>
                    </a:ext>
                  </a:extLst>
                </p:cNvPr>
                <p:cNvSpPr/>
                <p:nvPr/>
              </p:nvSpPr>
              <p:spPr>
                <a:xfrm flipV="1">
                  <a:off x="2555441" y="3457847"/>
                  <a:ext cx="81462" cy="90518"/>
                </a:xfrm>
                <a:custGeom>
                  <a:avLst/>
                  <a:gdLst>
                    <a:gd name="connsiteX0" fmla="*/ 67192 w 81462"/>
                    <a:gd name="connsiteY0" fmla="*/ 90529 h 90518"/>
                    <a:gd name="connsiteX1" fmla="*/ 42886 w 81462"/>
                    <a:gd name="connsiteY1" fmla="*/ 15159 h 90518"/>
                    <a:gd name="connsiteX2" fmla="*/ 40735 w 81462"/>
                    <a:gd name="connsiteY2" fmla="*/ 13595 h 90518"/>
                    <a:gd name="connsiteX3" fmla="*/ 38584 w 81462"/>
                    <a:gd name="connsiteY3" fmla="*/ 15159 h 90518"/>
                    <a:gd name="connsiteX4" fmla="*/ 14278 w 81462"/>
                    <a:gd name="connsiteY4" fmla="*/ 90529 h 90518"/>
                    <a:gd name="connsiteX5" fmla="*/ 7 w 81462"/>
                    <a:gd name="connsiteY5" fmla="*/ 90529 h 90518"/>
                    <a:gd name="connsiteX6" fmla="*/ 25670 w 81462"/>
                    <a:gd name="connsiteY6" fmla="*/ 10963 h 90518"/>
                    <a:gd name="connsiteX7" fmla="*/ 40735 w 81462"/>
                    <a:gd name="connsiteY7" fmla="*/ 11 h 90518"/>
                    <a:gd name="connsiteX8" fmla="*/ 55801 w 81462"/>
                    <a:gd name="connsiteY8" fmla="*/ 10963 h 90518"/>
                    <a:gd name="connsiteX9" fmla="*/ 81469 w 81462"/>
                    <a:gd name="connsiteY9" fmla="*/ 90529 h 90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1462" h="90518">
                      <a:moveTo>
                        <a:pt x="67192" y="90529"/>
                      </a:moveTo>
                      <a:lnTo>
                        <a:pt x="42886" y="15159"/>
                      </a:lnTo>
                      <a:cubicBezTo>
                        <a:pt x="42578" y="14199"/>
                        <a:pt x="41695" y="13595"/>
                        <a:pt x="40735" y="13595"/>
                      </a:cubicBezTo>
                      <a:cubicBezTo>
                        <a:pt x="39775" y="13595"/>
                        <a:pt x="38939" y="14170"/>
                        <a:pt x="38584" y="15159"/>
                      </a:cubicBezTo>
                      <a:lnTo>
                        <a:pt x="14278" y="90529"/>
                      </a:lnTo>
                      <a:lnTo>
                        <a:pt x="7" y="90529"/>
                      </a:lnTo>
                      <a:lnTo>
                        <a:pt x="25670" y="10963"/>
                      </a:lnTo>
                      <a:cubicBezTo>
                        <a:pt x="27833" y="4296"/>
                        <a:pt x="34008" y="11"/>
                        <a:pt x="40735" y="11"/>
                      </a:cubicBezTo>
                      <a:cubicBezTo>
                        <a:pt x="47468" y="11"/>
                        <a:pt x="53626" y="4266"/>
                        <a:pt x="55801" y="10963"/>
                      </a:cubicBezTo>
                      <a:lnTo>
                        <a:pt x="81469" y="90529"/>
                      </a:lnTo>
                      <a:close/>
                    </a:path>
                  </a:pathLst>
                </a:custGeom>
                <a:solidFill>
                  <a:schemeClr val="bg1"/>
                </a:solidFill>
                <a:ln w="5824"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24" name="Freeform: Shape 46">
                  <a:extLst>
                    <a:ext uri="{FF2B5EF4-FFF2-40B4-BE49-F238E27FC236}">
                      <a16:creationId xmlns:a16="http://schemas.microsoft.com/office/drawing/2014/main" id="{46F45F9D-A775-CBF7-B0D7-E5B292360FF5}"/>
                    </a:ext>
                  </a:extLst>
                </p:cNvPr>
                <p:cNvSpPr/>
                <p:nvPr/>
              </p:nvSpPr>
              <p:spPr>
                <a:xfrm flipV="1">
                  <a:off x="2890837" y="3457847"/>
                  <a:ext cx="81468" cy="90518"/>
                </a:xfrm>
                <a:custGeom>
                  <a:avLst/>
                  <a:gdLst>
                    <a:gd name="connsiteX0" fmla="*/ 14295 w 81468"/>
                    <a:gd name="connsiteY0" fmla="*/ -4 h 90518"/>
                    <a:gd name="connsiteX1" fmla="*/ 38601 w 81468"/>
                    <a:gd name="connsiteY1" fmla="*/ 75365 h 90518"/>
                    <a:gd name="connsiteX2" fmla="*/ 40752 w 81468"/>
                    <a:gd name="connsiteY2" fmla="*/ 76930 h 90518"/>
                    <a:gd name="connsiteX3" fmla="*/ 42903 w 81468"/>
                    <a:gd name="connsiteY3" fmla="*/ 75371 h 90518"/>
                    <a:gd name="connsiteX4" fmla="*/ 67209 w 81468"/>
                    <a:gd name="connsiteY4" fmla="*/ -4 h 90518"/>
                    <a:gd name="connsiteX5" fmla="*/ 81486 w 81468"/>
                    <a:gd name="connsiteY5" fmla="*/ -4 h 90518"/>
                    <a:gd name="connsiteX6" fmla="*/ 55818 w 81468"/>
                    <a:gd name="connsiteY6" fmla="*/ 79567 h 90518"/>
                    <a:gd name="connsiteX7" fmla="*/ 40752 w 81468"/>
                    <a:gd name="connsiteY7" fmla="*/ 90514 h 90518"/>
                    <a:gd name="connsiteX8" fmla="*/ 25686 w 81468"/>
                    <a:gd name="connsiteY8" fmla="*/ 79561 h 90518"/>
                    <a:gd name="connsiteX9" fmla="*/ 18 w 81468"/>
                    <a:gd name="connsiteY9" fmla="*/ -4 h 90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1468" h="90518">
                      <a:moveTo>
                        <a:pt x="14295" y="-4"/>
                      </a:moveTo>
                      <a:lnTo>
                        <a:pt x="38601" y="75365"/>
                      </a:lnTo>
                      <a:cubicBezTo>
                        <a:pt x="38909" y="76325"/>
                        <a:pt x="39786" y="76930"/>
                        <a:pt x="40752" y="76930"/>
                      </a:cubicBezTo>
                      <a:cubicBezTo>
                        <a:pt x="41712" y="76930"/>
                        <a:pt x="42548" y="76355"/>
                        <a:pt x="42903" y="75371"/>
                      </a:cubicBezTo>
                      <a:lnTo>
                        <a:pt x="67209" y="-4"/>
                      </a:lnTo>
                      <a:lnTo>
                        <a:pt x="81486" y="-4"/>
                      </a:lnTo>
                      <a:lnTo>
                        <a:pt x="55818" y="79567"/>
                      </a:lnTo>
                      <a:cubicBezTo>
                        <a:pt x="53654" y="86229"/>
                        <a:pt x="47479" y="90514"/>
                        <a:pt x="40752" y="90514"/>
                      </a:cubicBezTo>
                      <a:cubicBezTo>
                        <a:pt x="34019" y="90514"/>
                        <a:pt x="27862" y="86258"/>
                        <a:pt x="25686" y="79561"/>
                      </a:cubicBezTo>
                      <a:lnTo>
                        <a:pt x="18" y="-4"/>
                      </a:lnTo>
                      <a:close/>
                    </a:path>
                  </a:pathLst>
                </a:custGeom>
                <a:solidFill>
                  <a:schemeClr val="bg1"/>
                </a:solidFill>
                <a:ln w="5824"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25" name="Freeform: Shape 47">
                  <a:extLst>
                    <a:ext uri="{FF2B5EF4-FFF2-40B4-BE49-F238E27FC236}">
                      <a16:creationId xmlns:a16="http://schemas.microsoft.com/office/drawing/2014/main" id="{CF7A0533-0CDC-287B-C981-AF9EE838C7CB}"/>
                    </a:ext>
                  </a:extLst>
                </p:cNvPr>
                <p:cNvSpPr/>
                <p:nvPr/>
              </p:nvSpPr>
              <p:spPr>
                <a:xfrm flipV="1">
                  <a:off x="2642017" y="3457847"/>
                  <a:ext cx="65620" cy="90518"/>
                </a:xfrm>
                <a:custGeom>
                  <a:avLst/>
                  <a:gdLst>
                    <a:gd name="connsiteX0" fmla="*/ 22634 w 65620"/>
                    <a:gd name="connsiteY0" fmla="*/ 76949 h 90518"/>
                    <a:gd name="connsiteX1" fmla="*/ 65626 w 65620"/>
                    <a:gd name="connsiteY1" fmla="*/ 76949 h 90518"/>
                    <a:gd name="connsiteX2" fmla="*/ 65626 w 65620"/>
                    <a:gd name="connsiteY2" fmla="*/ 90527 h 90518"/>
                    <a:gd name="connsiteX3" fmla="*/ 22634 w 65620"/>
                    <a:gd name="connsiteY3" fmla="*/ 90527 h 90518"/>
                    <a:gd name="connsiteX4" fmla="*/ 6 w 65620"/>
                    <a:gd name="connsiteY4" fmla="*/ 67899 h 90518"/>
                    <a:gd name="connsiteX5" fmla="*/ 6 w 65620"/>
                    <a:gd name="connsiteY5" fmla="*/ 22637 h 90518"/>
                    <a:gd name="connsiteX6" fmla="*/ 22634 w 65620"/>
                    <a:gd name="connsiteY6" fmla="*/ 9 h 90518"/>
                    <a:gd name="connsiteX7" fmla="*/ 65626 w 65620"/>
                    <a:gd name="connsiteY7" fmla="*/ 9 h 90518"/>
                    <a:gd name="connsiteX8" fmla="*/ 65626 w 65620"/>
                    <a:gd name="connsiteY8" fmla="*/ 13587 h 90518"/>
                    <a:gd name="connsiteX9" fmla="*/ 22634 w 65620"/>
                    <a:gd name="connsiteY9" fmla="*/ 13587 h 90518"/>
                    <a:gd name="connsiteX10" fmla="*/ 13584 w 65620"/>
                    <a:gd name="connsiteY10" fmla="*/ 22637 h 90518"/>
                    <a:gd name="connsiteX11" fmla="*/ 13584 w 65620"/>
                    <a:gd name="connsiteY11" fmla="*/ 38591 h 90518"/>
                    <a:gd name="connsiteX12" fmla="*/ 56576 w 65620"/>
                    <a:gd name="connsiteY12" fmla="*/ 38591 h 90518"/>
                    <a:gd name="connsiteX13" fmla="*/ 56576 w 65620"/>
                    <a:gd name="connsiteY13" fmla="*/ 51944 h 90518"/>
                    <a:gd name="connsiteX14" fmla="*/ 13584 w 65620"/>
                    <a:gd name="connsiteY14" fmla="*/ 51944 h 90518"/>
                    <a:gd name="connsiteX15" fmla="*/ 13584 w 65620"/>
                    <a:gd name="connsiteY15" fmla="*/ 67899 h 90518"/>
                    <a:gd name="connsiteX16" fmla="*/ 22634 w 65620"/>
                    <a:gd name="connsiteY16" fmla="*/ 76949 h 90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5620" h="90518">
                      <a:moveTo>
                        <a:pt x="22634" y="76949"/>
                      </a:moveTo>
                      <a:lnTo>
                        <a:pt x="65626" y="76949"/>
                      </a:lnTo>
                      <a:lnTo>
                        <a:pt x="65626" y="90527"/>
                      </a:lnTo>
                      <a:lnTo>
                        <a:pt x="22634" y="90527"/>
                      </a:lnTo>
                      <a:cubicBezTo>
                        <a:pt x="10134" y="90527"/>
                        <a:pt x="6" y="80392"/>
                        <a:pt x="6" y="67899"/>
                      </a:cubicBezTo>
                      <a:lnTo>
                        <a:pt x="6" y="22637"/>
                      </a:lnTo>
                      <a:cubicBezTo>
                        <a:pt x="6" y="10143"/>
                        <a:pt x="10134" y="9"/>
                        <a:pt x="22634" y="9"/>
                      </a:cubicBezTo>
                      <a:lnTo>
                        <a:pt x="65626" y="9"/>
                      </a:lnTo>
                      <a:lnTo>
                        <a:pt x="65626" y="13587"/>
                      </a:lnTo>
                      <a:lnTo>
                        <a:pt x="22634" y="13587"/>
                      </a:lnTo>
                      <a:cubicBezTo>
                        <a:pt x="17637" y="13587"/>
                        <a:pt x="13584" y="17640"/>
                        <a:pt x="13584" y="22637"/>
                      </a:cubicBezTo>
                      <a:lnTo>
                        <a:pt x="13584" y="38591"/>
                      </a:lnTo>
                      <a:lnTo>
                        <a:pt x="56576" y="38591"/>
                      </a:lnTo>
                      <a:lnTo>
                        <a:pt x="56576" y="51944"/>
                      </a:lnTo>
                      <a:lnTo>
                        <a:pt x="13584" y="51944"/>
                      </a:lnTo>
                      <a:lnTo>
                        <a:pt x="13584" y="67899"/>
                      </a:lnTo>
                      <a:cubicBezTo>
                        <a:pt x="13584" y="72895"/>
                        <a:pt x="17637" y="76949"/>
                        <a:pt x="22634" y="76949"/>
                      </a:cubicBezTo>
                    </a:path>
                  </a:pathLst>
                </a:custGeom>
                <a:solidFill>
                  <a:schemeClr val="bg1"/>
                </a:solidFill>
                <a:ln w="5824"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861"/>
                    </a:solidFill>
                    <a:effectLst/>
                    <a:uLnTx/>
                    <a:uFillTx/>
                    <a:latin typeface="ES Build Neutral"/>
                    <a:ea typeface="+mn-ea"/>
                    <a:cs typeface="+mn-cs"/>
                  </a:endParaRPr>
                </a:p>
              </p:txBody>
            </p:sp>
          </p:grpSp>
          <p:sp>
            <p:nvSpPr>
              <p:cNvPr id="20" name="Freeform: Shape 42">
                <a:extLst>
                  <a:ext uri="{FF2B5EF4-FFF2-40B4-BE49-F238E27FC236}">
                    <a16:creationId xmlns:a16="http://schemas.microsoft.com/office/drawing/2014/main" id="{46C9AB1D-213F-1981-59ED-E03D88AACDA2}"/>
                  </a:ext>
                </a:extLst>
              </p:cNvPr>
              <p:cNvSpPr/>
              <p:nvPr/>
            </p:nvSpPr>
            <p:spPr>
              <a:xfrm flipV="1">
                <a:off x="2834829" y="3457839"/>
                <a:ext cx="66076" cy="90518"/>
              </a:xfrm>
              <a:custGeom>
                <a:avLst/>
                <a:gdLst>
                  <a:gd name="connsiteX0" fmla="*/ 66101 w 66076"/>
                  <a:gd name="connsiteY0" fmla="*/ 90529 h 90518"/>
                  <a:gd name="connsiteX1" fmla="*/ 24 w 66076"/>
                  <a:gd name="connsiteY1" fmla="*/ 90529 h 90518"/>
                  <a:gd name="connsiteX2" fmla="*/ 24 w 66076"/>
                  <a:gd name="connsiteY2" fmla="*/ 76951 h 90518"/>
                  <a:gd name="connsiteX3" fmla="*/ 26274 w 66076"/>
                  <a:gd name="connsiteY3" fmla="*/ 76951 h 90518"/>
                  <a:gd name="connsiteX4" fmla="*/ 26274 w 66076"/>
                  <a:gd name="connsiteY4" fmla="*/ 11 h 90518"/>
                  <a:gd name="connsiteX5" fmla="*/ 39852 w 66076"/>
                  <a:gd name="connsiteY5" fmla="*/ 11 h 90518"/>
                  <a:gd name="connsiteX6" fmla="*/ 39852 w 66076"/>
                  <a:gd name="connsiteY6" fmla="*/ 76951 h 90518"/>
                  <a:gd name="connsiteX7" fmla="*/ 66101 w 66076"/>
                  <a:gd name="connsiteY7" fmla="*/ 76951 h 90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076" h="90518">
                    <a:moveTo>
                      <a:pt x="66101" y="90529"/>
                    </a:moveTo>
                    <a:lnTo>
                      <a:pt x="24" y="90529"/>
                    </a:lnTo>
                    <a:lnTo>
                      <a:pt x="24" y="76951"/>
                    </a:lnTo>
                    <a:lnTo>
                      <a:pt x="26274" y="76951"/>
                    </a:lnTo>
                    <a:lnTo>
                      <a:pt x="26274" y="11"/>
                    </a:lnTo>
                    <a:lnTo>
                      <a:pt x="39852" y="11"/>
                    </a:lnTo>
                    <a:lnTo>
                      <a:pt x="39852" y="76951"/>
                    </a:lnTo>
                    <a:lnTo>
                      <a:pt x="66101" y="76951"/>
                    </a:lnTo>
                    <a:close/>
                  </a:path>
                </a:pathLst>
              </a:custGeom>
              <a:solidFill>
                <a:schemeClr val="bg1"/>
              </a:solidFill>
              <a:ln w="5824"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21" name="Freeform: Shape 43">
                <a:extLst>
                  <a:ext uri="{FF2B5EF4-FFF2-40B4-BE49-F238E27FC236}">
                    <a16:creationId xmlns:a16="http://schemas.microsoft.com/office/drawing/2014/main" id="{1808CF6C-C7F4-58ED-D14F-0737193EF699}"/>
                  </a:ext>
                </a:extLst>
              </p:cNvPr>
              <p:cNvSpPr/>
              <p:nvPr/>
            </p:nvSpPr>
            <p:spPr>
              <a:xfrm flipV="1">
                <a:off x="2974077" y="3457847"/>
                <a:ext cx="74676" cy="90518"/>
              </a:xfrm>
              <a:custGeom>
                <a:avLst/>
                <a:gdLst>
                  <a:gd name="connsiteX0" fmla="*/ 48681 w 74676"/>
                  <a:gd name="connsiteY0" fmla="*/ -4 h 90518"/>
                  <a:gd name="connsiteX1" fmla="*/ 74705 w 74676"/>
                  <a:gd name="connsiteY1" fmla="*/ 26020 h 90518"/>
                  <a:gd name="connsiteX2" fmla="*/ 48681 w 74676"/>
                  <a:gd name="connsiteY2" fmla="*/ 52044 h 90518"/>
                  <a:gd name="connsiteX3" fmla="*/ 26053 w 74676"/>
                  <a:gd name="connsiteY3" fmla="*/ 52044 h 90518"/>
                  <a:gd name="connsiteX4" fmla="*/ 13601 w 74676"/>
                  <a:gd name="connsiteY4" fmla="*/ 64490 h 90518"/>
                  <a:gd name="connsiteX5" fmla="*/ 26053 w 74676"/>
                  <a:gd name="connsiteY5" fmla="*/ 76936 h 90518"/>
                  <a:gd name="connsiteX6" fmla="*/ 70177 w 74676"/>
                  <a:gd name="connsiteY6" fmla="*/ 76936 h 90518"/>
                  <a:gd name="connsiteX7" fmla="*/ 70177 w 74676"/>
                  <a:gd name="connsiteY7" fmla="*/ 90514 h 90518"/>
                  <a:gd name="connsiteX8" fmla="*/ 26053 w 74676"/>
                  <a:gd name="connsiteY8" fmla="*/ 90514 h 90518"/>
                  <a:gd name="connsiteX9" fmla="*/ 29 w 74676"/>
                  <a:gd name="connsiteY9" fmla="*/ 64490 h 90518"/>
                  <a:gd name="connsiteX10" fmla="*/ 26053 w 74676"/>
                  <a:gd name="connsiteY10" fmla="*/ 38466 h 90518"/>
                  <a:gd name="connsiteX11" fmla="*/ 48681 w 74676"/>
                  <a:gd name="connsiteY11" fmla="*/ 38460 h 90518"/>
                  <a:gd name="connsiteX12" fmla="*/ 61127 w 74676"/>
                  <a:gd name="connsiteY12" fmla="*/ 26020 h 90518"/>
                  <a:gd name="connsiteX13" fmla="*/ 48681 w 74676"/>
                  <a:gd name="connsiteY13" fmla="*/ 13574 h 90518"/>
                  <a:gd name="connsiteX14" fmla="*/ 4551 w 74676"/>
                  <a:gd name="connsiteY14" fmla="*/ 13574 h 90518"/>
                  <a:gd name="connsiteX15" fmla="*/ 4551 w 74676"/>
                  <a:gd name="connsiteY15" fmla="*/ -4 h 90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4676" h="90518">
                    <a:moveTo>
                      <a:pt x="48681" y="-4"/>
                    </a:moveTo>
                    <a:cubicBezTo>
                      <a:pt x="63053" y="-4"/>
                      <a:pt x="74705" y="11647"/>
                      <a:pt x="74705" y="26020"/>
                    </a:cubicBezTo>
                    <a:cubicBezTo>
                      <a:pt x="74705" y="40392"/>
                      <a:pt x="63053" y="52044"/>
                      <a:pt x="48681" y="52044"/>
                    </a:cubicBezTo>
                    <a:lnTo>
                      <a:pt x="26053" y="52044"/>
                    </a:lnTo>
                    <a:cubicBezTo>
                      <a:pt x="19178" y="52044"/>
                      <a:pt x="13601" y="57615"/>
                      <a:pt x="13601" y="64490"/>
                    </a:cubicBezTo>
                    <a:cubicBezTo>
                      <a:pt x="13601" y="71365"/>
                      <a:pt x="19178" y="76936"/>
                      <a:pt x="26053" y="76936"/>
                    </a:cubicBezTo>
                    <a:lnTo>
                      <a:pt x="70177" y="76936"/>
                    </a:lnTo>
                    <a:lnTo>
                      <a:pt x="70177" y="90514"/>
                    </a:lnTo>
                    <a:lnTo>
                      <a:pt x="26053" y="90514"/>
                    </a:lnTo>
                    <a:cubicBezTo>
                      <a:pt x="11681" y="90514"/>
                      <a:pt x="29" y="78862"/>
                      <a:pt x="29" y="64490"/>
                    </a:cubicBezTo>
                    <a:cubicBezTo>
                      <a:pt x="29" y="50117"/>
                      <a:pt x="11681" y="38466"/>
                      <a:pt x="26053" y="38466"/>
                    </a:cubicBezTo>
                    <a:lnTo>
                      <a:pt x="48681" y="38460"/>
                    </a:lnTo>
                    <a:cubicBezTo>
                      <a:pt x="55556" y="38460"/>
                      <a:pt x="61127" y="32889"/>
                      <a:pt x="61127" y="26020"/>
                    </a:cubicBezTo>
                    <a:cubicBezTo>
                      <a:pt x="61127" y="19145"/>
                      <a:pt x="55556" y="13574"/>
                      <a:pt x="48681" y="13574"/>
                    </a:cubicBezTo>
                    <a:lnTo>
                      <a:pt x="4551" y="13574"/>
                    </a:lnTo>
                    <a:lnTo>
                      <a:pt x="4551" y="-4"/>
                    </a:lnTo>
                    <a:close/>
                  </a:path>
                </a:pathLst>
              </a:custGeom>
              <a:solidFill>
                <a:schemeClr val="bg1"/>
              </a:solidFill>
              <a:ln w="5824"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22" name="Freeform: Shape 44">
                <a:extLst>
                  <a:ext uri="{FF2B5EF4-FFF2-40B4-BE49-F238E27FC236}">
                    <a16:creationId xmlns:a16="http://schemas.microsoft.com/office/drawing/2014/main" id="{8AC1FE9C-C927-17E1-07CF-045ECCF3B2C1}"/>
                  </a:ext>
                </a:extLst>
              </p:cNvPr>
              <p:cNvSpPr/>
              <p:nvPr/>
            </p:nvSpPr>
            <p:spPr>
              <a:xfrm flipV="1">
                <a:off x="3048741" y="3451224"/>
                <a:ext cx="12659" cy="6620"/>
              </a:xfrm>
              <a:custGeom>
                <a:avLst/>
                <a:gdLst>
                  <a:gd name="connsiteX0" fmla="*/ 9400 w 12659"/>
                  <a:gd name="connsiteY0" fmla="*/ 1618 h 6620"/>
                  <a:gd name="connsiteX1" fmla="*/ 9815 w 12659"/>
                  <a:gd name="connsiteY1" fmla="*/ 2792 h 6620"/>
                  <a:gd name="connsiteX2" fmla="*/ 11315 w 12659"/>
                  <a:gd name="connsiteY2" fmla="*/ 6620 h 6620"/>
                  <a:gd name="connsiteX3" fmla="*/ 12690 w 12659"/>
                  <a:gd name="connsiteY3" fmla="*/ 6620 h 6620"/>
                  <a:gd name="connsiteX4" fmla="*/ 12690 w 12659"/>
                  <a:gd name="connsiteY4" fmla="*/ 0 h 6620"/>
                  <a:gd name="connsiteX5" fmla="*/ 11558 w 12659"/>
                  <a:gd name="connsiteY5" fmla="*/ 0 h 6620"/>
                  <a:gd name="connsiteX6" fmla="*/ 11558 w 12659"/>
                  <a:gd name="connsiteY6" fmla="*/ 3236 h 6620"/>
                  <a:gd name="connsiteX7" fmla="*/ 11581 w 12659"/>
                  <a:gd name="connsiteY7" fmla="*/ 4368 h 6620"/>
                  <a:gd name="connsiteX8" fmla="*/ 11214 w 12659"/>
                  <a:gd name="connsiteY8" fmla="*/ 3432 h 6620"/>
                  <a:gd name="connsiteX9" fmla="*/ 9892 w 12659"/>
                  <a:gd name="connsiteY9" fmla="*/ 0 h 6620"/>
                  <a:gd name="connsiteX10" fmla="*/ 8909 w 12659"/>
                  <a:gd name="connsiteY10" fmla="*/ 0 h 6620"/>
                  <a:gd name="connsiteX11" fmla="*/ 7587 w 12659"/>
                  <a:gd name="connsiteY11" fmla="*/ 3432 h 6620"/>
                  <a:gd name="connsiteX12" fmla="*/ 7219 w 12659"/>
                  <a:gd name="connsiteY12" fmla="*/ 4368 h 6620"/>
                  <a:gd name="connsiteX13" fmla="*/ 7243 w 12659"/>
                  <a:gd name="connsiteY13" fmla="*/ 3236 h 6620"/>
                  <a:gd name="connsiteX14" fmla="*/ 7243 w 12659"/>
                  <a:gd name="connsiteY14" fmla="*/ 0 h 6620"/>
                  <a:gd name="connsiteX15" fmla="*/ 6111 w 12659"/>
                  <a:gd name="connsiteY15" fmla="*/ 0 h 6620"/>
                  <a:gd name="connsiteX16" fmla="*/ 6111 w 12659"/>
                  <a:gd name="connsiteY16" fmla="*/ 6620 h 6620"/>
                  <a:gd name="connsiteX17" fmla="*/ 7486 w 12659"/>
                  <a:gd name="connsiteY17" fmla="*/ 6620 h 6620"/>
                  <a:gd name="connsiteX18" fmla="*/ 8980 w 12659"/>
                  <a:gd name="connsiteY18" fmla="*/ 2792 h 6620"/>
                  <a:gd name="connsiteX19" fmla="*/ 3172 w 12659"/>
                  <a:gd name="connsiteY19" fmla="*/ 0 h 6620"/>
                  <a:gd name="connsiteX20" fmla="*/ 1992 w 12659"/>
                  <a:gd name="connsiteY20" fmla="*/ 0 h 6620"/>
                  <a:gd name="connsiteX21" fmla="*/ 1992 w 12659"/>
                  <a:gd name="connsiteY21" fmla="*/ 5518 h 6620"/>
                  <a:gd name="connsiteX22" fmla="*/ 30 w 12659"/>
                  <a:gd name="connsiteY22" fmla="*/ 5518 h 6620"/>
                  <a:gd name="connsiteX23" fmla="*/ 30 w 12659"/>
                  <a:gd name="connsiteY23" fmla="*/ 6620 h 6620"/>
                  <a:gd name="connsiteX24" fmla="*/ 5157 w 12659"/>
                  <a:gd name="connsiteY24" fmla="*/ 6620 h 6620"/>
                  <a:gd name="connsiteX25" fmla="*/ 5157 w 12659"/>
                  <a:gd name="connsiteY25" fmla="*/ 5518 h 6620"/>
                  <a:gd name="connsiteX26" fmla="*/ 3172 w 12659"/>
                  <a:gd name="connsiteY26" fmla="*/ 5518 h 6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659" h="6620">
                    <a:moveTo>
                      <a:pt x="9400" y="1618"/>
                    </a:moveTo>
                    <a:lnTo>
                      <a:pt x="9815" y="2792"/>
                    </a:lnTo>
                    <a:lnTo>
                      <a:pt x="11315" y="6620"/>
                    </a:lnTo>
                    <a:lnTo>
                      <a:pt x="12690" y="6620"/>
                    </a:lnTo>
                    <a:lnTo>
                      <a:pt x="12690" y="0"/>
                    </a:lnTo>
                    <a:lnTo>
                      <a:pt x="11558" y="0"/>
                    </a:lnTo>
                    <a:lnTo>
                      <a:pt x="11558" y="3236"/>
                    </a:lnTo>
                    <a:lnTo>
                      <a:pt x="11581" y="4368"/>
                    </a:lnTo>
                    <a:lnTo>
                      <a:pt x="11214" y="3432"/>
                    </a:lnTo>
                    <a:lnTo>
                      <a:pt x="9892" y="0"/>
                    </a:lnTo>
                    <a:lnTo>
                      <a:pt x="8909" y="0"/>
                    </a:lnTo>
                    <a:lnTo>
                      <a:pt x="7587" y="3432"/>
                    </a:lnTo>
                    <a:lnTo>
                      <a:pt x="7219" y="4368"/>
                    </a:lnTo>
                    <a:lnTo>
                      <a:pt x="7243" y="3236"/>
                    </a:lnTo>
                    <a:lnTo>
                      <a:pt x="7243" y="0"/>
                    </a:lnTo>
                    <a:lnTo>
                      <a:pt x="6111" y="0"/>
                    </a:lnTo>
                    <a:lnTo>
                      <a:pt x="6111" y="6620"/>
                    </a:lnTo>
                    <a:lnTo>
                      <a:pt x="7486" y="6620"/>
                    </a:lnTo>
                    <a:lnTo>
                      <a:pt x="8980" y="2792"/>
                    </a:lnTo>
                    <a:close/>
                    <a:moveTo>
                      <a:pt x="3172" y="0"/>
                    </a:moveTo>
                    <a:lnTo>
                      <a:pt x="1992" y="0"/>
                    </a:lnTo>
                    <a:lnTo>
                      <a:pt x="1992" y="5518"/>
                    </a:lnTo>
                    <a:lnTo>
                      <a:pt x="30" y="5518"/>
                    </a:lnTo>
                    <a:lnTo>
                      <a:pt x="30" y="6620"/>
                    </a:lnTo>
                    <a:lnTo>
                      <a:pt x="5157" y="6620"/>
                    </a:lnTo>
                    <a:lnTo>
                      <a:pt x="5157" y="5518"/>
                    </a:lnTo>
                    <a:lnTo>
                      <a:pt x="3172" y="5518"/>
                    </a:lnTo>
                    <a:close/>
                  </a:path>
                </a:pathLst>
              </a:custGeom>
              <a:solidFill>
                <a:schemeClr val="bg1"/>
              </a:solidFill>
              <a:ln w="5824"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861"/>
                  </a:solidFill>
                  <a:effectLst/>
                  <a:uLnTx/>
                  <a:uFillTx/>
                  <a:latin typeface="ES Build Neutral"/>
                  <a:ea typeface="+mn-ea"/>
                  <a:cs typeface="+mn-cs"/>
                </a:endParaRPr>
              </a:p>
            </p:txBody>
          </p:sp>
        </p:grpSp>
      </p:grpSp>
      <p:grpSp>
        <p:nvGrpSpPr>
          <p:cNvPr id="26" name="IBM">
            <a:extLst>
              <a:ext uri="{FF2B5EF4-FFF2-40B4-BE49-F238E27FC236}">
                <a16:creationId xmlns:a16="http://schemas.microsoft.com/office/drawing/2014/main" id="{50563768-2D73-A99E-E6FA-B626138837C0}"/>
              </a:ext>
            </a:extLst>
          </p:cNvPr>
          <p:cNvGrpSpPr/>
          <p:nvPr/>
        </p:nvGrpSpPr>
        <p:grpSpPr>
          <a:xfrm>
            <a:off x="560295" y="2116222"/>
            <a:ext cx="612000" cy="612000"/>
            <a:chOff x="5021942" y="3203545"/>
            <a:chExt cx="612000" cy="612000"/>
          </a:xfrm>
        </p:grpSpPr>
        <p:sp>
          <p:nvSpPr>
            <p:cNvPr id="27" name="Flowchart: Connector 55">
              <a:extLst>
                <a:ext uri="{FF2B5EF4-FFF2-40B4-BE49-F238E27FC236}">
                  <a16:creationId xmlns:a16="http://schemas.microsoft.com/office/drawing/2014/main" id="{EFEA5601-372D-2098-70A9-01BFC0A0C945}"/>
                </a:ext>
              </a:extLst>
            </p:cNvPr>
            <p:cNvSpPr>
              <a:spLocks noChangeAspect="1"/>
            </p:cNvSpPr>
            <p:nvPr/>
          </p:nvSpPr>
          <p:spPr>
            <a:xfrm>
              <a:off x="5021942" y="3203545"/>
              <a:ext cx="612000" cy="612000"/>
            </a:xfrm>
            <a:prstGeom prst="flowChartConnector">
              <a:avLst/>
            </a:prstGeom>
            <a:solidFill>
              <a:schemeClr val="accent1">
                <a:lumMod val="75000"/>
                <a:lumOff val="2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96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ES Build" pitchFamily="50" charset="0"/>
                <a:ea typeface="+mn-ea"/>
                <a:cs typeface="Microsoft Sans Serif" panose="020B0604020202020204" pitchFamily="34" charset="0"/>
              </a:endParaRPr>
            </a:p>
          </p:txBody>
        </p:sp>
        <p:pic>
          <p:nvPicPr>
            <p:cNvPr id="28" name="Graphic 27">
              <a:extLst>
                <a:ext uri="{FF2B5EF4-FFF2-40B4-BE49-F238E27FC236}">
                  <a16:creationId xmlns:a16="http://schemas.microsoft.com/office/drawing/2014/main" id="{4C352F7D-E66C-85BA-9C06-CAD4688F2E7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147942" y="3437365"/>
              <a:ext cx="360000" cy="144360"/>
            </a:xfrm>
            <a:prstGeom prst="rect">
              <a:avLst/>
            </a:prstGeom>
          </p:spPr>
        </p:pic>
      </p:grpSp>
      <p:grpSp>
        <p:nvGrpSpPr>
          <p:cNvPr id="29" name="Dell">
            <a:extLst>
              <a:ext uri="{FF2B5EF4-FFF2-40B4-BE49-F238E27FC236}">
                <a16:creationId xmlns:a16="http://schemas.microsoft.com/office/drawing/2014/main" id="{C9255358-E78D-9815-ED90-91D22D9FD884}"/>
              </a:ext>
            </a:extLst>
          </p:cNvPr>
          <p:cNvGrpSpPr/>
          <p:nvPr/>
        </p:nvGrpSpPr>
        <p:grpSpPr>
          <a:xfrm>
            <a:off x="560295" y="2635106"/>
            <a:ext cx="612000" cy="612000"/>
            <a:chOff x="3405575" y="3193396"/>
            <a:chExt cx="612000" cy="612000"/>
          </a:xfrm>
        </p:grpSpPr>
        <p:sp>
          <p:nvSpPr>
            <p:cNvPr id="30" name="Flowchart: Connector 49">
              <a:extLst>
                <a:ext uri="{FF2B5EF4-FFF2-40B4-BE49-F238E27FC236}">
                  <a16:creationId xmlns:a16="http://schemas.microsoft.com/office/drawing/2014/main" id="{A26346A0-0D4A-DC1B-1BAE-92F7B2D85BF5}"/>
                </a:ext>
              </a:extLst>
            </p:cNvPr>
            <p:cNvSpPr>
              <a:spLocks noChangeAspect="1"/>
            </p:cNvSpPr>
            <p:nvPr/>
          </p:nvSpPr>
          <p:spPr>
            <a:xfrm>
              <a:off x="3405575" y="3193396"/>
              <a:ext cx="612000" cy="612000"/>
            </a:xfrm>
            <a:prstGeom prst="flowChartConnector">
              <a:avLst/>
            </a:prstGeom>
            <a:solidFill>
              <a:srgbClr val="007DB8"/>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96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ES Build" pitchFamily="50" charset="0"/>
                <a:ea typeface="+mn-ea"/>
                <a:cs typeface="Microsoft Sans Serif" panose="020B0604020202020204" pitchFamily="34" charset="0"/>
              </a:endParaRPr>
            </a:p>
          </p:txBody>
        </p:sp>
        <p:sp>
          <p:nvSpPr>
            <p:cNvPr id="31" name="Freeform: Shape 50">
              <a:extLst>
                <a:ext uri="{FF2B5EF4-FFF2-40B4-BE49-F238E27FC236}">
                  <a16:creationId xmlns:a16="http://schemas.microsoft.com/office/drawing/2014/main" id="{EFEBC4E1-93AF-1064-922C-BBBF7D41DC73}"/>
                </a:ext>
              </a:extLst>
            </p:cNvPr>
            <p:cNvSpPr>
              <a:spLocks noChangeAspect="1"/>
            </p:cNvSpPr>
            <p:nvPr/>
          </p:nvSpPr>
          <p:spPr>
            <a:xfrm>
              <a:off x="3552005" y="3445396"/>
              <a:ext cx="319140" cy="108000"/>
            </a:xfrm>
            <a:custGeom>
              <a:avLst/>
              <a:gdLst>
                <a:gd name="connsiteX0" fmla="*/ 3874177 w 3874177"/>
                <a:gd name="connsiteY0" fmla="*/ 1004664 h 1311057"/>
                <a:gd name="connsiteX1" fmla="*/ 3874177 w 3874177"/>
                <a:gd name="connsiteY1" fmla="*/ 1242912 h 1311057"/>
                <a:gd name="connsiteX2" fmla="*/ 3142657 w 3874177"/>
                <a:gd name="connsiteY2" fmla="*/ 1242912 h 1311057"/>
                <a:gd name="connsiteX3" fmla="*/ 3142657 w 3874177"/>
                <a:gd name="connsiteY3" fmla="*/ 68145 h 1311057"/>
                <a:gd name="connsiteX4" fmla="*/ 3408511 w 3874177"/>
                <a:gd name="connsiteY4" fmla="*/ 68145 h 1311057"/>
                <a:gd name="connsiteX5" fmla="*/ 3408511 w 3874177"/>
                <a:gd name="connsiteY5" fmla="*/ 1004491 h 1311057"/>
                <a:gd name="connsiteX6" fmla="*/ 3874177 w 3874177"/>
                <a:gd name="connsiteY6" fmla="*/ 1004491 h 1311057"/>
                <a:gd name="connsiteX7" fmla="*/ 1662515 w 3874177"/>
                <a:gd name="connsiteY7" fmla="*/ 0 h 1311057"/>
                <a:gd name="connsiteX8" fmla="*/ 1014307 w 3874177"/>
                <a:gd name="connsiteY8" fmla="*/ 511002 h 1311057"/>
                <a:gd name="connsiteX9" fmla="*/ 465667 w 3874177"/>
                <a:gd name="connsiteY9" fmla="*/ 68145 h 1311057"/>
                <a:gd name="connsiteX10" fmla="*/ 0 w 3874177"/>
                <a:gd name="connsiteY10" fmla="*/ 68145 h 1311057"/>
                <a:gd name="connsiteX11" fmla="*/ 0 w 3874177"/>
                <a:gd name="connsiteY11" fmla="*/ 1242912 h 1311057"/>
                <a:gd name="connsiteX12" fmla="*/ 465667 w 3874177"/>
                <a:gd name="connsiteY12" fmla="*/ 1242912 h 1311057"/>
                <a:gd name="connsiteX13" fmla="*/ 1014307 w 3874177"/>
                <a:gd name="connsiteY13" fmla="*/ 800229 h 1311057"/>
                <a:gd name="connsiteX14" fmla="*/ 1662515 w 3874177"/>
                <a:gd name="connsiteY14" fmla="*/ 1311057 h 1311057"/>
                <a:gd name="connsiteX15" fmla="*/ 2311061 w 3874177"/>
                <a:gd name="connsiteY15" fmla="*/ 800229 h 1311057"/>
                <a:gd name="connsiteX16" fmla="*/ 2311061 w 3874177"/>
                <a:gd name="connsiteY16" fmla="*/ 1242912 h 1311057"/>
                <a:gd name="connsiteX17" fmla="*/ 3042582 w 3874177"/>
                <a:gd name="connsiteY17" fmla="*/ 1242912 h 1311057"/>
                <a:gd name="connsiteX18" fmla="*/ 3042582 w 3874177"/>
                <a:gd name="connsiteY18" fmla="*/ 1004491 h 1311057"/>
                <a:gd name="connsiteX19" fmla="*/ 2560828 w 3874177"/>
                <a:gd name="connsiteY19" fmla="*/ 1004491 h 1311057"/>
                <a:gd name="connsiteX20" fmla="*/ 2560828 w 3874177"/>
                <a:gd name="connsiteY20" fmla="*/ 68145 h 1311057"/>
                <a:gd name="connsiteX21" fmla="*/ 2294467 w 3874177"/>
                <a:gd name="connsiteY21" fmla="*/ 68145 h 1311057"/>
                <a:gd name="connsiteX22" fmla="*/ 2294467 w 3874177"/>
                <a:gd name="connsiteY22" fmla="*/ 510655 h 1311057"/>
                <a:gd name="connsiteX23" fmla="*/ 1679279 w 3874177"/>
                <a:gd name="connsiteY23" fmla="*/ 1021831 h 1311057"/>
                <a:gd name="connsiteX24" fmla="*/ 1546352 w 3874177"/>
                <a:gd name="connsiteY24" fmla="*/ 902533 h 1311057"/>
                <a:gd name="connsiteX25" fmla="*/ 1845733 w 3874177"/>
                <a:gd name="connsiteY25" fmla="*/ 664112 h 1311057"/>
                <a:gd name="connsiteX26" fmla="*/ 2161709 w 3874177"/>
                <a:gd name="connsiteY26" fmla="*/ 408698 h 1311057"/>
                <a:gd name="connsiteX27" fmla="*/ 1978829 w 3874177"/>
                <a:gd name="connsiteY27" fmla="*/ 255761 h 1311057"/>
                <a:gd name="connsiteX28" fmla="*/ 1363641 w 3874177"/>
                <a:gd name="connsiteY28" fmla="*/ 749077 h 1311057"/>
                <a:gd name="connsiteX29" fmla="*/ 1230715 w 3874177"/>
                <a:gd name="connsiteY29" fmla="*/ 629953 h 1311057"/>
                <a:gd name="connsiteX30" fmla="*/ 1845733 w 3874177"/>
                <a:gd name="connsiteY30" fmla="*/ 153110 h 1311057"/>
                <a:gd name="connsiteX31" fmla="*/ 1662853 w 3874177"/>
                <a:gd name="connsiteY31" fmla="*/ 0 h 1311057"/>
                <a:gd name="connsiteX32" fmla="*/ 249259 w 3874177"/>
                <a:gd name="connsiteY32" fmla="*/ 306567 h 1311057"/>
                <a:gd name="connsiteX33" fmla="*/ 448733 w 3874177"/>
                <a:gd name="connsiteY33" fmla="*/ 306567 h 1311057"/>
                <a:gd name="connsiteX34" fmla="*/ 568452 w 3874177"/>
                <a:gd name="connsiteY34" fmla="*/ 333616 h 1311057"/>
                <a:gd name="connsiteX35" fmla="*/ 669375 w 3874177"/>
                <a:gd name="connsiteY35" fmla="*/ 408698 h 1311057"/>
                <a:gd name="connsiteX36" fmla="*/ 738801 w 3874177"/>
                <a:gd name="connsiteY36" fmla="*/ 521926 h 1311057"/>
                <a:gd name="connsiteX37" fmla="*/ 764540 w 3874177"/>
                <a:gd name="connsiteY37" fmla="*/ 664112 h 1311057"/>
                <a:gd name="connsiteX38" fmla="*/ 741172 w 3874177"/>
                <a:gd name="connsiteY38" fmla="*/ 798842 h 1311057"/>
                <a:gd name="connsiteX39" fmla="*/ 675132 w 3874177"/>
                <a:gd name="connsiteY39" fmla="*/ 913110 h 1311057"/>
                <a:gd name="connsiteX40" fmla="*/ 575395 w 3874177"/>
                <a:gd name="connsiteY40" fmla="*/ 992006 h 1311057"/>
                <a:gd name="connsiteX41" fmla="*/ 448733 w 3874177"/>
                <a:gd name="connsiteY41" fmla="*/ 1021484 h 1311057"/>
                <a:gd name="connsiteX42" fmla="*/ 249259 w 3874177"/>
                <a:gd name="connsiteY42" fmla="*/ 1021484 h 1311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874177" h="1311057">
                  <a:moveTo>
                    <a:pt x="3874177" y="1004664"/>
                  </a:moveTo>
                  <a:lnTo>
                    <a:pt x="3874177" y="1242912"/>
                  </a:lnTo>
                  <a:lnTo>
                    <a:pt x="3142657" y="1242912"/>
                  </a:lnTo>
                  <a:lnTo>
                    <a:pt x="3142657" y="68145"/>
                  </a:lnTo>
                  <a:lnTo>
                    <a:pt x="3408511" y="68145"/>
                  </a:lnTo>
                  <a:lnTo>
                    <a:pt x="3408511" y="1004491"/>
                  </a:lnTo>
                  <a:lnTo>
                    <a:pt x="3874177" y="1004491"/>
                  </a:lnTo>
                  <a:close/>
                  <a:moveTo>
                    <a:pt x="1662515" y="0"/>
                  </a:moveTo>
                  <a:lnTo>
                    <a:pt x="1014307" y="511002"/>
                  </a:lnTo>
                  <a:cubicBezTo>
                    <a:pt x="947759" y="255588"/>
                    <a:pt x="731520" y="68145"/>
                    <a:pt x="465667" y="68145"/>
                  </a:cubicBezTo>
                  <a:lnTo>
                    <a:pt x="0" y="68145"/>
                  </a:lnTo>
                  <a:lnTo>
                    <a:pt x="0" y="1242912"/>
                  </a:lnTo>
                  <a:lnTo>
                    <a:pt x="465667" y="1242912"/>
                  </a:lnTo>
                  <a:cubicBezTo>
                    <a:pt x="731520" y="1242912"/>
                    <a:pt x="964353" y="1055643"/>
                    <a:pt x="1014307" y="800229"/>
                  </a:cubicBezTo>
                  <a:lnTo>
                    <a:pt x="1662515" y="1311057"/>
                  </a:lnTo>
                  <a:lnTo>
                    <a:pt x="2311061" y="800229"/>
                  </a:lnTo>
                  <a:lnTo>
                    <a:pt x="2311061" y="1242912"/>
                  </a:lnTo>
                  <a:lnTo>
                    <a:pt x="3042582" y="1242912"/>
                  </a:lnTo>
                  <a:lnTo>
                    <a:pt x="3042582" y="1004491"/>
                  </a:lnTo>
                  <a:lnTo>
                    <a:pt x="2560828" y="1004491"/>
                  </a:lnTo>
                  <a:lnTo>
                    <a:pt x="2560828" y="68145"/>
                  </a:lnTo>
                  <a:lnTo>
                    <a:pt x="2294467" y="68145"/>
                  </a:lnTo>
                  <a:lnTo>
                    <a:pt x="2294467" y="510655"/>
                  </a:lnTo>
                  <a:lnTo>
                    <a:pt x="1679279" y="1021831"/>
                  </a:lnTo>
                  <a:lnTo>
                    <a:pt x="1546352" y="902533"/>
                  </a:lnTo>
                  <a:lnTo>
                    <a:pt x="1845733" y="664112"/>
                  </a:lnTo>
                  <a:lnTo>
                    <a:pt x="2161709" y="408698"/>
                  </a:lnTo>
                  <a:lnTo>
                    <a:pt x="1978829" y="255761"/>
                  </a:lnTo>
                  <a:lnTo>
                    <a:pt x="1363641" y="749077"/>
                  </a:lnTo>
                  <a:lnTo>
                    <a:pt x="1230715" y="629953"/>
                  </a:lnTo>
                  <a:lnTo>
                    <a:pt x="1845733" y="153110"/>
                  </a:lnTo>
                  <a:lnTo>
                    <a:pt x="1662853" y="0"/>
                  </a:lnTo>
                  <a:close/>
                  <a:moveTo>
                    <a:pt x="249259" y="306567"/>
                  </a:moveTo>
                  <a:lnTo>
                    <a:pt x="448733" y="306567"/>
                  </a:lnTo>
                  <a:cubicBezTo>
                    <a:pt x="490220" y="306567"/>
                    <a:pt x="531029" y="316103"/>
                    <a:pt x="568452" y="333616"/>
                  </a:cubicBezTo>
                  <a:cubicBezTo>
                    <a:pt x="605875" y="351130"/>
                    <a:pt x="640249" y="376966"/>
                    <a:pt x="669375" y="408698"/>
                  </a:cubicBezTo>
                  <a:cubicBezTo>
                    <a:pt x="698500" y="440776"/>
                    <a:pt x="722207" y="478750"/>
                    <a:pt x="738801" y="521926"/>
                  </a:cubicBezTo>
                  <a:cubicBezTo>
                    <a:pt x="755396" y="564929"/>
                    <a:pt x="764540" y="613133"/>
                    <a:pt x="764540" y="664112"/>
                  </a:cubicBezTo>
                  <a:cubicBezTo>
                    <a:pt x="764540" y="710929"/>
                    <a:pt x="756412" y="756533"/>
                    <a:pt x="741172" y="798842"/>
                  </a:cubicBezTo>
                  <a:cubicBezTo>
                    <a:pt x="725763" y="841150"/>
                    <a:pt x="703411" y="879991"/>
                    <a:pt x="675132" y="913110"/>
                  </a:cubicBezTo>
                  <a:cubicBezTo>
                    <a:pt x="647192" y="946056"/>
                    <a:pt x="613664" y="973106"/>
                    <a:pt x="575395" y="992006"/>
                  </a:cubicBezTo>
                  <a:cubicBezTo>
                    <a:pt x="537295" y="1010906"/>
                    <a:pt x="494453" y="1021484"/>
                    <a:pt x="448733" y="1021484"/>
                  </a:cubicBezTo>
                  <a:lnTo>
                    <a:pt x="249259" y="1021484"/>
                  </a:lnTo>
                  <a:close/>
                </a:path>
              </a:pathLst>
            </a:custGeom>
            <a:solidFill>
              <a:schemeClr val="bg1"/>
            </a:solidFill>
            <a:ln w="169333"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861"/>
                </a:solidFill>
                <a:effectLst/>
                <a:uLnTx/>
                <a:uFillTx/>
                <a:latin typeface="ES Build Neutral"/>
                <a:ea typeface="+mn-ea"/>
                <a:cs typeface="+mn-cs"/>
              </a:endParaRPr>
            </a:p>
          </p:txBody>
        </p:sp>
      </p:grpSp>
      <p:grpSp>
        <p:nvGrpSpPr>
          <p:cNvPr id="32" name="Veeam">
            <a:extLst>
              <a:ext uri="{FF2B5EF4-FFF2-40B4-BE49-F238E27FC236}">
                <a16:creationId xmlns:a16="http://schemas.microsoft.com/office/drawing/2014/main" id="{3B2C507C-38B0-0594-0378-0EB6E67D4761}"/>
              </a:ext>
            </a:extLst>
          </p:cNvPr>
          <p:cNvGrpSpPr/>
          <p:nvPr/>
        </p:nvGrpSpPr>
        <p:grpSpPr>
          <a:xfrm>
            <a:off x="560295" y="4903775"/>
            <a:ext cx="612000" cy="612000"/>
            <a:chOff x="1592856" y="3166404"/>
            <a:chExt cx="612000" cy="612000"/>
          </a:xfrm>
        </p:grpSpPr>
        <p:sp>
          <p:nvSpPr>
            <p:cNvPr id="33" name="Flowchart: Connector 14">
              <a:extLst>
                <a:ext uri="{FF2B5EF4-FFF2-40B4-BE49-F238E27FC236}">
                  <a16:creationId xmlns:a16="http://schemas.microsoft.com/office/drawing/2014/main" id="{1069557A-6597-F544-5D50-2CEEFA44DA68}"/>
                </a:ext>
              </a:extLst>
            </p:cNvPr>
            <p:cNvSpPr>
              <a:spLocks noChangeAspect="1"/>
            </p:cNvSpPr>
            <p:nvPr/>
          </p:nvSpPr>
          <p:spPr>
            <a:xfrm>
              <a:off x="1592856" y="3166404"/>
              <a:ext cx="612000" cy="612000"/>
            </a:xfrm>
            <a:prstGeom prst="flowChartConnector">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96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ES Build" pitchFamily="50" charset="0"/>
                <a:ea typeface="+mn-ea"/>
                <a:cs typeface="Microsoft Sans Serif" panose="020B0604020202020204" pitchFamily="34" charset="0"/>
              </a:endParaRPr>
            </a:p>
          </p:txBody>
        </p:sp>
        <p:grpSp>
          <p:nvGrpSpPr>
            <p:cNvPr id="34" name="Graphic 18">
              <a:extLst>
                <a:ext uri="{FF2B5EF4-FFF2-40B4-BE49-F238E27FC236}">
                  <a16:creationId xmlns:a16="http://schemas.microsoft.com/office/drawing/2014/main" id="{B86CEBC9-A627-EAA9-0E43-F1F0B5B5AF8C}"/>
                </a:ext>
              </a:extLst>
            </p:cNvPr>
            <p:cNvGrpSpPr>
              <a:grpSpLocks noChangeAspect="1"/>
            </p:cNvGrpSpPr>
            <p:nvPr/>
          </p:nvGrpSpPr>
          <p:grpSpPr>
            <a:xfrm>
              <a:off x="1646856" y="3427261"/>
              <a:ext cx="504000" cy="90286"/>
              <a:chOff x="1008199" y="3688099"/>
              <a:chExt cx="432093" cy="77405"/>
            </a:xfrm>
            <a:solidFill>
              <a:srgbClr val="FFFFFF"/>
            </a:solidFill>
          </p:grpSpPr>
          <p:sp>
            <p:nvSpPr>
              <p:cNvPr id="35" name="Freeform: Shape 16">
                <a:extLst>
                  <a:ext uri="{FF2B5EF4-FFF2-40B4-BE49-F238E27FC236}">
                    <a16:creationId xmlns:a16="http://schemas.microsoft.com/office/drawing/2014/main" id="{56DFB6F6-F102-23C3-3BD8-39AC9997071A}"/>
                  </a:ext>
                </a:extLst>
              </p:cNvPr>
              <p:cNvSpPr/>
              <p:nvPr/>
            </p:nvSpPr>
            <p:spPr>
              <a:xfrm>
                <a:off x="1008199" y="3689712"/>
                <a:ext cx="84553" cy="74230"/>
              </a:xfrm>
              <a:custGeom>
                <a:avLst/>
                <a:gdLst>
                  <a:gd name="connsiteX0" fmla="*/ 35549 w 84553"/>
                  <a:gd name="connsiteY0" fmla="*/ 74231 h 74230"/>
                  <a:gd name="connsiteX1" fmla="*/ 0 w 84553"/>
                  <a:gd name="connsiteY1" fmla="*/ 0 h 74230"/>
                  <a:gd name="connsiteX2" fmla="*/ 16020 w 84553"/>
                  <a:gd name="connsiteY2" fmla="*/ 0 h 74230"/>
                  <a:gd name="connsiteX3" fmla="*/ 42045 w 84553"/>
                  <a:gd name="connsiteY3" fmla="*/ 55825 h 74230"/>
                  <a:gd name="connsiteX4" fmla="*/ 42354 w 84553"/>
                  <a:gd name="connsiteY4" fmla="*/ 55825 h 74230"/>
                  <a:gd name="connsiteX5" fmla="*/ 68379 w 84553"/>
                  <a:gd name="connsiteY5" fmla="*/ 0 h 74230"/>
                  <a:gd name="connsiteX6" fmla="*/ 84553 w 84553"/>
                  <a:gd name="connsiteY6" fmla="*/ 0 h 74230"/>
                  <a:gd name="connsiteX7" fmla="*/ 49004 w 84553"/>
                  <a:gd name="connsiteY7" fmla="*/ 74231 h 74230"/>
                  <a:gd name="connsiteX8" fmla="*/ 35532 w 84553"/>
                  <a:gd name="connsiteY8" fmla="*/ 74231 h 74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553" h="74230">
                    <a:moveTo>
                      <a:pt x="35549" y="74231"/>
                    </a:moveTo>
                    <a:lnTo>
                      <a:pt x="0" y="0"/>
                    </a:lnTo>
                    <a:lnTo>
                      <a:pt x="16020" y="0"/>
                    </a:lnTo>
                    <a:cubicBezTo>
                      <a:pt x="16020" y="0"/>
                      <a:pt x="41427" y="53140"/>
                      <a:pt x="42045" y="55825"/>
                    </a:cubicBezTo>
                    <a:lnTo>
                      <a:pt x="42354" y="55825"/>
                    </a:lnTo>
                    <a:cubicBezTo>
                      <a:pt x="42989" y="53131"/>
                      <a:pt x="68379" y="0"/>
                      <a:pt x="68379" y="0"/>
                    </a:cubicBezTo>
                    <a:lnTo>
                      <a:pt x="84553" y="0"/>
                    </a:lnTo>
                    <a:lnTo>
                      <a:pt x="49004" y="74231"/>
                    </a:lnTo>
                    <a:lnTo>
                      <a:pt x="35532" y="74231"/>
                    </a:lnTo>
                    <a:close/>
                  </a:path>
                </a:pathLst>
              </a:custGeom>
              <a:solidFill>
                <a:srgbClr val="FFFFFF"/>
              </a:solidFill>
              <a:ln w="854"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36" name="Freeform: Shape 18">
                <a:extLst>
                  <a:ext uri="{FF2B5EF4-FFF2-40B4-BE49-F238E27FC236}">
                    <a16:creationId xmlns:a16="http://schemas.microsoft.com/office/drawing/2014/main" id="{419C0F22-7C07-2F52-14EF-387EB92335E5}"/>
                  </a:ext>
                </a:extLst>
              </p:cNvPr>
              <p:cNvSpPr/>
              <p:nvPr/>
            </p:nvSpPr>
            <p:spPr>
              <a:xfrm>
                <a:off x="1088977" y="3688099"/>
                <a:ext cx="72960" cy="77397"/>
              </a:xfrm>
              <a:custGeom>
                <a:avLst/>
                <a:gdLst>
                  <a:gd name="connsiteX0" fmla="*/ 72635 w 72960"/>
                  <a:gd name="connsiteY0" fmla="*/ 44422 h 77397"/>
                  <a:gd name="connsiteX1" fmla="*/ 15068 w 72960"/>
                  <a:gd name="connsiteY1" fmla="*/ 44422 h 77397"/>
                  <a:gd name="connsiteX2" fmla="*/ 37437 w 72960"/>
                  <a:gd name="connsiteY2" fmla="*/ 64080 h 77397"/>
                  <a:gd name="connsiteX3" fmla="*/ 56152 w 72960"/>
                  <a:gd name="connsiteY3" fmla="*/ 53612 h 77397"/>
                  <a:gd name="connsiteX4" fmla="*/ 71056 w 72960"/>
                  <a:gd name="connsiteY4" fmla="*/ 53612 h 77397"/>
                  <a:gd name="connsiteX5" fmla="*/ 37429 w 72960"/>
                  <a:gd name="connsiteY5" fmla="*/ 77397 h 77397"/>
                  <a:gd name="connsiteX6" fmla="*/ 0 w 72960"/>
                  <a:gd name="connsiteY6" fmla="*/ 38699 h 77397"/>
                  <a:gd name="connsiteX7" fmla="*/ 37429 w 72960"/>
                  <a:gd name="connsiteY7" fmla="*/ 0 h 77397"/>
                  <a:gd name="connsiteX8" fmla="*/ 72961 w 72960"/>
                  <a:gd name="connsiteY8" fmla="*/ 38699 h 77397"/>
                  <a:gd name="connsiteX9" fmla="*/ 72652 w 72960"/>
                  <a:gd name="connsiteY9" fmla="*/ 44422 h 77397"/>
                  <a:gd name="connsiteX10" fmla="*/ 15222 w 72960"/>
                  <a:gd name="connsiteY10" fmla="*/ 32366 h 77397"/>
                  <a:gd name="connsiteX11" fmla="*/ 57893 w 72960"/>
                  <a:gd name="connsiteY11" fmla="*/ 32366 h 77397"/>
                  <a:gd name="connsiteX12" fmla="*/ 37437 w 72960"/>
                  <a:gd name="connsiteY12" fmla="*/ 13343 h 77397"/>
                  <a:gd name="connsiteX13" fmla="*/ 15222 w 72960"/>
                  <a:gd name="connsiteY13" fmla="*/ 32366 h 77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960" h="77397">
                    <a:moveTo>
                      <a:pt x="72635" y="44422"/>
                    </a:moveTo>
                    <a:lnTo>
                      <a:pt x="15068" y="44422"/>
                    </a:lnTo>
                    <a:cubicBezTo>
                      <a:pt x="17135" y="56478"/>
                      <a:pt x="25999" y="64080"/>
                      <a:pt x="37437" y="64080"/>
                    </a:cubicBezTo>
                    <a:cubicBezTo>
                      <a:pt x="46799" y="64080"/>
                      <a:pt x="52977" y="60425"/>
                      <a:pt x="56152" y="53612"/>
                    </a:cubicBezTo>
                    <a:lnTo>
                      <a:pt x="71056" y="53612"/>
                    </a:lnTo>
                    <a:cubicBezTo>
                      <a:pt x="66603" y="67718"/>
                      <a:pt x="53775" y="77397"/>
                      <a:pt x="37429" y="77397"/>
                    </a:cubicBezTo>
                    <a:cubicBezTo>
                      <a:pt x="15857" y="77397"/>
                      <a:pt x="0" y="61703"/>
                      <a:pt x="0" y="38699"/>
                    </a:cubicBezTo>
                    <a:cubicBezTo>
                      <a:pt x="0" y="15694"/>
                      <a:pt x="15539" y="0"/>
                      <a:pt x="37429" y="0"/>
                    </a:cubicBezTo>
                    <a:cubicBezTo>
                      <a:pt x="56932" y="0"/>
                      <a:pt x="72961" y="16664"/>
                      <a:pt x="72961" y="38699"/>
                    </a:cubicBezTo>
                    <a:cubicBezTo>
                      <a:pt x="72961" y="40921"/>
                      <a:pt x="72961" y="42199"/>
                      <a:pt x="72652" y="44422"/>
                    </a:cubicBezTo>
                    <a:close/>
                    <a:moveTo>
                      <a:pt x="15222" y="32366"/>
                    </a:moveTo>
                    <a:lnTo>
                      <a:pt x="57893" y="32366"/>
                    </a:lnTo>
                    <a:cubicBezTo>
                      <a:pt x="56941" y="22207"/>
                      <a:pt x="48704" y="13343"/>
                      <a:pt x="37437" y="13343"/>
                    </a:cubicBezTo>
                    <a:cubicBezTo>
                      <a:pt x="25999" y="13326"/>
                      <a:pt x="17427" y="20791"/>
                      <a:pt x="15222" y="32366"/>
                    </a:cubicBezTo>
                    <a:close/>
                  </a:path>
                </a:pathLst>
              </a:custGeom>
              <a:solidFill>
                <a:srgbClr val="FFFFFF"/>
              </a:solidFill>
              <a:ln w="854"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37" name="Freeform: Shape 23">
                <a:extLst>
                  <a:ext uri="{FF2B5EF4-FFF2-40B4-BE49-F238E27FC236}">
                    <a16:creationId xmlns:a16="http://schemas.microsoft.com/office/drawing/2014/main" id="{F9C2CAAD-CA69-6D99-D91E-3D4E18CFDF87}"/>
                  </a:ext>
                </a:extLst>
              </p:cNvPr>
              <p:cNvSpPr/>
              <p:nvPr/>
            </p:nvSpPr>
            <p:spPr>
              <a:xfrm>
                <a:off x="1167945" y="3688099"/>
                <a:ext cx="72960" cy="77397"/>
              </a:xfrm>
              <a:custGeom>
                <a:avLst/>
                <a:gdLst>
                  <a:gd name="connsiteX0" fmla="*/ 72635 w 72960"/>
                  <a:gd name="connsiteY0" fmla="*/ 44422 h 77397"/>
                  <a:gd name="connsiteX1" fmla="*/ 15068 w 72960"/>
                  <a:gd name="connsiteY1" fmla="*/ 44422 h 77397"/>
                  <a:gd name="connsiteX2" fmla="*/ 37437 w 72960"/>
                  <a:gd name="connsiteY2" fmla="*/ 64080 h 77397"/>
                  <a:gd name="connsiteX3" fmla="*/ 56152 w 72960"/>
                  <a:gd name="connsiteY3" fmla="*/ 53612 h 77397"/>
                  <a:gd name="connsiteX4" fmla="*/ 71056 w 72960"/>
                  <a:gd name="connsiteY4" fmla="*/ 53612 h 77397"/>
                  <a:gd name="connsiteX5" fmla="*/ 37429 w 72960"/>
                  <a:gd name="connsiteY5" fmla="*/ 77397 h 77397"/>
                  <a:gd name="connsiteX6" fmla="*/ 0 w 72960"/>
                  <a:gd name="connsiteY6" fmla="*/ 38699 h 77397"/>
                  <a:gd name="connsiteX7" fmla="*/ 37429 w 72960"/>
                  <a:gd name="connsiteY7" fmla="*/ 0 h 77397"/>
                  <a:gd name="connsiteX8" fmla="*/ 72961 w 72960"/>
                  <a:gd name="connsiteY8" fmla="*/ 38699 h 77397"/>
                  <a:gd name="connsiteX9" fmla="*/ 72652 w 72960"/>
                  <a:gd name="connsiteY9" fmla="*/ 44422 h 77397"/>
                  <a:gd name="connsiteX10" fmla="*/ 15222 w 72960"/>
                  <a:gd name="connsiteY10" fmla="*/ 32366 h 77397"/>
                  <a:gd name="connsiteX11" fmla="*/ 57893 w 72960"/>
                  <a:gd name="connsiteY11" fmla="*/ 32366 h 77397"/>
                  <a:gd name="connsiteX12" fmla="*/ 37437 w 72960"/>
                  <a:gd name="connsiteY12" fmla="*/ 13343 h 77397"/>
                  <a:gd name="connsiteX13" fmla="*/ 15222 w 72960"/>
                  <a:gd name="connsiteY13" fmla="*/ 32366 h 77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960" h="77397">
                    <a:moveTo>
                      <a:pt x="72635" y="44422"/>
                    </a:moveTo>
                    <a:lnTo>
                      <a:pt x="15068" y="44422"/>
                    </a:lnTo>
                    <a:cubicBezTo>
                      <a:pt x="17135" y="56478"/>
                      <a:pt x="25999" y="64080"/>
                      <a:pt x="37437" y="64080"/>
                    </a:cubicBezTo>
                    <a:cubicBezTo>
                      <a:pt x="46799" y="64080"/>
                      <a:pt x="52977" y="60425"/>
                      <a:pt x="56152" y="53612"/>
                    </a:cubicBezTo>
                    <a:lnTo>
                      <a:pt x="71056" y="53612"/>
                    </a:lnTo>
                    <a:cubicBezTo>
                      <a:pt x="66603" y="67718"/>
                      <a:pt x="53775" y="77397"/>
                      <a:pt x="37429" y="77397"/>
                    </a:cubicBezTo>
                    <a:cubicBezTo>
                      <a:pt x="15857" y="77397"/>
                      <a:pt x="0" y="61703"/>
                      <a:pt x="0" y="38699"/>
                    </a:cubicBezTo>
                    <a:cubicBezTo>
                      <a:pt x="0" y="15694"/>
                      <a:pt x="15539" y="0"/>
                      <a:pt x="37429" y="0"/>
                    </a:cubicBezTo>
                    <a:cubicBezTo>
                      <a:pt x="56932" y="0"/>
                      <a:pt x="72961" y="16664"/>
                      <a:pt x="72961" y="38699"/>
                    </a:cubicBezTo>
                    <a:cubicBezTo>
                      <a:pt x="72961" y="40921"/>
                      <a:pt x="72961" y="42199"/>
                      <a:pt x="72652" y="44422"/>
                    </a:cubicBezTo>
                    <a:close/>
                    <a:moveTo>
                      <a:pt x="15222" y="32366"/>
                    </a:moveTo>
                    <a:lnTo>
                      <a:pt x="57893" y="32366"/>
                    </a:lnTo>
                    <a:cubicBezTo>
                      <a:pt x="56941" y="22207"/>
                      <a:pt x="48704" y="13343"/>
                      <a:pt x="37437" y="13343"/>
                    </a:cubicBezTo>
                    <a:cubicBezTo>
                      <a:pt x="25999" y="13326"/>
                      <a:pt x="17444" y="20791"/>
                      <a:pt x="15222" y="32366"/>
                    </a:cubicBezTo>
                    <a:close/>
                  </a:path>
                </a:pathLst>
              </a:custGeom>
              <a:solidFill>
                <a:srgbClr val="FFFFFF"/>
              </a:solidFill>
              <a:ln w="854"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38" name="Freeform: Shape 34">
                <a:extLst>
                  <a:ext uri="{FF2B5EF4-FFF2-40B4-BE49-F238E27FC236}">
                    <a16:creationId xmlns:a16="http://schemas.microsoft.com/office/drawing/2014/main" id="{E001BC93-5088-BC69-D839-DC403404ECB2}"/>
                  </a:ext>
                </a:extLst>
              </p:cNvPr>
              <p:cNvSpPr/>
              <p:nvPr/>
            </p:nvSpPr>
            <p:spPr>
              <a:xfrm>
                <a:off x="1246758" y="3688108"/>
                <a:ext cx="74556" cy="77397"/>
              </a:xfrm>
              <a:custGeom>
                <a:avLst/>
                <a:gdLst>
                  <a:gd name="connsiteX0" fmla="*/ 74557 w 74556"/>
                  <a:gd name="connsiteY0" fmla="*/ 38699 h 77397"/>
                  <a:gd name="connsiteX1" fmla="*/ 74557 w 74556"/>
                  <a:gd name="connsiteY1" fmla="*/ 75810 h 77397"/>
                  <a:gd name="connsiteX2" fmla="*/ 61712 w 74556"/>
                  <a:gd name="connsiteY2" fmla="*/ 75810 h 77397"/>
                  <a:gd name="connsiteX3" fmla="*/ 60433 w 74556"/>
                  <a:gd name="connsiteY3" fmla="*/ 64234 h 77397"/>
                  <a:gd name="connsiteX4" fmla="*/ 35687 w 74556"/>
                  <a:gd name="connsiteY4" fmla="*/ 77397 h 77397"/>
                  <a:gd name="connsiteX5" fmla="*/ 0 w 74556"/>
                  <a:gd name="connsiteY5" fmla="*/ 38699 h 77397"/>
                  <a:gd name="connsiteX6" fmla="*/ 37583 w 74556"/>
                  <a:gd name="connsiteY6" fmla="*/ 0 h 77397"/>
                  <a:gd name="connsiteX7" fmla="*/ 74557 w 74556"/>
                  <a:gd name="connsiteY7" fmla="*/ 38699 h 77397"/>
                  <a:gd name="connsiteX8" fmla="*/ 59953 w 74556"/>
                  <a:gd name="connsiteY8" fmla="*/ 38699 h 77397"/>
                  <a:gd name="connsiteX9" fmla="*/ 37583 w 74556"/>
                  <a:gd name="connsiteY9" fmla="*/ 13326 h 77397"/>
                  <a:gd name="connsiteX10" fmla="*/ 14596 w 74556"/>
                  <a:gd name="connsiteY10" fmla="*/ 38699 h 77397"/>
                  <a:gd name="connsiteX11" fmla="*/ 37583 w 74556"/>
                  <a:gd name="connsiteY11" fmla="*/ 64071 h 77397"/>
                  <a:gd name="connsiteX12" fmla="*/ 59953 w 74556"/>
                  <a:gd name="connsiteY12" fmla="*/ 38699 h 77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556" h="77397">
                    <a:moveTo>
                      <a:pt x="74557" y="38699"/>
                    </a:moveTo>
                    <a:lnTo>
                      <a:pt x="74557" y="75810"/>
                    </a:lnTo>
                    <a:lnTo>
                      <a:pt x="61712" y="75810"/>
                    </a:lnTo>
                    <a:lnTo>
                      <a:pt x="60433" y="64234"/>
                    </a:lnTo>
                    <a:cubicBezTo>
                      <a:pt x="54727" y="72806"/>
                      <a:pt x="44739" y="77397"/>
                      <a:pt x="35687" y="77397"/>
                    </a:cubicBezTo>
                    <a:cubicBezTo>
                      <a:pt x="15385" y="77397"/>
                      <a:pt x="0" y="61223"/>
                      <a:pt x="0" y="38699"/>
                    </a:cubicBezTo>
                    <a:cubicBezTo>
                      <a:pt x="0" y="16174"/>
                      <a:pt x="16492" y="0"/>
                      <a:pt x="37583" y="0"/>
                    </a:cubicBezTo>
                    <a:cubicBezTo>
                      <a:pt x="56950" y="0"/>
                      <a:pt x="74557" y="13952"/>
                      <a:pt x="74557" y="38699"/>
                    </a:cubicBezTo>
                    <a:close/>
                    <a:moveTo>
                      <a:pt x="59953" y="38699"/>
                    </a:moveTo>
                    <a:cubicBezTo>
                      <a:pt x="59953" y="22370"/>
                      <a:pt x="49176" y="13326"/>
                      <a:pt x="37583" y="13326"/>
                    </a:cubicBezTo>
                    <a:cubicBezTo>
                      <a:pt x="24892" y="13326"/>
                      <a:pt x="14596" y="23485"/>
                      <a:pt x="14596" y="38699"/>
                    </a:cubicBezTo>
                    <a:cubicBezTo>
                      <a:pt x="14596" y="53912"/>
                      <a:pt x="24120" y="64071"/>
                      <a:pt x="37583" y="64071"/>
                    </a:cubicBezTo>
                    <a:cubicBezTo>
                      <a:pt x="49021" y="64071"/>
                      <a:pt x="59953" y="54547"/>
                      <a:pt x="59953" y="38699"/>
                    </a:cubicBezTo>
                    <a:close/>
                  </a:path>
                </a:pathLst>
              </a:custGeom>
              <a:solidFill>
                <a:srgbClr val="FFFFFF"/>
              </a:solidFill>
              <a:ln w="854"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39" name="Freeform: Shape 35">
                <a:extLst>
                  <a:ext uri="{FF2B5EF4-FFF2-40B4-BE49-F238E27FC236}">
                    <a16:creationId xmlns:a16="http://schemas.microsoft.com/office/drawing/2014/main" id="{B5E0AB07-60AC-3561-1244-BDDFF520D504}"/>
                  </a:ext>
                </a:extLst>
              </p:cNvPr>
              <p:cNvSpPr/>
              <p:nvPr/>
            </p:nvSpPr>
            <p:spPr>
              <a:xfrm>
                <a:off x="1331148" y="3688133"/>
                <a:ext cx="109145" cy="75946"/>
              </a:xfrm>
              <a:custGeom>
                <a:avLst/>
                <a:gdLst>
                  <a:gd name="connsiteX0" fmla="*/ 0 w 109145"/>
                  <a:gd name="connsiteY0" fmla="*/ 75792 h 75946"/>
                  <a:gd name="connsiteX1" fmla="*/ 0 w 109145"/>
                  <a:gd name="connsiteY1" fmla="*/ 31868 h 75946"/>
                  <a:gd name="connsiteX2" fmla="*/ 30461 w 109145"/>
                  <a:gd name="connsiteY2" fmla="*/ 0 h 75946"/>
                  <a:gd name="connsiteX3" fmla="*/ 54418 w 109145"/>
                  <a:gd name="connsiteY3" fmla="*/ 13489 h 75946"/>
                  <a:gd name="connsiteX4" fmla="*/ 54727 w 109145"/>
                  <a:gd name="connsiteY4" fmla="*/ 13489 h 75946"/>
                  <a:gd name="connsiteX5" fmla="*/ 78684 w 109145"/>
                  <a:gd name="connsiteY5" fmla="*/ 0 h 75946"/>
                  <a:gd name="connsiteX6" fmla="*/ 109145 w 109145"/>
                  <a:gd name="connsiteY6" fmla="*/ 31868 h 75946"/>
                  <a:gd name="connsiteX7" fmla="*/ 109145 w 109145"/>
                  <a:gd name="connsiteY7" fmla="*/ 75792 h 75946"/>
                  <a:gd name="connsiteX8" fmla="*/ 94558 w 109145"/>
                  <a:gd name="connsiteY8" fmla="*/ 75792 h 75946"/>
                  <a:gd name="connsiteX9" fmla="*/ 94558 w 109145"/>
                  <a:gd name="connsiteY9" fmla="*/ 32967 h 75946"/>
                  <a:gd name="connsiteX10" fmla="*/ 78229 w 109145"/>
                  <a:gd name="connsiteY10" fmla="*/ 13617 h 75946"/>
                  <a:gd name="connsiteX11" fmla="*/ 61901 w 109145"/>
                  <a:gd name="connsiteY11" fmla="*/ 33276 h 75946"/>
                  <a:gd name="connsiteX12" fmla="*/ 61901 w 109145"/>
                  <a:gd name="connsiteY12" fmla="*/ 75947 h 75946"/>
                  <a:gd name="connsiteX13" fmla="*/ 47314 w 109145"/>
                  <a:gd name="connsiteY13" fmla="*/ 75947 h 75946"/>
                  <a:gd name="connsiteX14" fmla="*/ 47314 w 109145"/>
                  <a:gd name="connsiteY14" fmla="*/ 33276 h 75946"/>
                  <a:gd name="connsiteX15" fmla="*/ 30985 w 109145"/>
                  <a:gd name="connsiteY15" fmla="*/ 13617 h 75946"/>
                  <a:gd name="connsiteX16" fmla="*/ 14656 w 109145"/>
                  <a:gd name="connsiteY16" fmla="*/ 32967 h 75946"/>
                  <a:gd name="connsiteX17" fmla="*/ 14656 w 109145"/>
                  <a:gd name="connsiteY17" fmla="*/ 75792 h 75946"/>
                  <a:gd name="connsiteX18" fmla="*/ 34 w 109145"/>
                  <a:gd name="connsiteY18" fmla="*/ 75792 h 75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9145" h="75946">
                    <a:moveTo>
                      <a:pt x="0" y="75792"/>
                    </a:moveTo>
                    <a:lnTo>
                      <a:pt x="0" y="31868"/>
                    </a:lnTo>
                    <a:cubicBezTo>
                      <a:pt x="0" y="13309"/>
                      <a:pt x="11901" y="0"/>
                      <a:pt x="30461" y="0"/>
                    </a:cubicBezTo>
                    <a:cubicBezTo>
                      <a:pt x="45366" y="0"/>
                      <a:pt x="53294" y="9988"/>
                      <a:pt x="54418" y="13489"/>
                    </a:cubicBezTo>
                    <a:lnTo>
                      <a:pt x="54727" y="13489"/>
                    </a:lnTo>
                    <a:cubicBezTo>
                      <a:pt x="55834" y="10005"/>
                      <a:pt x="63763" y="0"/>
                      <a:pt x="78684" y="0"/>
                    </a:cubicBezTo>
                    <a:cubicBezTo>
                      <a:pt x="97244" y="0"/>
                      <a:pt x="109145" y="13317"/>
                      <a:pt x="109145" y="31868"/>
                    </a:cubicBezTo>
                    <a:lnTo>
                      <a:pt x="109145" y="75792"/>
                    </a:lnTo>
                    <a:lnTo>
                      <a:pt x="94558" y="75792"/>
                    </a:lnTo>
                    <a:lnTo>
                      <a:pt x="94558" y="32967"/>
                    </a:lnTo>
                    <a:cubicBezTo>
                      <a:pt x="94558" y="20911"/>
                      <a:pt x="89161" y="13617"/>
                      <a:pt x="78229" y="13617"/>
                    </a:cubicBezTo>
                    <a:cubicBezTo>
                      <a:pt x="67298" y="13617"/>
                      <a:pt x="61901" y="20911"/>
                      <a:pt x="61901" y="33276"/>
                    </a:cubicBezTo>
                    <a:lnTo>
                      <a:pt x="61901" y="75947"/>
                    </a:lnTo>
                    <a:lnTo>
                      <a:pt x="47314" y="75947"/>
                    </a:lnTo>
                    <a:lnTo>
                      <a:pt x="47314" y="33276"/>
                    </a:lnTo>
                    <a:cubicBezTo>
                      <a:pt x="47314" y="20911"/>
                      <a:pt x="41916" y="13617"/>
                      <a:pt x="30985" y="13617"/>
                    </a:cubicBezTo>
                    <a:cubicBezTo>
                      <a:pt x="20053" y="13617"/>
                      <a:pt x="14656" y="20911"/>
                      <a:pt x="14656" y="32967"/>
                    </a:cubicBezTo>
                    <a:lnTo>
                      <a:pt x="14656" y="75792"/>
                    </a:lnTo>
                    <a:lnTo>
                      <a:pt x="34" y="75792"/>
                    </a:lnTo>
                    <a:close/>
                  </a:path>
                </a:pathLst>
              </a:custGeom>
              <a:solidFill>
                <a:srgbClr val="FFFFFF"/>
              </a:solidFill>
              <a:ln w="854"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861"/>
                  </a:solidFill>
                  <a:effectLst/>
                  <a:uLnTx/>
                  <a:uFillTx/>
                  <a:latin typeface="ES Build Neutral"/>
                  <a:ea typeface="+mn-ea"/>
                  <a:cs typeface="+mn-cs"/>
                </a:endParaRPr>
              </a:p>
            </p:txBody>
          </p:sp>
        </p:grpSp>
      </p:grpSp>
      <p:grpSp>
        <p:nvGrpSpPr>
          <p:cNvPr id="40" name="Group 39">
            <a:extLst>
              <a:ext uri="{FF2B5EF4-FFF2-40B4-BE49-F238E27FC236}">
                <a16:creationId xmlns:a16="http://schemas.microsoft.com/office/drawing/2014/main" id="{320DFAD3-DDCC-7D94-357F-CA29042C73F1}"/>
              </a:ext>
            </a:extLst>
          </p:cNvPr>
          <p:cNvGrpSpPr/>
          <p:nvPr/>
        </p:nvGrpSpPr>
        <p:grpSpPr>
          <a:xfrm>
            <a:off x="560295" y="1122029"/>
            <a:ext cx="612000" cy="4497727"/>
            <a:chOff x="560294" y="339725"/>
            <a:chExt cx="612000" cy="4497726"/>
          </a:xfrm>
        </p:grpSpPr>
        <p:grpSp>
          <p:nvGrpSpPr>
            <p:cNvPr id="41" name="Commvault">
              <a:extLst>
                <a:ext uri="{FF2B5EF4-FFF2-40B4-BE49-F238E27FC236}">
                  <a16:creationId xmlns:a16="http://schemas.microsoft.com/office/drawing/2014/main" id="{AEA34644-055F-3C92-CF00-D86B7C623D15}"/>
                </a:ext>
              </a:extLst>
            </p:cNvPr>
            <p:cNvGrpSpPr/>
            <p:nvPr/>
          </p:nvGrpSpPr>
          <p:grpSpPr>
            <a:xfrm>
              <a:off x="560294" y="4225451"/>
              <a:ext cx="612000" cy="612000"/>
              <a:chOff x="4278036" y="3342397"/>
              <a:chExt cx="612000" cy="612000"/>
            </a:xfrm>
          </p:grpSpPr>
          <p:sp>
            <p:nvSpPr>
              <p:cNvPr id="68" name="Flowchart: Connector 66">
                <a:extLst>
                  <a:ext uri="{FF2B5EF4-FFF2-40B4-BE49-F238E27FC236}">
                    <a16:creationId xmlns:a16="http://schemas.microsoft.com/office/drawing/2014/main" id="{F372C2E7-C710-F5F0-B7C9-24032DF68B11}"/>
                  </a:ext>
                </a:extLst>
              </p:cNvPr>
              <p:cNvSpPr>
                <a:spLocks noChangeAspect="1"/>
              </p:cNvSpPr>
              <p:nvPr/>
            </p:nvSpPr>
            <p:spPr>
              <a:xfrm>
                <a:off x="4278036" y="3342397"/>
                <a:ext cx="612000" cy="612000"/>
              </a:xfrm>
              <a:prstGeom prst="flowChartConnector">
                <a:avLst/>
              </a:prstGeom>
              <a:solidFill>
                <a:srgbClr val="FF4A6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96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ES Build" pitchFamily="50" charset="0"/>
                  <a:ea typeface="+mn-ea"/>
                  <a:cs typeface="Microsoft Sans Serif" panose="020B0604020202020204" pitchFamily="34" charset="0"/>
                </a:endParaRPr>
              </a:p>
            </p:txBody>
          </p:sp>
          <p:pic>
            <p:nvPicPr>
              <p:cNvPr id="69" name="Graphic 68">
                <a:extLst>
                  <a:ext uri="{FF2B5EF4-FFF2-40B4-BE49-F238E27FC236}">
                    <a16:creationId xmlns:a16="http://schemas.microsoft.com/office/drawing/2014/main" id="{29B87B0B-BC5E-2256-7556-02BAF2E7EAB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458036" y="3505672"/>
                <a:ext cx="252000" cy="285451"/>
              </a:xfrm>
              <a:prstGeom prst="rect">
                <a:avLst/>
              </a:prstGeom>
            </p:spPr>
          </p:pic>
        </p:grpSp>
        <p:grpSp>
          <p:nvGrpSpPr>
            <p:cNvPr id="42" name="Veritas">
              <a:extLst>
                <a:ext uri="{FF2B5EF4-FFF2-40B4-BE49-F238E27FC236}">
                  <a16:creationId xmlns:a16="http://schemas.microsoft.com/office/drawing/2014/main" id="{4E584306-BBE2-74E5-5628-FDB0BA533CF1}"/>
                </a:ext>
              </a:extLst>
            </p:cNvPr>
            <p:cNvGrpSpPr/>
            <p:nvPr/>
          </p:nvGrpSpPr>
          <p:grpSpPr>
            <a:xfrm>
              <a:off x="560294" y="339725"/>
              <a:ext cx="612000" cy="612000"/>
              <a:chOff x="2497267" y="3222177"/>
              <a:chExt cx="612000" cy="612000"/>
            </a:xfrm>
          </p:grpSpPr>
          <p:sp>
            <p:nvSpPr>
              <p:cNvPr id="57" name="Flowchart: Connector 31">
                <a:extLst>
                  <a:ext uri="{FF2B5EF4-FFF2-40B4-BE49-F238E27FC236}">
                    <a16:creationId xmlns:a16="http://schemas.microsoft.com/office/drawing/2014/main" id="{A86E86AE-AC2E-BF30-A91E-90BFE7754EC8}"/>
                  </a:ext>
                </a:extLst>
              </p:cNvPr>
              <p:cNvSpPr>
                <a:spLocks noChangeAspect="1"/>
              </p:cNvSpPr>
              <p:nvPr/>
            </p:nvSpPr>
            <p:spPr>
              <a:xfrm>
                <a:off x="2497267" y="3222177"/>
                <a:ext cx="612000" cy="612000"/>
              </a:xfrm>
              <a:prstGeom prst="flowChartConnector">
                <a:avLst/>
              </a:prstGeom>
              <a:solidFill>
                <a:srgbClr val="B1181E"/>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96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ES Build" pitchFamily="50" charset="0"/>
                  <a:ea typeface="+mn-ea"/>
                  <a:cs typeface="Microsoft Sans Serif" panose="020B0604020202020204" pitchFamily="34" charset="0"/>
                </a:endParaRPr>
              </a:p>
            </p:txBody>
          </p:sp>
          <p:grpSp>
            <p:nvGrpSpPr>
              <p:cNvPr id="58" name="Graphic 5">
                <a:extLst>
                  <a:ext uri="{FF2B5EF4-FFF2-40B4-BE49-F238E27FC236}">
                    <a16:creationId xmlns:a16="http://schemas.microsoft.com/office/drawing/2014/main" id="{7CF6EE74-7390-604F-8748-45C5B4649944}"/>
                  </a:ext>
                </a:extLst>
              </p:cNvPr>
              <p:cNvGrpSpPr/>
              <p:nvPr/>
            </p:nvGrpSpPr>
            <p:grpSpPr>
              <a:xfrm>
                <a:off x="2550288" y="3478534"/>
                <a:ext cx="505959" cy="99286"/>
                <a:chOff x="2555441" y="3451224"/>
                <a:chExt cx="505959" cy="99286"/>
              </a:xfrm>
              <a:solidFill>
                <a:schemeClr val="bg1"/>
              </a:solidFill>
            </p:grpSpPr>
            <p:sp>
              <p:nvSpPr>
                <p:cNvPr id="59" name="Freeform: Shape 33">
                  <a:extLst>
                    <a:ext uri="{FF2B5EF4-FFF2-40B4-BE49-F238E27FC236}">
                      <a16:creationId xmlns:a16="http://schemas.microsoft.com/office/drawing/2014/main" id="{60E5C2AB-EFF0-8C3B-609E-0D851D99A325}"/>
                    </a:ext>
                  </a:extLst>
                </p:cNvPr>
                <p:cNvSpPr/>
                <p:nvPr/>
              </p:nvSpPr>
              <p:spPr>
                <a:xfrm flipV="1">
                  <a:off x="2721553" y="3457847"/>
                  <a:ext cx="74679" cy="92663"/>
                </a:xfrm>
                <a:custGeom>
                  <a:avLst/>
                  <a:gdLst>
                    <a:gd name="connsiteX0" fmla="*/ 13586 w 74679"/>
                    <a:gd name="connsiteY0" fmla="*/ 72307 h 92663"/>
                    <a:gd name="connsiteX1" fmla="*/ 20378 w 74679"/>
                    <a:gd name="connsiteY1" fmla="*/ 79093 h 92663"/>
                    <a:gd name="connsiteX2" fmla="*/ 49792 w 74679"/>
                    <a:gd name="connsiteY2" fmla="*/ 79093 h 92663"/>
                    <a:gd name="connsiteX3" fmla="*/ 60360 w 74679"/>
                    <a:gd name="connsiteY3" fmla="*/ 71839 h 92663"/>
                    <a:gd name="connsiteX4" fmla="*/ 53852 w 74679"/>
                    <a:gd name="connsiteY4" fmla="*/ 57218 h 92663"/>
                    <a:gd name="connsiteX5" fmla="*/ 31058 w 74679"/>
                    <a:gd name="connsiteY5" fmla="*/ 48820 h 92663"/>
                    <a:gd name="connsiteX6" fmla="*/ 21238 w 74679"/>
                    <a:gd name="connsiteY6" fmla="*/ 28681 h 92663"/>
                    <a:gd name="connsiteX7" fmla="*/ 29772 w 74679"/>
                    <a:gd name="connsiteY7" fmla="*/ 19364 h 92663"/>
                    <a:gd name="connsiteX8" fmla="*/ 72420 w 74679"/>
                    <a:gd name="connsiteY8" fmla="*/ 8 h 92663"/>
                    <a:gd name="connsiteX9" fmla="*/ 72420 w 74679"/>
                    <a:gd name="connsiteY9" fmla="*/ 14860 h 92663"/>
                    <a:gd name="connsiteX10" fmla="*/ 35112 w 74679"/>
                    <a:gd name="connsiteY10" fmla="*/ 31360 h 92663"/>
                    <a:gd name="connsiteX11" fmla="*/ 33648 w 74679"/>
                    <a:gd name="connsiteY11" fmla="*/ 32954 h 92663"/>
                    <a:gd name="connsiteX12" fmla="*/ 35331 w 74679"/>
                    <a:gd name="connsiteY12" fmla="*/ 36403 h 92663"/>
                    <a:gd name="connsiteX13" fmla="*/ 58712 w 74679"/>
                    <a:gd name="connsiteY13" fmla="*/ 44541 h 92663"/>
                    <a:gd name="connsiteX14" fmla="*/ 73031 w 74679"/>
                    <a:gd name="connsiteY14" fmla="*/ 76693 h 92663"/>
                    <a:gd name="connsiteX15" fmla="*/ 49792 w 74679"/>
                    <a:gd name="connsiteY15" fmla="*/ 92671 h 92663"/>
                    <a:gd name="connsiteX16" fmla="*/ 20378 w 74679"/>
                    <a:gd name="connsiteY16" fmla="*/ 92671 h 92663"/>
                    <a:gd name="connsiteX17" fmla="*/ 8 w 74679"/>
                    <a:gd name="connsiteY17" fmla="*/ 72307 h 92663"/>
                    <a:gd name="connsiteX18" fmla="*/ 8 w 74679"/>
                    <a:gd name="connsiteY18" fmla="*/ 2159 h 92663"/>
                    <a:gd name="connsiteX19" fmla="*/ 13586 w 74679"/>
                    <a:gd name="connsiteY19" fmla="*/ 2159 h 92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4679" h="92663">
                      <a:moveTo>
                        <a:pt x="13586" y="72307"/>
                      </a:moveTo>
                      <a:cubicBezTo>
                        <a:pt x="13586" y="76059"/>
                        <a:pt x="16627" y="79093"/>
                        <a:pt x="20378" y="79093"/>
                      </a:cubicBezTo>
                      <a:lnTo>
                        <a:pt x="49792" y="79093"/>
                      </a:lnTo>
                      <a:cubicBezTo>
                        <a:pt x="54344" y="79093"/>
                        <a:pt x="58629" y="76337"/>
                        <a:pt x="60360" y="71839"/>
                      </a:cubicBezTo>
                      <a:cubicBezTo>
                        <a:pt x="62600" y="66001"/>
                        <a:pt x="59684" y="59458"/>
                        <a:pt x="53852" y="57218"/>
                      </a:cubicBezTo>
                      <a:lnTo>
                        <a:pt x="31058" y="48820"/>
                      </a:lnTo>
                      <a:cubicBezTo>
                        <a:pt x="22784" y="45963"/>
                        <a:pt x="18393" y="36955"/>
                        <a:pt x="21238" y="28681"/>
                      </a:cubicBezTo>
                      <a:cubicBezTo>
                        <a:pt x="22725" y="24354"/>
                        <a:pt x="25902" y="21089"/>
                        <a:pt x="29772" y="19364"/>
                      </a:cubicBezTo>
                      <a:lnTo>
                        <a:pt x="72420" y="8"/>
                      </a:lnTo>
                      <a:lnTo>
                        <a:pt x="72420" y="14860"/>
                      </a:lnTo>
                      <a:lnTo>
                        <a:pt x="35112" y="31360"/>
                      </a:lnTo>
                      <a:cubicBezTo>
                        <a:pt x="34448" y="31650"/>
                        <a:pt x="33903" y="32213"/>
                        <a:pt x="33648" y="32954"/>
                      </a:cubicBezTo>
                      <a:cubicBezTo>
                        <a:pt x="33162" y="34371"/>
                        <a:pt x="33915" y="35917"/>
                        <a:pt x="35331" y="36403"/>
                      </a:cubicBezTo>
                      <a:lnTo>
                        <a:pt x="58712" y="44541"/>
                      </a:lnTo>
                      <a:cubicBezTo>
                        <a:pt x="71543" y="49466"/>
                        <a:pt x="77950" y="63862"/>
                        <a:pt x="73031" y="76693"/>
                      </a:cubicBezTo>
                      <a:cubicBezTo>
                        <a:pt x="69226" y="86590"/>
                        <a:pt x="59796" y="92671"/>
                        <a:pt x="49792" y="92671"/>
                      </a:cubicBezTo>
                      <a:lnTo>
                        <a:pt x="20378" y="92671"/>
                      </a:lnTo>
                      <a:cubicBezTo>
                        <a:pt x="9129" y="92671"/>
                        <a:pt x="8" y="83556"/>
                        <a:pt x="8" y="72307"/>
                      </a:cubicBezTo>
                      <a:lnTo>
                        <a:pt x="8" y="2159"/>
                      </a:lnTo>
                      <a:lnTo>
                        <a:pt x="13586" y="2159"/>
                      </a:lnTo>
                      <a:close/>
                    </a:path>
                  </a:pathLst>
                </a:custGeom>
                <a:solidFill>
                  <a:schemeClr val="bg1"/>
                </a:solidFill>
                <a:ln w="5824"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60" name="Freeform: Shape 58">
                  <a:extLst>
                    <a:ext uri="{FF2B5EF4-FFF2-40B4-BE49-F238E27FC236}">
                      <a16:creationId xmlns:a16="http://schemas.microsoft.com/office/drawing/2014/main" id="{A3814AF0-65D3-B8A6-C429-63F7EF26ECDE}"/>
                    </a:ext>
                  </a:extLst>
                </p:cNvPr>
                <p:cNvSpPr/>
                <p:nvPr/>
              </p:nvSpPr>
              <p:spPr>
                <a:xfrm>
                  <a:off x="2809933" y="3457839"/>
                  <a:ext cx="13579" cy="90518"/>
                </a:xfrm>
                <a:custGeom>
                  <a:avLst/>
                  <a:gdLst>
                    <a:gd name="connsiteX0" fmla="*/ -73 w 13579"/>
                    <a:gd name="connsiteY0" fmla="*/ 90345 h 90518"/>
                    <a:gd name="connsiteX1" fmla="*/ 13507 w 13579"/>
                    <a:gd name="connsiteY1" fmla="*/ 90345 h 90518"/>
                    <a:gd name="connsiteX2" fmla="*/ 13507 w 13579"/>
                    <a:gd name="connsiteY2" fmla="*/ -173 h 90518"/>
                    <a:gd name="connsiteX3" fmla="*/ -73 w 13579"/>
                    <a:gd name="connsiteY3" fmla="*/ -173 h 90518"/>
                  </a:gdLst>
                  <a:ahLst/>
                  <a:cxnLst>
                    <a:cxn ang="0">
                      <a:pos x="connsiteX0" y="connsiteY0"/>
                    </a:cxn>
                    <a:cxn ang="0">
                      <a:pos x="connsiteX1" y="connsiteY1"/>
                    </a:cxn>
                    <a:cxn ang="0">
                      <a:pos x="connsiteX2" y="connsiteY2"/>
                    </a:cxn>
                    <a:cxn ang="0">
                      <a:pos x="connsiteX3" y="connsiteY3"/>
                    </a:cxn>
                  </a:cxnLst>
                  <a:rect l="l" t="t" r="r" b="b"/>
                  <a:pathLst>
                    <a:path w="13579" h="90518">
                      <a:moveTo>
                        <a:pt x="-73" y="90345"/>
                      </a:moveTo>
                      <a:lnTo>
                        <a:pt x="13507" y="90345"/>
                      </a:lnTo>
                      <a:lnTo>
                        <a:pt x="13507" y="-173"/>
                      </a:lnTo>
                      <a:lnTo>
                        <a:pt x="-73" y="-173"/>
                      </a:lnTo>
                      <a:close/>
                    </a:path>
                  </a:pathLst>
                </a:custGeom>
                <a:solidFill>
                  <a:schemeClr val="bg1"/>
                </a:solidFill>
                <a:ln w="5824"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861"/>
                    </a:solidFill>
                    <a:effectLst/>
                    <a:uLnTx/>
                    <a:uFillTx/>
                    <a:latin typeface="ES Build Neutral"/>
                    <a:ea typeface="+mn-ea"/>
                    <a:cs typeface="+mn-cs"/>
                  </a:endParaRPr>
                </a:p>
              </p:txBody>
            </p:sp>
            <p:grpSp>
              <p:nvGrpSpPr>
                <p:cNvPr id="61" name="Graphic 5">
                  <a:extLst>
                    <a:ext uri="{FF2B5EF4-FFF2-40B4-BE49-F238E27FC236}">
                      <a16:creationId xmlns:a16="http://schemas.microsoft.com/office/drawing/2014/main" id="{DDF8D221-C589-F373-BAA5-2C663611C97E}"/>
                    </a:ext>
                  </a:extLst>
                </p:cNvPr>
                <p:cNvGrpSpPr/>
                <p:nvPr/>
              </p:nvGrpSpPr>
              <p:grpSpPr>
                <a:xfrm>
                  <a:off x="2555441" y="3457847"/>
                  <a:ext cx="416864" cy="90518"/>
                  <a:chOff x="2555441" y="3457847"/>
                  <a:chExt cx="416864" cy="90518"/>
                </a:xfrm>
                <a:solidFill>
                  <a:schemeClr val="bg1"/>
                </a:solidFill>
              </p:grpSpPr>
              <p:sp>
                <p:nvSpPr>
                  <p:cNvPr id="65" name="Freeform: Shape 63">
                    <a:extLst>
                      <a:ext uri="{FF2B5EF4-FFF2-40B4-BE49-F238E27FC236}">
                        <a16:creationId xmlns:a16="http://schemas.microsoft.com/office/drawing/2014/main" id="{9F35427D-3737-76F5-8A7A-FBB2B83471C0}"/>
                      </a:ext>
                    </a:extLst>
                  </p:cNvPr>
                  <p:cNvSpPr/>
                  <p:nvPr/>
                </p:nvSpPr>
                <p:spPr>
                  <a:xfrm flipV="1">
                    <a:off x="2555441" y="3457847"/>
                    <a:ext cx="81462" cy="90518"/>
                  </a:xfrm>
                  <a:custGeom>
                    <a:avLst/>
                    <a:gdLst>
                      <a:gd name="connsiteX0" fmla="*/ 67192 w 81462"/>
                      <a:gd name="connsiteY0" fmla="*/ 90529 h 90518"/>
                      <a:gd name="connsiteX1" fmla="*/ 42886 w 81462"/>
                      <a:gd name="connsiteY1" fmla="*/ 15159 h 90518"/>
                      <a:gd name="connsiteX2" fmla="*/ 40735 w 81462"/>
                      <a:gd name="connsiteY2" fmla="*/ 13595 h 90518"/>
                      <a:gd name="connsiteX3" fmla="*/ 38584 w 81462"/>
                      <a:gd name="connsiteY3" fmla="*/ 15159 h 90518"/>
                      <a:gd name="connsiteX4" fmla="*/ 14278 w 81462"/>
                      <a:gd name="connsiteY4" fmla="*/ 90529 h 90518"/>
                      <a:gd name="connsiteX5" fmla="*/ 7 w 81462"/>
                      <a:gd name="connsiteY5" fmla="*/ 90529 h 90518"/>
                      <a:gd name="connsiteX6" fmla="*/ 25670 w 81462"/>
                      <a:gd name="connsiteY6" fmla="*/ 10963 h 90518"/>
                      <a:gd name="connsiteX7" fmla="*/ 40735 w 81462"/>
                      <a:gd name="connsiteY7" fmla="*/ 11 h 90518"/>
                      <a:gd name="connsiteX8" fmla="*/ 55801 w 81462"/>
                      <a:gd name="connsiteY8" fmla="*/ 10963 h 90518"/>
                      <a:gd name="connsiteX9" fmla="*/ 81469 w 81462"/>
                      <a:gd name="connsiteY9" fmla="*/ 90529 h 90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1462" h="90518">
                        <a:moveTo>
                          <a:pt x="67192" y="90529"/>
                        </a:moveTo>
                        <a:lnTo>
                          <a:pt x="42886" y="15159"/>
                        </a:lnTo>
                        <a:cubicBezTo>
                          <a:pt x="42578" y="14199"/>
                          <a:pt x="41695" y="13595"/>
                          <a:pt x="40735" y="13595"/>
                        </a:cubicBezTo>
                        <a:cubicBezTo>
                          <a:pt x="39775" y="13595"/>
                          <a:pt x="38939" y="14170"/>
                          <a:pt x="38584" y="15159"/>
                        </a:cubicBezTo>
                        <a:lnTo>
                          <a:pt x="14278" y="90529"/>
                        </a:lnTo>
                        <a:lnTo>
                          <a:pt x="7" y="90529"/>
                        </a:lnTo>
                        <a:lnTo>
                          <a:pt x="25670" y="10963"/>
                        </a:lnTo>
                        <a:cubicBezTo>
                          <a:pt x="27833" y="4296"/>
                          <a:pt x="34008" y="11"/>
                          <a:pt x="40735" y="11"/>
                        </a:cubicBezTo>
                        <a:cubicBezTo>
                          <a:pt x="47468" y="11"/>
                          <a:pt x="53626" y="4266"/>
                          <a:pt x="55801" y="10963"/>
                        </a:cubicBezTo>
                        <a:lnTo>
                          <a:pt x="81469" y="90529"/>
                        </a:lnTo>
                        <a:close/>
                      </a:path>
                    </a:pathLst>
                  </a:custGeom>
                  <a:solidFill>
                    <a:schemeClr val="bg1"/>
                  </a:solidFill>
                  <a:ln w="5824"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66" name="Freeform: Shape 64">
                    <a:extLst>
                      <a:ext uri="{FF2B5EF4-FFF2-40B4-BE49-F238E27FC236}">
                        <a16:creationId xmlns:a16="http://schemas.microsoft.com/office/drawing/2014/main" id="{9B80A03A-B321-B3A0-DF2D-3060BACF746D}"/>
                      </a:ext>
                    </a:extLst>
                  </p:cNvPr>
                  <p:cNvSpPr/>
                  <p:nvPr/>
                </p:nvSpPr>
                <p:spPr>
                  <a:xfrm flipV="1">
                    <a:off x="2890837" y="3457847"/>
                    <a:ext cx="81468" cy="90518"/>
                  </a:xfrm>
                  <a:custGeom>
                    <a:avLst/>
                    <a:gdLst>
                      <a:gd name="connsiteX0" fmla="*/ 14295 w 81468"/>
                      <a:gd name="connsiteY0" fmla="*/ -4 h 90518"/>
                      <a:gd name="connsiteX1" fmla="*/ 38601 w 81468"/>
                      <a:gd name="connsiteY1" fmla="*/ 75365 h 90518"/>
                      <a:gd name="connsiteX2" fmla="*/ 40752 w 81468"/>
                      <a:gd name="connsiteY2" fmla="*/ 76930 h 90518"/>
                      <a:gd name="connsiteX3" fmla="*/ 42903 w 81468"/>
                      <a:gd name="connsiteY3" fmla="*/ 75371 h 90518"/>
                      <a:gd name="connsiteX4" fmla="*/ 67209 w 81468"/>
                      <a:gd name="connsiteY4" fmla="*/ -4 h 90518"/>
                      <a:gd name="connsiteX5" fmla="*/ 81486 w 81468"/>
                      <a:gd name="connsiteY5" fmla="*/ -4 h 90518"/>
                      <a:gd name="connsiteX6" fmla="*/ 55818 w 81468"/>
                      <a:gd name="connsiteY6" fmla="*/ 79567 h 90518"/>
                      <a:gd name="connsiteX7" fmla="*/ 40752 w 81468"/>
                      <a:gd name="connsiteY7" fmla="*/ 90514 h 90518"/>
                      <a:gd name="connsiteX8" fmla="*/ 25686 w 81468"/>
                      <a:gd name="connsiteY8" fmla="*/ 79561 h 90518"/>
                      <a:gd name="connsiteX9" fmla="*/ 18 w 81468"/>
                      <a:gd name="connsiteY9" fmla="*/ -4 h 90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1468" h="90518">
                        <a:moveTo>
                          <a:pt x="14295" y="-4"/>
                        </a:moveTo>
                        <a:lnTo>
                          <a:pt x="38601" y="75365"/>
                        </a:lnTo>
                        <a:cubicBezTo>
                          <a:pt x="38909" y="76325"/>
                          <a:pt x="39786" y="76930"/>
                          <a:pt x="40752" y="76930"/>
                        </a:cubicBezTo>
                        <a:cubicBezTo>
                          <a:pt x="41712" y="76930"/>
                          <a:pt x="42548" y="76355"/>
                          <a:pt x="42903" y="75371"/>
                        </a:cubicBezTo>
                        <a:lnTo>
                          <a:pt x="67209" y="-4"/>
                        </a:lnTo>
                        <a:lnTo>
                          <a:pt x="81486" y="-4"/>
                        </a:lnTo>
                        <a:lnTo>
                          <a:pt x="55818" y="79567"/>
                        </a:lnTo>
                        <a:cubicBezTo>
                          <a:pt x="53654" y="86229"/>
                          <a:pt x="47479" y="90514"/>
                          <a:pt x="40752" y="90514"/>
                        </a:cubicBezTo>
                        <a:cubicBezTo>
                          <a:pt x="34019" y="90514"/>
                          <a:pt x="27862" y="86258"/>
                          <a:pt x="25686" y="79561"/>
                        </a:cubicBezTo>
                        <a:lnTo>
                          <a:pt x="18" y="-4"/>
                        </a:lnTo>
                        <a:close/>
                      </a:path>
                    </a:pathLst>
                  </a:custGeom>
                  <a:solidFill>
                    <a:schemeClr val="bg1"/>
                  </a:solidFill>
                  <a:ln w="5824"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67" name="Freeform: Shape 65">
                    <a:extLst>
                      <a:ext uri="{FF2B5EF4-FFF2-40B4-BE49-F238E27FC236}">
                        <a16:creationId xmlns:a16="http://schemas.microsoft.com/office/drawing/2014/main" id="{249F8391-1C31-8AD9-8E10-AF97DA7F1900}"/>
                      </a:ext>
                    </a:extLst>
                  </p:cNvPr>
                  <p:cNvSpPr/>
                  <p:nvPr/>
                </p:nvSpPr>
                <p:spPr>
                  <a:xfrm flipV="1">
                    <a:off x="2642017" y="3457847"/>
                    <a:ext cx="65620" cy="90518"/>
                  </a:xfrm>
                  <a:custGeom>
                    <a:avLst/>
                    <a:gdLst>
                      <a:gd name="connsiteX0" fmla="*/ 22634 w 65620"/>
                      <a:gd name="connsiteY0" fmla="*/ 76949 h 90518"/>
                      <a:gd name="connsiteX1" fmla="*/ 65626 w 65620"/>
                      <a:gd name="connsiteY1" fmla="*/ 76949 h 90518"/>
                      <a:gd name="connsiteX2" fmla="*/ 65626 w 65620"/>
                      <a:gd name="connsiteY2" fmla="*/ 90527 h 90518"/>
                      <a:gd name="connsiteX3" fmla="*/ 22634 w 65620"/>
                      <a:gd name="connsiteY3" fmla="*/ 90527 h 90518"/>
                      <a:gd name="connsiteX4" fmla="*/ 6 w 65620"/>
                      <a:gd name="connsiteY4" fmla="*/ 67899 h 90518"/>
                      <a:gd name="connsiteX5" fmla="*/ 6 w 65620"/>
                      <a:gd name="connsiteY5" fmla="*/ 22637 h 90518"/>
                      <a:gd name="connsiteX6" fmla="*/ 22634 w 65620"/>
                      <a:gd name="connsiteY6" fmla="*/ 9 h 90518"/>
                      <a:gd name="connsiteX7" fmla="*/ 65626 w 65620"/>
                      <a:gd name="connsiteY7" fmla="*/ 9 h 90518"/>
                      <a:gd name="connsiteX8" fmla="*/ 65626 w 65620"/>
                      <a:gd name="connsiteY8" fmla="*/ 13587 h 90518"/>
                      <a:gd name="connsiteX9" fmla="*/ 22634 w 65620"/>
                      <a:gd name="connsiteY9" fmla="*/ 13587 h 90518"/>
                      <a:gd name="connsiteX10" fmla="*/ 13584 w 65620"/>
                      <a:gd name="connsiteY10" fmla="*/ 22637 h 90518"/>
                      <a:gd name="connsiteX11" fmla="*/ 13584 w 65620"/>
                      <a:gd name="connsiteY11" fmla="*/ 38591 h 90518"/>
                      <a:gd name="connsiteX12" fmla="*/ 56576 w 65620"/>
                      <a:gd name="connsiteY12" fmla="*/ 38591 h 90518"/>
                      <a:gd name="connsiteX13" fmla="*/ 56576 w 65620"/>
                      <a:gd name="connsiteY13" fmla="*/ 51944 h 90518"/>
                      <a:gd name="connsiteX14" fmla="*/ 13584 w 65620"/>
                      <a:gd name="connsiteY14" fmla="*/ 51944 h 90518"/>
                      <a:gd name="connsiteX15" fmla="*/ 13584 w 65620"/>
                      <a:gd name="connsiteY15" fmla="*/ 67899 h 90518"/>
                      <a:gd name="connsiteX16" fmla="*/ 22634 w 65620"/>
                      <a:gd name="connsiteY16" fmla="*/ 76949 h 90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5620" h="90518">
                        <a:moveTo>
                          <a:pt x="22634" y="76949"/>
                        </a:moveTo>
                        <a:lnTo>
                          <a:pt x="65626" y="76949"/>
                        </a:lnTo>
                        <a:lnTo>
                          <a:pt x="65626" y="90527"/>
                        </a:lnTo>
                        <a:lnTo>
                          <a:pt x="22634" y="90527"/>
                        </a:lnTo>
                        <a:cubicBezTo>
                          <a:pt x="10134" y="90527"/>
                          <a:pt x="6" y="80392"/>
                          <a:pt x="6" y="67899"/>
                        </a:cubicBezTo>
                        <a:lnTo>
                          <a:pt x="6" y="22637"/>
                        </a:lnTo>
                        <a:cubicBezTo>
                          <a:pt x="6" y="10143"/>
                          <a:pt x="10134" y="9"/>
                          <a:pt x="22634" y="9"/>
                        </a:cubicBezTo>
                        <a:lnTo>
                          <a:pt x="65626" y="9"/>
                        </a:lnTo>
                        <a:lnTo>
                          <a:pt x="65626" y="13587"/>
                        </a:lnTo>
                        <a:lnTo>
                          <a:pt x="22634" y="13587"/>
                        </a:lnTo>
                        <a:cubicBezTo>
                          <a:pt x="17637" y="13587"/>
                          <a:pt x="13584" y="17640"/>
                          <a:pt x="13584" y="22637"/>
                        </a:cubicBezTo>
                        <a:lnTo>
                          <a:pt x="13584" y="38591"/>
                        </a:lnTo>
                        <a:lnTo>
                          <a:pt x="56576" y="38591"/>
                        </a:lnTo>
                        <a:lnTo>
                          <a:pt x="56576" y="51944"/>
                        </a:lnTo>
                        <a:lnTo>
                          <a:pt x="13584" y="51944"/>
                        </a:lnTo>
                        <a:lnTo>
                          <a:pt x="13584" y="67899"/>
                        </a:lnTo>
                        <a:cubicBezTo>
                          <a:pt x="13584" y="72895"/>
                          <a:pt x="17637" y="76949"/>
                          <a:pt x="22634" y="76949"/>
                        </a:cubicBezTo>
                      </a:path>
                    </a:pathLst>
                  </a:custGeom>
                  <a:solidFill>
                    <a:schemeClr val="bg1"/>
                  </a:solidFill>
                  <a:ln w="5824"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861"/>
                      </a:solidFill>
                      <a:effectLst/>
                      <a:uLnTx/>
                      <a:uFillTx/>
                      <a:latin typeface="ES Build Neutral"/>
                      <a:ea typeface="+mn-ea"/>
                      <a:cs typeface="+mn-cs"/>
                    </a:endParaRPr>
                  </a:p>
                </p:txBody>
              </p:sp>
            </p:grpSp>
            <p:sp>
              <p:nvSpPr>
                <p:cNvPr id="62" name="Freeform: Shape 60">
                  <a:extLst>
                    <a:ext uri="{FF2B5EF4-FFF2-40B4-BE49-F238E27FC236}">
                      <a16:creationId xmlns:a16="http://schemas.microsoft.com/office/drawing/2014/main" id="{D21F0426-2BEF-8562-3DF7-2FCD391A0AF1}"/>
                    </a:ext>
                  </a:extLst>
                </p:cNvPr>
                <p:cNvSpPr/>
                <p:nvPr/>
              </p:nvSpPr>
              <p:spPr>
                <a:xfrm flipV="1">
                  <a:off x="2834829" y="3457839"/>
                  <a:ext cx="66076" cy="90518"/>
                </a:xfrm>
                <a:custGeom>
                  <a:avLst/>
                  <a:gdLst>
                    <a:gd name="connsiteX0" fmla="*/ 66101 w 66076"/>
                    <a:gd name="connsiteY0" fmla="*/ 90529 h 90518"/>
                    <a:gd name="connsiteX1" fmla="*/ 24 w 66076"/>
                    <a:gd name="connsiteY1" fmla="*/ 90529 h 90518"/>
                    <a:gd name="connsiteX2" fmla="*/ 24 w 66076"/>
                    <a:gd name="connsiteY2" fmla="*/ 76951 h 90518"/>
                    <a:gd name="connsiteX3" fmla="*/ 26274 w 66076"/>
                    <a:gd name="connsiteY3" fmla="*/ 76951 h 90518"/>
                    <a:gd name="connsiteX4" fmla="*/ 26274 w 66076"/>
                    <a:gd name="connsiteY4" fmla="*/ 11 h 90518"/>
                    <a:gd name="connsiteX5" fmla="*/ 39852 w 66076"/>
                    <a:gd name="connsiteY5" fmla="*/ 11 h 90518"/>
                    <a:gd name="connsiteX6" fmla="*/ 39852 w 66076"/>
                    <a:gd name="connsiteY6" fmla="*/ 76951 h 90518"/>
                    <a:gd name="connsiteX7" fmla="*/ 66101 w 66076"/>
                    <a:gd name="connsiteY7" fmla="*/ 76951 h 90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076" h="90518">
                      <a:moveTo>
                        <a:pt x="66101" y="90529"/>
                      </a:moveTo>
                      <a:lnTo>
                        <a:pt x="24" y="90529"/>
                      </a:lnTo>
                      <a:lnTo>
                        <a:pt x="24" y="76951"/>
                      </a:lnTo>
                      <a:lnTo>
                        <a:pt x="26274" y="76951"/>
                      </a:lnTo>
                      <a:lnTo>
                        <a:pt x="26274" y="11"/>
                      </a:lnTo>
                      <a:lnTo>
                        <a:pt x="39852" y="11"/>
                      </a:lnTo>
                      <a:lnTo>
                        <a:pt x="39852" y="76951"/>
                      </a:lnTo>
                      <a:lnTo>
                        <a:pt x="66101" y="76951"/>
                      </a:lnTo>
                      <a:close/>
                    </a:path>
                  </a:pathLst>
                </a:custGeom>
                <a:solidFill>
                  <a:schemeClr val="bg1"/>
                </a:solidFill>
                <a:ln w="5824"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63" name="Freeform: Shape 61">
                  <a:extLst>
                    <a:ext uri="{FF2B5EF4-FFF2-40B4-BE49-F238E27FC236}">
                      <a16:creationId xmlns:a16="http://schemas.microsoft.com/office/drawing/2014/main" id="{0BD83169-4C1B-24E2-AF0B-304584526F90}"/>
                    </a:ext>
                  </a:extLst>
                </p:cNvPr>
                <p:cNvSpPr/>
                <p:nvPr/>
              </p:nvSpPr>
              <p:spPr>
                <a:xfrm flipV="1">
                  <a:off x="2974077" y="3457847"/>
                  <a:ext cx="74676" cy="90518"/>
                </a:xfrm>
                <a:custGeom>
                  <a:avLst/>
                  <a:gdLst>
                    <a:gd name="connsiteX0" fmla="*/ 48681 w 74676"/>
                    <a:gd name="connsiteY0" fmla="*/ -4 h 90518"/>
                    <a:gd name="connsiteX1" fmla="*/ 74705 w 74676"/>
                    <a:gd name="connsiteY1" fmla="*/ 26020 h 90518"/>
                    <a:gd name="connsiteX2" fmla="*/ 48681 w 74676"/>
                    <a:gd name="connsiteY2" fmla="*/ 52044 h 90518"/>
                    <a:gd name="connsiteX3" fmla="*/ 26053 w 74676"/>
                    <a:gd name="connsiteY3" fmla="*/ 52044 h 90518"/>
                    <a:gd name="connsiteX4" fmla="*/ 13601 w 74676"/>
                    <a:gd name="connsiteY4" fmla="*/ 64490 h 90518"/>
                    <a:gd name="connsiteX5" fmla="*/ 26053 w 74676"/>
                    <a:gd name="connsiteY5" fmla="*/ 76936 h 90518"/>
                    <a:gd name="connsiteX6" fmla="*/ 70177 w 74676"/>
                    <a:gd name="connsiteY6" fmla="*/ 76936 h 90518"/>
                    <a:gd name="connsiteX7" fmla="*/ 70177 w 74676"/>
                    <a:gd name="connsiteY7" fmla="*/ 90514 h 90518"/>
                    <a:gd name="connsiteX8" fmla="*/ 26053 w 74676"/>
                    <a:gd name="connsiteY8" fmla="*/ 90514 h 90518"/>
                    <a:gd name="connsiteX9" fmla="*/ 29 w 74676"/>
                    <a:gd name="connsiteY9" fmla="*/ 64490 h 90518"/>
                    <a:gd name="connsiteX10" fmla="*/ 26053 w 74676"/>
                    <a:gd name="connsiteY10" fmla="*/ 38466 h 90518"/>
                    <a:gd name="connsiteX11" fmla="*/ 48681 w 74676"/>
                    <a:gd name="connsiteY11" fmla="*/ 38460 h 90518"/>
                    <a:gd name="connsiteX12" fmla="*/ 61127 w 74676"/>
                    <a:gd name="connsiteY12" fmla="*/ 26020 h 90518"/>
                    <a:gd name="connsiteX13" fmla="*/ 48681 w 74676"/>
                    <a:gd name="connsiteY13" fmla="*/ 13574 h 90518"/>
                    <a:gd name="connsiteX14" fmla="*/ 4551 w 74676"/>
                    <a:gd name="connsiteY14" fmla="*/ 13574 h 90518"/>
                    <a:gd name="connsiteX15" fmla="*/ 4551 w 74676"/>
                    <a:gd name="connsiteY15" fmla="*/ -4 h 90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4676" h="90518">
                      <a:moveTo>
                        <a:pt x="48681" y="-4"/>
                      </a:moveTo>
                      <a:cubicBezTo>
                        <a:pt x="63053" y="-4"/>
                        <a:pt x="74705" y="11647"/>
                        <a:pt x="74705" y="26020"/>
                      </a:cubicBezTo>
                      <a:cubicBezTo>
                        <a:pt x="74705" y="40392"/>
                        <a:pt x="63053" y="52044"/>
                        <a:pt x="48681" y="52044"/>
                      </a:cubicBezTo>
                      <a:lnTo>
                        <a:pt x="26053" y="52044"/>
                      </a:lnTo>
                      <a:cubicBezTo>
                        <a:pt x="19178" y="52044"/>
                        <a:pt x="13601" y="57615"/>
                        <a:pt x="13601" y="64490"/>
                      </a:cubicBezTo>
                      <a:cubicBezTo>
                        <a:pt x="13601" y="71365"/>
                        <a:pt x="19178" y="76936"/>
                        <a:pt x="26053" y="76936"/>
                      </a:cubicBezTo>
                      <a:lnTo>
                        <a:pt x="70177" y="76936"/>
                      </a:lnTo>
                      <a:lnTo>
                        <a:pt x="70177" y="90514"/>
                      </a:lnTo>
                      <a:lnTo>
                        <a:pt x="26053" y="90514"/>
                      </a:lnTo>
                      <a:cubicBezTo>
                        <a:pt x="11681" y="90514"/>
                        <a:pt x="29" y="78862"/>
                        <a:pt x="29" y="64490"/>
                      </a:cubicBezTo>
                      <a:cubicBezTo>
                        <a:pt x="29" y="50117"/>
                        <a:pt x="11681" y="38466"/>
                        <a:pt x="26053" y="38466"/>
                      </a:cubicBezTo>
                      <a:lnTo>
                        <a:pt x="48681" y="38460"/>
                      </a:lnTo>
                      <a:cubicBezTo>
                        <a:pt x="55556" y="38460"/>
                        <a:pt x="61127" y="32889"/>
                        <a:pt x="61127" y="26020"/>
                      </a:cubicBezTo>
                      <a:cubicBezTo>
                        <a:pt x="61127" y="19145"/>
                        <a:pt x="55556" y="13574"/>
                        <a:pt x="48681" y="13574"/>
                      </a:cubicBezTo>
                      <a:lnTo>
                        <a:pt x="4551" y="13574"/>
                      </a:lnTo>
                      <a:lnTo>
                        <a:pt x="4551" y="-4"/>
                      </a:lnTo>
                      <a:close/>
                    </a:path>
                  </a:pathLst>
                </a:custGeom>
                <a:solidFill>
                  <a:schemeClr val="bg1"/>
                </a:solidFill>
                <a:ln w="5824"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64" name="Freeform: Shape 62">
                  <a:extLst>
                    <a:ext uri="{FF2B5EF4-FFF2-40B4-BE49-F238E27FC236}">
                      <a16:creationId xmlns:a16="http://schemas.microsoft.com/office/drawing/2014/main" id="{DFE09235-34C7-2C74-8D98-41F223E3EEDD}"/>
                    </a:ext>
                  </a:extLst>
                </p:cNvPr>
                <p:cNvSpPr/>
                <p:nvPr/>
              </p:nvSpPr>
              <p:spPr>
                <a:xfrm flipV="1">
                  <a:off x="3048741" y="3451224"/>
                  <a:ext cx="12659" cy="6620"/>
                </a:xfrm>
                <a:custGeom>
                  <a:avLst/>
                  <a:gdLst>
                    <a:gd name="connsiteX0" fmla="*/ 9400 w 12659"/>
                    <a:gd name="connsiteY0" fmla="*/ 1618 h 6620"/>
                    <a:gd name="connsiteX1" fmla="*/ 9815 w 12659"/>
                    <a:gd name="connsiteY1" fmla="*/ 2792 h 6620"/>
                    <a:gd name="connsiteX2" fmla="*/ 11315 w 12659"/>
                    <a:gd name="connsiteY2" fmla="*/ 6620 h 6620"/>
                    <a:gd name="connsiteX3" fmla="*/ 12690 w 12659"/>
                    <a:gd name="connsiteY3" fmla="*/ 6620 h 6620"/>
                    <a:gd name="connsiteX4" fmla="*/ 12690 w 12659"/>
                    <a:gd name="connsiteY4" fmla="*/ 0 h 6620"/>
                    <a:gd name="connsiteX5" fmla="*/ 11558 w 12659"/>
                    <a:gd name="connsiteY5" fmla="*/ 0 h 6620"/>
                    <a:gd name="connsiteX6" fmla="*/ 11558 w 12659"/>
                    <a:gd name="connsiteY6" fmla="*/ 3236 h 6620"/>
                    <a:gd name="connsiteX7" fmla="*/ 11581 w 12659"/>
                    <a:gd name="connsiteY7" fmla="*/ 4368 h 6620"/>
                    <a:gd name="connsiteX8" fmla="*/ 11214 w 12659"/>
                    <a:gd name="connsiteY8" fmla="*/ 3432 h 6620"/>
                    <a:gd name="connsiteX9" fmla="*/ 9892 w 12659"/>
                    <a:gd name="connsiteY9" fmla="*/ 0 h 6620"/>
                    <a:gd name="connsiteX10" fmla="*/ 8909 w 12659"/>
                    <a:gd name="connsiteY10" fmla="*/ 0 h 6620"/>
                    <a:gd name="connsiteX11" fmla="*/ 7587 w 12659"/>
                    <a:gd name="connsiteY11" fmla="*/ 3432 h 6620"/>
                    <a:gd name="connsiteX12" fmla="*/ 7219 w 12659"/>
                    <a:gd name="connsiteY12" fmla="*/ 4368 h 6620"/>
                    <a:gd name="connsiteX13" fmla="*/ 7243 w 12659"/>
                    <a:gd name="connsiteY13" fmla="*/ 3236 h 6620"/>
                    <a:gd name="connsiteX14" fmla="*/ 7243 w 12659"/>
                    <a:gd name="connsiteY14" fmla="*/ 0 h 6620"/>
                    <a:gd name="connsiteX15" fmla="*/ 6111 w 12659"/>
                    <a:gd name="connsiteY15" fmla="*/ 0 h 6620"/>
                    <a:gd name="connsiteX16" fmla="*/ 6111 w 12659"/>
                    <a:gd name="connsiteY16" fmla="*/ 6620 h 6620"/>
                    <a:gd name="connsiteX17" fmla="*/ 7486 w 12659"/>
                    <a:gd name="connsiteY17" fmla="*/ 6620 h 6620"/>
                    <a:gd name="connsiteX18" fmla="*/ 8980 w 12659"/>
                    <a:gd name="connsiteY18" fmla="*/ 2792 h 6620"/>
                    <a:gd name="connsiteX19" fmla="*/ 3172 w 12659"/>
                    <a:gd name="connsiteY19" fmla="*/ 0 h 6620"/>
                    <a:gd name="connsiteX20" fmla="*/ 1992 w 12659"/>
                    <a:gd name="connsiteY20" fmla="*/ 0 h 6620"/>
                    <a:gd name="connsiteX21" fmla="*/ 1992 w 12659"/>
                    <a:gd name="connsiteY21" fmla="*/ 5518 h 6620"/>
                    <a:gd name="connsiteX22" fmla="*/ 30 w 12659"/>
                    <a:gd name="connsiteY22" fmla="*/ 5518 h 6620"/>
                    <a:gd name="connsiteX23" fmla="*/ 30 w 12659"/>
                    <a:gd name="connsiteY23" fmla="*/ 6620 h 6620"/>
                    <a:gd name="connsiteX24" fmla="*/ 5157 w 12659"/>
                    <a:gd name="connsiteY24" fmla="*/ 6620 h 6620"/>
                    <a:gd name="connsiteX25" fmla="*/ 5157 w 12659"/>
                    <a:gd name="connsiteY25" fmla="*/ 5518 h 6620"/>
                    <a:gd name="connsiteX26" fmla="*/ 3172 w 12659"/>
                    <a:gd name="connsiteY26" fmla="*/ 5518 h 6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659" h="6620">
                      <a:moveTo>
                        <a:pt x="9400" y="1618"/>
                      </a:moveTo>
                      <a:lnTo>
                        <a:pt x="9815" y="2792"/>
                      </a:lnTo>
                      <a:lnTo>
                        <a:pt x="11315" y="6620"/>
                      </a:lnTo>
                      <a:lnTo>
                        <a:pt x="12690" y="6620"/>
                      </a:lnTo>
                      <a:lnTo>
                        <a:pt x="12690" y="0"/>
                      </a:lnTo>
                      <a:lnTo>
                        <a:pt x="11558" y="0"/>
                      </a:lnTo>
                      <a:lnTo>
                        <a:pt x="11558" y="3236"/>
                      </a:lnTo>
                      <a:lnTo>
                        <a:pt x="11581" y="4368"/>
                      </a:lnTo>
                      <a:lnTo>
                        <a:pt x="11214" y="3432"/>
                      </a:lnTo>
                      <a:lnTo>
                        <a:pt x="9892" y="0"/>
                      </a:lnTo>
                      <a:lnTo>
                        <a:pt x="8909" y="0"/>
                      </a:lnTo>
                      <a:lnTo>
                        <a:pt x="7587" y="3432"/>
                      </a:lnTo>
                      <a:lnTo>
                        <a:pt x="7219" y="4368"/>
                      </a:lnTo>
                      <a:lnTo>
                        <a:pt x="7243" y="3236"/>
                      </a:lnTo>
                      <a:lnTo>
                        <a:pt x="7243" y="0"/>
                      </a:lnTo>
                      <a:lnTo>
                        <a:pt x="6111" y="0"/>
                      </a:lnTo>
                      <a:lnTo>
                        <a:pt x="6111" y="6620"/>
                      </a:lnTo>
                      <a:lnTo>
                        <a:pt x="7486" y="6620"/>
                      </a:lnTo>
                      <a:lnTo>
                        <a:pt x="8980" y="2792"/>
                      </a:lnTo>
                      <a:close/>
                      <a:moveTo>
                        <a:pt x="3172" y="0"/>
                      </a:moveTo>
                      <a:lnTo>
                        <a:pt x="1992" y="0"/>
                      </a:lnTo>
                      <a:lnTo>
                        <a:pt x="1992" y="5518"/>
                      </a:lnTo>
                      <a:lnTo>
                        <a:pt x="30" y="5518"/>
                      </a:lnTo>
                      <a:lnTo>
                        <a:pt x="30" y="6620"/>
                      </a:lnTo>
                      <a:lnTo>
                        <a:pt x="5157" y="6620"/>
                      </a:lnTo>
                      <a:lnTo>
                        <a:pt x="5157" y="5518"/>
                      </a:lnTo>
                      <a:lnTo>
                        <a:pt x="3172" y="5518"/>
                      </a:lnTo>
                      <a:close/>
                    </a:path>
                  </a:pathLst>
                </a:custGeom>
                <a:solidFill>
                  <a:schemeClr val="bg1"/>
                </a:solidFill>
                <a:ln w="5824"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861"/>
                    </a:solidFill>
                    <a:effectLst/>
                    <a:uLnTx/>
                    <a:uFillTx/>
                    <a:latin typeface="ES Build Neutral"/>
                    <a:ea typeface="+mn-ea"/>
                    <a:cs typeface="+mn-cs"/>
                  </a:endParaRPr>
                </a:p>
              </p:txBody>
            </p:sp>
          </p:grpSp>
        </p:grpSp>
        <p:grpSp>
          <p:nvGrpSpPr>
            <p:cNvPr id="43" name="IBM">
              <a:extLst>
                <a:ext uri="{FF2B5EF4-FFF2-40B4-BE49-F238E27FC236}">
                  <a16:creationId xmlns:a16="http://schemas.microsoft.com/office/drawing/2014/main" id="{2C66F5A3-54B3-F3B1-23F4-2C84545579E1}"/>
                </a:ext>
              </a:extLst>
            </p:cNvPr>
            <p:cNvGrpSpPr/>
            <p:nvPr/>
          </p:nvGrpSpPr>
          <p:grpSpPr>
            <a:xfrm>
              <a:off x="560294" y="1333919"/>
              <a:ext cx="612000" cy="612000"/>
              <a:chOff x="5021942" y="3203545"/>
              <a:chExt cx="612000" cy="612000"/>
            </a:xfrm>
          </p:grpSpPr>
          <p:sp>
            <p:nvSpPr>
              <p:cNvPr id="55" name="Flowchart: Connector 29">
                <a:extLst>
                  <a:ext uri="{FF2B5EF4-FFF2-40B4-BE49-F238E27FC236}">
                    <a16:creationId xmlns:a16="http://schemas.microsoft.com/office/drawing/2014/main" id="{8B5BBAFF-84D4-EAB6-495F-D353D275B82A}"/>
                  </a:ext>
                </a:extLst>
              </p:cNvPr>
              <p:cNvSpPr>
                <a:spLocks noChangeAspect="1"/>
              </p:cNvSpPr>
              <p:nvPr/>
            </p:nvSpPr>
            <p:spPr>
              <a:xfrm>
                <a:off x="5021942" y="3203545"/>
                <a:ext cx="612000" cy="612000"/>
              </a:xfrm>
              <a:prstGeom prst="flowChartConnector">
                <a:avLst/>
              </a:prstGeom>
              <a:solidFill>
                <a:schemeClr val="accent1">
                  <a:lumMod val="75000"/>
                  <a:lumOff val="2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96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ES Build" pitchFamily="50" charset="0"/>
                  <a:ea typeface="+mn-ea"/>
                  <a:cs typeface="Microsoft Sans Serif" panose="020B0604020202020204" pitchFamily="34" charset="0"/>
                </a:endParaRPr>
              </a:p>
            </p:txBody>
          </p:sp>
          <p:pic>
            <p:nvPicPr>
              <p:cNvPr id="56" name="Graphic 55">
                <a:extLst>
                  <a:ext uri="{FF2B5EF4-FFF2-40B4-BE49-F238E27FC236}">
                    <a16:creationId xmlns:a16="http://schemas.microsoft.com/office/drawing/2014/main" id="{2FDBE6B6-5B96-12A6-5E34-207A19D88E8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147942" y="3437365"/>
                <a:ext cx="360000" cy="144360"/>
              </a:xfrm>
              <a:prstGeom prst="rect">
                <a:avLst/>
              </a:prstGeom>
            </p:spPr>
          </p:pic>
        </p:grpSp>
        <p:grpSp>
          <p:nvGrpSpPr>
            <p:cNvPr id="44" name="Dell">
              <a:extLst>
                <a:ext uri="{FF2B5EF4-FFF2-40B4-BE49-F238E27FC236}">
                  <a16:creationId xmlns:a16="http://schemas.microsoft.com/office/drawing/2014/main" id="{40D51851-440C-857E-CBCF-D6C63D1A8CB6}"/>
                </a:ext>
              </a:extLst>
            </p:cNvPr>
            <p:cNvGrpSpPr/>
            <p:nvPr/>
          </p:nvGrpSpPr>
          <p:grpSpPr>
            <a:xfrm>
              <a:off x="560294" y="1852802"/>
              <a:ext cx="612000" cy="612000"/>
              <a:chOff x="3405575" y="3193396"/>
              <a:chExt cx="612000" cy="612000"/>
            </a:xfrm>
          </p:grpSpPr>
          <p:sp>
            <p:nvSpPr>
              <p:cNvPr id="53" name="Flowchart: Connector 27">
                <a:extLst>
                  <a:ext uri="{FF2B5EF4-FFF2-40B4-BE49-F238E27FC236}">
                    <a16:creationId xmlns:a16="http://schemas.microsoft.com/office/drawing/2014/main" id="{6201A725-6C31-7A46-2F49-54EBEEA52DB2}"/>
                  </a:ext>
                </a:extLst>
              </p:cNvPr>
              <p:cNvSpPr>
                <a:spLocks noChangeAspect="1"/>
              </p:cNvSpPr>
              <p:nvPr/>
            </p:nvSpPr>
            <p:spPr>
              <a:xfrm>
                <a:off x="3405575" y="3193396"/>
                <a:ext cx="612000" cy="612000"/>
              </a:xfrm>
              <a:prstGeom prst="flowChartConnector">
                <a:avLst/>
              </a:prstGeom>
              <a:solidFill>
                <a:srgbClr val="007DB8"/>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96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ES Build" pitchFamily="50" charset="0"/>
                  <a:ea typeface="+mn-ea"/>
                  <a:cs typeface="Microsoft Sans Serif" panose="020B0604020202020204" pitchFamily="34" charset="0"/>
                </a:endParaRPr>
              </a:p>
            </p:txBody>
          </p:sp>
          <p:sp>
            <p:nvSpPr>
              <p:cNvPr id="54" name="Freeform: Shape 28">
                <a:extLst>
                  <a:ext uri="{FF2B5EF4-FFF2-40B4-BE49-F238E27FC236}">
                    <a16:creationId xmlns:a16="http://schemas.microsoft.com/office/drawing/2014/main" id="{1E633E23-18C3-E1BF-06F1-36F360591B5D}"/>
                  </a:ext>
                </a:extLst>
              </p:cNvPr>
              <p:cNvSpPr>
                <a:spLocks noChangeAspect="1"/>
              </p:cNvSpPr>
              <p:nvPr/>
            </p:nvSpPr>
            <p:spPr>
              <a:xfrm>
                <a:off x="3552005" y="3445396"/>
                <a:ext cx="319140" cy="108000"/>
              </a:xfrm>
              <a:custGeom>
                <a:avLst/>
                <a:gdLst>
                  <a:gd name="connsiteX0" fmla="*/ 3874177 w 3874177"/>
                  <a:gd name="connsiteY0" fmla="*/ 1004664 h 1311057"/>
                  <a:gd name="connsiteX1" fmla="*/ 3874177 w 3874177"/>
                  <a:gd name="connsiteY1" fmla="*/ 1242912 h 1311057"/>
                  <a:gd name="connsiteX2" fmla="*/ 3142657 w 3874177"/>
                  <a:gd name="connsiteY2" fmla="*/ 1242912 h 1311057"/>
                  <a:gd name="connsiteX3" fmla="*/ 3142657 w 3874177"/>
                  <a:gd name="connsiteY3" fmla="*/ 68145 h 1311057"/>
                  <a:gd name="connsiteX4" fmla="*/ 3408511 w 3874177"/>
                  <a:gd name="connsiteY4" fmla="*/ 68145 h 1311057"/>
                  <a:gd name="connsiteX5" fmla="*/ 3408511 w 3874177"/>
                  <a:gd name="connsiteY5" fmla="*/ 1004491 h 1311057"/>
                  <a:gd name="connsiteX6" fmla="*/ 3874177 w 3874177"/>
                  <a:gd name="connsiteY6" fmla="*/ 1004491 h 1311057"/>
                  <a:gd name="connsiteX7" fmla="*/ 1662515 w 3874177"/>
                  <a:gd name="connsiteY7" fmla="*/ 0 h 1311057"/>
                  <a:gd name="connsiteX8" fmla="*/ 1014307 w 3874177"/>
                  <a:gd name="connsiteY8" fmla="*/ 511002 h 1311057"/>
                  <a:gd name="connsiteX9" fmla="*/ 465667 w 3874177"/>
                  <a:gd name="connsiteY9" fmla="*/ 68145 h 1311057"/>
                  <a:gd name="connsiteX10" fmla="*/ 0 w 3874177"/>
                  <a:gd name="connsiteY10" fmla="*/ 68145 h 1311057"/>
                  <a:gd name="connsiteX11" fmla="*/ 0 w 3874177"/>
                  <a:gd name="connsiteY11" fmla="*/ 1242912 h 1311057"/>
                  <a:gd name="connsiteX12" fmla="*/ 465667 w 3874177"/>
                  <a:gd name="connsiteY12" fmla="*/ 1242912 h 1311057"/>
                  <a:gd name="connsiteX13" fmla="*/ 1014307 w 3874177"/>
                  <a:gd name="connsiteY13" fmla="*/ 800229 h 1311057"/>
                  <a:gd name="connsiteX14" fmla="*/ 1662515 w 3874177"/>
                  <a:gd name="connsiteY14" fmla="*/ 1311057 h 1311057"/>
                  <a:gd name="connsiteX15" fmla="*/ 2311061 w 3874177"/>
                  <a:gd name="connsiteY15" fmla="*/ 800229 h 1311057"/>
                  <a:gd name="connsiteX16" fmla="*/ 2311061 w 3874177"/>
                  <a:gd name="connsiteY16" fmla="*/ 1242912 h 1311057"/>
                  <a:gd name="connsiteX17" fmla="*/ 3042582 w 3874177"/>
                  <a:gd name="connsiteY17" fmla="*/ 1242912 h 1311057"/>
                  <a:gd name="connsiteX18" fmla="*/ 3042582 w 3874177"/>
                  <a:gd name="connsiteY18" fmla="*/ 1004491 h 1311057"/>
                  <a:gd name="connsiteX19" fmla="*/ 2560828 w 3874177"/>
                  <a:gd name="connsiteY19" fmla="*/ 1004491 h 1311057"/>
                  <a:gd name="connsiteX20" fmla="*/ 2560828 w 3874177"/>
                  <a:gd name="connsiteY20" fmla="*/ 68145 h 1311057"/>
                  <a:gd name="connsiteX21" fmla="*/ 2294467 w 3874177"/>
                  <a:gd name="connsiteY21" fmla="*/ 68145 h 1311057"/>
                  <a:gd name="connsiteX22" fmla="*/ 2294467 w 3874177"/>
                  <a:gd name="connsiteY22" fmla="*/ 510655 h 1311057"/>
                  <a:gd name="connsiteX23" fmla="*/ 1679279 w 3874177"/>
                  <a:gd name="connsiteY23" fmla="*/ 1021831 h 1311057"/>
                  <a:gd name="connsiteX24" fmla="*/ 1546352 w 3874177"/>
                  <a:gd name="connsiteY24" fmla="*/ 902533 h 1311057"/>
                  <a:gd name="connsiteX25" fmla="*/ 1845733 w 3874177"/>
                  <a:gd name="connsiteY25" fmla="*/ 664112 h 1311057"/>
                  <a:gd name="connsiteX26" fmla="*/ 2161709 w 3874177"/>
                  <a:gd name="connsiteY26" fmla="*/ 408698 h 1311057"/>
                  <a:gd name="connsiteX27" fmla="*/ 1978829 w 3874177"/>
                  <a:gd name="connsiteY27" fmla="*/ 255761 h 1311057"/>
                  <a:gd name="connsiteX28" fmla="*/ 1363641 w 3874177"/>
                  <a:gd name="connsiteY28" fmla="*/ 749077 h 1311057"/>
                  <a:gd name="connsiteX29" fmla="*/ 1230715 w 3874177"/>
                  <a:gd name="connsiteY29" fmla="*/ 629953 h 1311057"/>
                  <a:gd name="connsiteX30" fmla="*/ 1845733 w 3874177"/>
                  <a:gd name="connsiteY30" fmla="*/ 153110 h 1311057"/>
                  <a:gd name="connsiteX31" fmla="*/ 1662853 w 3874177"/>
                  <a:gd name="connsiteY31" fmla="*/ 0 h 1311057"/>
                  <a:gd name="connsiteX32" fmla="*/ 249259 w 3874177"/>
                  <a:gd name="connsiteY32" fmla="*/ 306567 h 1311057"/>
                  <a:gd name="connsiteX33" fmla="*/ 448733 w 3874177"/>
                  <a:gd name="connsiteY33" fmla="*/ 306567 h 1311057"/>
                  <a:gd name="connsiteX34" fmla="*/ 568452 w 3874177"/>
                  <a:gd name="connsiteY34" fmla="*/ 333616 h 1311057"/>
                  <a:gd name="connsiteX35" fmla="*/ 669375 w 3874177"/>
                  <a:gd name="connsiteY35" fmla="*/ 408698 h 1311057"/>
                  <a:gd name="connsiteX36" fmla="*/ 738801 w 3874177"/>
                  <a:gd name="connsiteY36" fmla="*/ 521926 h 1311057"/>
                  <a:gd name="connsiteX37" fmla="*/ 764540 w 3874177"/>
                  <a:gd name="connsiteY37" fmla="*/ 664112 h 1311057"/>
                  <a:gd name="connsiteX38" fmla="*/ 741172 w 3874177"/>
                  <a:gd name="connsiteY38" fmla="*/ 798842 h 1311057"/>
                  <a:gd name="connsiteX39" fmla="*/ 675132 w 3874177"/>
                  <a:gd name="connsiteY39" fmla="*/ 913110 h 1311057"/>
                  <a:gd name="connsiteX40" fmla="*/ 575395 w 3874177"/>
                  <a:gd name="connsiteY40" fmla="*/ 992006 h 1311057"/>
                  <a:gd name="connsiteX41" fmla="*/ 448733 w 3874177"/>
                  <a:gd name="connsiteY41" fmla="*/ 1021484 h 1311057"/>
                  <a:gd name="connsiteX42" fmla="*/ 249259 w 3874177"/>
                  <a:gd name="connsiteY42" fmla="*/ 1021484 h 1311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874177" h="1311057">
                    <a:moveTo>
                      <a:pt x="3874177" y="1004664"/>
                    </a:moveTo>
                    <a:lnTo>
                      <a:pt x="3874177" y="1242912"/>
                    </a:lnTo>
                    <a:lnTo>
                      <a:pt x="3142657" y="1242912"/>
                    </a:lnTo>
                    <a:lnTo>
                      <a:pt x="3142657" y="68145"/>
                    </a:lnTo>
                    <a:lnTo>
                      <a:pt x="3408511" y="68145"/>
                    </a:lnTo>
                    <a:lnTo>
                      <a:pt x="3408511" y="1004491"/>
                    </a:lnTo>
                    <a:lnTo>
                      <a:pt x="3874177" y="1004491"/>
                    </a:lnTo>
                    <a:close/>
                    <a:moveTo>
                      <a:pt x="1662515" y="0"/>
                    </a:moveTo>
                    <a:lnTo>
                      <a:pt x="1014307" y="511002"/>
                    </a:lnTo>
                    <a:cubicBezTo>
                      <a:pt x="947759" y="255588"/>
                      <a:pt x="731520" y="68145"/>
                      <a:pt x="465667" y="68145"/>
                    </a:cubicBezTo>
                    <a:lnTo>
                      <a:pt x="0" y="68145"/>
                    </a:lnTo>
                    <a:lnTo>
                      <a:pt x="0" y="1242912"/>
                    </a:lnTo>
                    <a:lnTo>
                      <a:pt x="465667" y="1242912"/>
                    </a:lnTo>
                    <a:cubicBezTo>
                      <a:pt x="731520" y="1242912"/>
                      <a:pt x="964353" y="1055643"/>
                      <a:pt x="1014307" y="800229"/>
                    </a:cubicBezTo>
                    <a:lnTo>
                      <a:pt x="1662515" y="1311057"/>
                    </a:lnTo>
                    <a:lnTo>
                      <a:pt x="2311061" y="800229"/>
                    </a:lnTo>
                    <a:lnTo>
                      <a:pt x="2311061" y="1242912"/>
                    </a:lnTo>
                    <a:lnTo>
                      <a:pt x="3042582" y="1242912"/>
                    </a:lnTo>
                    <a:lnTo>
                      <a:pt x="3042582" y="1004491"/>
                    </a:lnTo>
                    <a:lnTo>
                      <a:pt x="2560828" y="1004491"/>
                    </a:lnTo>
                    <a:lnTo>
                      <a:pt x="2560828" y="68145"/>
                    </a:lnTo>
                    <a:lnTo>
                      <a:pt x="2294467" y="68145"/>
                    </a:lnTo>
                    <a:lnTo>
                      <a:pt x="2294467" y="510655"/>
                    </a:lnTo>
                    <a:lnTo>
                      <a:pt x="1679279" y="1021831"/>
                    </a:lnTo>
                    <a:lnTo>
                      <a:pt x="1546352" y="902533"/>
                    </a:lnTo>
                    <a:lnTo>
                      <a:pt x="1845733" y="664112"/>
                    </a:lnTo>
                    <a:lnTo>
                      <a:pt x="2161709" y="408698"/>
                    </a:lnTo>
                    <a:lnTo>
                      <a:pt x="1978829" y="255761"/>
                    </a:lnTo>
                    <a:lnTo>
                      <a:pt x="1363641" y="749077"/>
                    </a:lnTo>
                    <a:lnTo>
                      <a:pt x="1230715" y="629953"/>
                    </a:lnTo>
                    <a:lnTo>
                      <a:pt x="1845733" y="153110"/>
                    </a:lnTo>
                    <a:lnTo>
                      <a:pt x="1662853" y="0"/>
                    </a:lnTo>
                    <a:close/>
                    <a:moveTo>
                      <a:pt x="249259" y="306567"/>
                    </a:moveTo>
                    <a:lnTo>
                      <a:pt x="448733" y="306567"/>
                    </a:lnTo>
                    <a:cubicBezTo>
                      <a:pt x="490220" y="306567"/>
                      <a:pt x="531029" y="316103"/>
                      <a:pt x="568452" y="333616"/>
                    </a:cubicBezTo>
                    <a:cubicBezTo>
                      <a:pt x="605875" y="351130"/>
                      <a:pt x="640249" y="376966"/>
                      <a:pt x="669375" y="408698"/>
                    </a:cubicBezTo>
                    <a:cubicBezTo>
                      <a:pt x="698500" y="440776"/>
                      <a:pt x="722207" y="478750"/>
                      <a:pt x="738801" y="521926"/>
                    </a:cubicBezTo>
                    <a:cubicBezTo>
                      <a:pt x="755396" y="564929"/>
                      <a:pt x="764540" y="613133"/>
                      <a:pt x="764540" y="664112"/>
                    </a:cubicBezTo>
                    <a:cubicBezTo>
                      <a:pt x="764540" y="710929"/>
                      <a:pt x="756412" y="756533"/>
                      <a:pt x="741172" y="798842"/>
                    </a:cubicBezTo>
                    <a:cubicBezTo>
                      <a:pt x="725763" y="841150"/>
                      <a:pt x="703411" y="879991"/>
                      <a:pt x="675132" y="913110"/>
                    </a:cubicBezTo>
                    <a:cubicBezTo>
                      <a:pt x="647192" y="946056"/>
                      <a:pt x="613664" y="973106"/>
                      <a:pt x="575395" y="992006"/>
                    </a:cubicBezTo>
                    <a:cubicBezTo>
                      <a:pt x="537295" y="1010906"/>
                      <a:pt x="494453" y="1021484"/>
                      <a:pt x="448733" y="1021484"/>
                    </a:cubicBezTo>
                    <a:lnTo>
                      <a:pt x="249259" y="1021484"/>
                    </a:lnTo>
                    <a:close/>
                  </a:path>
                </a:pathLst>
              </a:custGeom>
              <a:solidFill>
                <a:schemeClr val="bg1"/>
              </a:solidFill>
              <a:ln w="169333"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861"/>
                  </a:solidFill>
                  <a:effectLst/>
                  <a:uLnTx/>
                  <a:uFillTx/>
                  <a:latin typeface="ES Build Neutral"/>
                  <a:ea typeface="+mn-ea"/>
                  <a:cs typeface="+mn-cs"/>
                </a:endParaRPr>
              </a:p>
            </p:txBody>
          </p:sp>
        </p:grpSp>
        <p:grpSp>
          <p:nvGrpSpPr>
            <p:cNvPr id="45" name="Veeam">
              <a:extLst>
                <a:ext uri="{FF2B5EF4-FFF2-40B4-BE49-F238E27FC236}">
                  <a16:creationId xmlns:a16="http://schemas.microsoft.com/office/drawing/2014/main" id="{30E6A10E-5EAB-5ABD-B580-26210780CB19}"/>
                </a:ext>
              </a:extLst>
            </p:cNvPr>
            <p:cNvGrpSpPr/>
            <p:nvPr/>
          </p:nvGrpSpPr>
          <p:grpSpPr>
            <a:xfrm>
              <a:off x="560294" y="4121472"/>
              <a:ext cx="612000" cy="612000"/>
              <a:chOff x="1592856" y="3166404"/>
              <a:chExt cx="612000" cy="612000"/>
            </a:xfrm>
          </p:grpSpPr>
          <p:sp>
            <p:nvSpPr>
              <p:cNvPr id="46" name="Flowchart: Connector 19">
                <a:extLst>
                  <a:ext uri="{FF2B5EF4-FFF2-40B4-BE49-F238E27FC236}">
                    <a16:creationId xmlns:a16="http://schemas.microsoft.com/office/drawing/2014/main" id="{9C3B6EC3-AB58-1C78-5D3E-BB45C5E64524}"/>
                  </a:ext>
                </a:extLst>
              </p:cNvPr>
              <p:cNvSpPr>
                <a:spLocks noChangeAspect="1"/>
              </p:cNvSpPr>
              <p:nvPr/>
            </p:nvSpPr>
            <p:spPr>
              <a:xfrm>
                <a:off x="1592856" y="3166404"/>
                <a:ext cx="612000" cy="612000"/>
              </a:xfrm>
              <a:prstGeom prst="flowChartConnector">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96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ES Build" pitchFamily="50" charset="0"/>
                  <a:ea typeface="+mn-ea"/>
                  <a:cs typeface="Microsoft Sans Serif" panose="020B0604020202020204" pitchFamily="34" charset="0"/>
                </a:endParaRPr>
              </a:p>
            </p:txBody>
          </p:sp>
          <p:grpSp>
            <p:nvGrpSpPr>
              <p:cNvPr id="47" name="Graphic 18">
                <a:extLst>
                  <a:ext uri="{FF2B5EF4-FFF2-40B4-BE49-F238E27FC236}">
                    <a16:creationId xmlns:a16="http://schemas.microsoft.com/office/drawing/2014/main" id="{C479DCEC-E4FD-AE2B-CCAE-526D00058080}"/>
                  </a:ext>
                </a:extLst>
              </p:cNvPr>
              <p:cNvGrpSpPr>
                <a:grpSpLocks noChangeAspect="1"/>
              </p:cNvGrpSpPr>
              <p:nvPr/>
            </p:nvGrpSpPr>
            <p:grpSpPr>
              <a:xfrm>
                <a:off x="1646863" y="3427253"/>
                <a:ext cx="504004" cy="90287"/>
                <a:chOff x="1008199" y="3688099"/>
                <a:chExt cx="432094" cy="77406"/>
              </a:xfrm>
              <a:solidFill>
                <a:srgbClr val="FFFFFF"/>
              </a:solidFill>
            </p:grpSpPr>
            <p:sp>
              <p:nvSpPr>
                <p:cNvPr id="48" name="Freeform: Shape 21">
                  <a:extLst>
                    <a:ext uri="{FF2B5EF4-FFF2-40B4-BE49-F238E27FC236}">
                      <a16:creationId xmlns:a16="http://schemas.microsoft.com/office/drawing/2014/main" id="{C6635746-BA59-8085-BEB0-929E818B6635}"/>
                    </a:ext>
                  </a:extLst>
                </p:cNvPr>
                <p:cNvSpPr/>
                <p:nvPr/>
              </p:nvSpPr>
              <p:spPr>
                <a:xfrm>
                  <a:off x="1008199" y="3689712"/>
                  <a:ext cx="84553" cy="74230"/>
                </a:xfrm>
                <a:custGeom>
                  <a:avLst/>
                  <a:gdLst>
                    <a:gd name="connsiteX0" fmla="*/ 35549 w 84553"/>
                    <a:gd name="connsiteY0" fmla="*/ 74231 h 74230"/>
                    <a:gd name="connsiteX1" fmla="*/ 0 w 84553"/>
                    <a:gd name="connsiteY1" fmla="*/ 0 h 74230"/>
                    <a:gd name="connsiteX2" fmla="*/ 16020 w 84553"/>
                    <a:gd name="connsiteY2" fmla="*/ 0 h 74230"/>
                    <a:gd name="connsiteX3" fmla="*/ 42045 w 84553"/>
                    <a:gd name="connsiteY3" fmla="*/ 55825 h 74230"/>
                    <a:gd name="connsiteX4" fmla="*/ 42354 w 84553"/>
                    <a:gd name="connsiteY4" fmla="*/ 55825 h 74230"/>
                    <a:gd name="connsiteX5" fmla="*/ 68379 w 84553"/>
                    <a:gd name="connsiteY5" fmla="*/ 0 h 74230"/>
                    <a:gd name="connsiteX6" fmla="*/ 84553 w 84553"/>
                    <a:gd name="connsiteY6" fmla="*/ 0 h 74230"/>
                    <a:gd name="connsiteX7" fmla="*/ 49004 w 84553"/>
                    <a:gd name="connsiteY7" fmla="*/ 74231 h 74230"/>
                    <a:gd name="connsiteX8" fmla="*/ 35532 w 84553"/>
                    <a:gd name="connsiteY8" fmla="*/ 74231 h 74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553" h="74230">
                      <a:moveTo>
                        <a:pt x="35549" y="74231"/>
                      </a:moveTo>
                      <a:lnTo>
                        <a:pt x="0" y="0"/>
                      </a:lnTo>
                      <a:lnTo>
                        <a:pt x="16020" y="0"/>
                      </a:lnTo>
                      <a:cubicBezTo>
                        <a:pt x="16020" y="0"/>
                        <a:pt x="41427" y="53140"/>
                        <a:pt x="42045" y="55825"/>
                      </a:cubicBezTo>
                      <a:lnTo>
                        <a:pt x="42354" y="55825"/>
                      </a:lnTo>
                      <a:cubicBezTo>
                        <a:pt x="42989" y="53131"/>
                        <a:pt x="68379" y="0"/>
                        <a:pt x="68379" y="0"/>
                      </a:cubicBezTo>
                      <a:lnTo>
                        <a:pt x="84553" y="0"/>
                      </a:lnTo>
                      <a:lnTo>
                        <a:pt x="49004" y="74231"/>
                      </a:lnTo>
                      <a:lnTo>
                        <a:pt x="35532" y="74231"/>
                      </a:lnTo>
                      <a:close/>
                    </a:path>
                  </a:pathLst>
                </a:custGeom>
                <a:solidFill>
                  <a:srgbClr val="FFFFFF"/>
                </a:solidFill>
                <a:ln w="854"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49" name="Freeform: Shape 22">
                  <a:extLst>
                    <a:ext uri="{FF2B5EF4-FFF2-40B4-BE49-F238E27FC236}">
                      <a16:creationId xmlns:a16="http://schemas.microsoft.com/office/drawing/2014/main" id="{AE2216F2-B991-368A-1AFF-94798B44B897}"/>
                    </a:ext>
                  </a:extLst>
                </p:cNvPr>
                <p:cNvSpPr/>
                <p:nvPr/>
              </p:nvSpPr>
              <p:spPr>
                <a:xfrm>
                  <a:off x="1088977" y="3688099"/>
                  <a:ext cx="72960" cy="77397"/>
                </a:xfrm>
                <a:custGeom>
                  <a:avLst/>
                  <a:gdLst>
                    <a:gd name="connsiteX0" fmla="*/ 72635 w 72960"/>
                    <a:gd name="connsiteY0" fmla="*/ 44422 h 77397"/>
                    <a:gd name="connsiteX1" fmla="*/ 15068 w 72960"/>
                    <a:gd name="connsiteY1" fmla="*/ 44422 h 77397"/>
                    <a:gd name="connsiteX2" fmla="*/ 37437 w 72960"/>
                    <a:gd name="connsiteY2" fmla="*/ 64080 h 77397"/>
                    <a:gd name="connsiteX3" fmla="*/ 56152 w 72960"/>
                    <a:gd name="connsiteY3" fmla="*/ 53612 h 77397"/>
                    <a:gd name="connsiteX4" fmla="*/ 71056 w 72960"/>
                    <a:gd name="connsiteY4" fmla="*/ 53612 h 77397"/>
                    <a:gd name="connsiteX5" fmla="*/ 37429 w 72960"/>
                    <a:gd name="connsiteY5" fmla="*/ 77397 h 77397"/>
                    <a:gd name="connsiteX6" fmla="*/ 0 w 72960"/>
                    <a:gd name="connsiteY6" fmla="*/ 38699 h 77397"/>
                    <a:gd name="connsiteX7" fmla="*/ 37429 w 72960"/>
                    <a:gd name="connsiteY7" fmla="*/ 0 h 77397"/>
                    <a:gd name="connsiteX8" fmla="*/ 72961 w 72960"/>
                    <a:gd name="connsiteY8" fmla="*/ 38699 h 77397"/>
                    <a:gd name="connsiteX9" fmla="*/ 72652 w 72960"/>
                    <a:gd name="connsiteY9" fmla="*/ 44422 h 77397"/>
                    <a:gd name="connsiteX10" fmla="*/ 15222 w 72960"/>
                    <a:gd name="connsiteY10" fmla="*/ 32366 h 77397"/>
                    <a:gd name="connsiteX11" fmla="*/ 57893 w 72960"/>
                    <a:gd name="connsiteY11" fmla="*/ 32366 h 77397"/>
                    <a:gd name="connsiteX12" fmla="*/ 37437 w 72960"/>
                    <a:gd name="connsiteY12" fmla="*/ 13343 h 77397"/>
                    <a:gd name="connsiteX13" fmla="*/ 15222 w 72960"/>
                    <a:gd name="connsiteY13" fmla="*/ 32366 h 77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960" h="77397">
                      <a:moveTo>
                        <a:pt x="72635" y="44422"/>
                      </a:moveTo>
                      <a:lnTo>
                        <a:pt x="15068" y="44422"/>
                      </a:lnTo>
                      <a:cubicBezTo>
                        <a:pt x="17135" y="56478"/>
                        <a:pt x="25999" y="64080"/>
                        <a:pt x="37437" y="64080"/>
                      </a:cubicBezTo>
                      <a:cubicBezTo>
                        <a:pt x="46799" y="64080"/>
                        <a:pt x="52977" y="60425"/>
                        <a:pt x="56152" y="53612"/>
                      </a:cubicBezTo>
                      <a:lnTo>
                        <a:pt x="71056" y="53612"/>
                      </a:lnTo>
                      <a:cubicBezTo>
                        <a:pt x="66603" y="67718"/>
                        <a:pt x="53775" y="77397"/>
                        <a:pt x="37429" y="77397"/>
                      </a:cubicBezTo>
                      <a:cubicBezTo>
                        <a:pt x="15857" y="77397"/>
                        <a:pt x="0" y="61703"/>
                        <a:pt x="0" y="38699"/>
                      </a:cubicBezTo>
                      <a:cubicBezTo>
                        <a:pt x="0" y="15694"/>
                        <a:pt x="15539" y="0"/>
                        <a:pt x="37429" y="0"/>
                      </a:cubicBezTo>
                      <a:cubicBezTo>
                        <a:pt x="56932" y="0"/>
                        <a:pt x="72961" y="16664"/>
                        <a:pt x="72961" y="38699"/>
                      </a:cubicBezTo>
                      <a:cubicBezTo>
                        <a:pt x="72961" y="40921"/>
                        <a:pt x="72961" y="42199"/>
                        <a:pt x="72652" y="44422"/>
                      </a:cubicBezTo>
                      <a:close/>
                      <a:moveTo>
                        <a:pt x="15222" y="32366"/>
                      </a:moveTo>
                      <a:lnTo>
                        <a:pt x="57893" y="32366"/>
                      </a:lnTo>
                      <a:cubicBezTo>
                        <a:pt x="56941" y="22207"/>
                        <a:pt x="48704" y="13343"/>
                        <a:pt x="37437" y="13343"/>
                      </a:cubicBezTo>
                      <a:cubicBezTo>
                        <a:pt x="25999" y="13326"/>
                        <a:pt x="17427" y="20791"/>
                        <a:pt x="15222" y="32366"/>
                      </a:cubicBezTo>
                      <a:close/>
                    </a:path>
                  </a:pathLst>
                </a:custGeom>
                <a:solidFill>
                  <a:srgbClr val="FFFFFF"/>
                </a:solidFill>
                <a:ln w="854"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50" name="Freeform: Shape 24">
                  <a:extLst>
                    <a:ext uri="{FF2B5EF4-FFF2-40B4-BE49-F238E27FC236}">
                      <a16:creationId xmlns:a16="http://schemas.microsoft.com/office/drawing/2014/main" id="{75359C54-BB8E-88B1-E2A1-8F5DE364D635}"/>
                    </a:ext>
                  </a:extLst>
                </p:cNvPr>
                <p:cNvSpPr/>
                <p:nvPr/>
              </p:nvSpPr>
              <p:spPr>
                <a:xfrm>
                  <a:off x="1167945" y="3688099"/>
                  <a:ext cx="72960" cy="77397"/>
                </a:xfrm>
                <a:custGeom>
                  <a:avLst/>
                  <a:gdLst>
                    <a:gd name="connsiteX0" fmla="*/ 72635 w 72960"/>
                    <a:gd name="connsiteY0" fmla="*/ 44422 h 77397"/>
                    <a:gd name="connsiteX1" fmla="*/ 15068 w 72960"/>
                    <a:gd name="connsiteY1" fmla="*/ 44422 h 77397"/>
                    <a:gd name="connsiteX2" fmla="*/ 37437 w 72960"/>
                    <a:gd name="connsiteY2" fmla="*/ 64080 h 77397"/>
                    <a:gd name="connsiteX3" fmla="*/ 56152 w 72960"/>
                    <a:gd name="connsiteY3" fmla="*/ 53612 h 77397"/>
                    <a:gd name="connsiteX4" fmla="*/ 71056 w 72960"/>
                    <a:gd name="connsiteY4" fmla="*/ 53612 h 77397"/>
                    <a:gd name="connsiteX5" fmla="*/ 37429 w 72960"/>
                    <a:gd name="connsiteY5" fmla="*/ 77397 h 77397"/>
                    <a:gd name="connsiteX6" fmla="*/ 0 w 72960"/>
                    <a:gd name="connsiteY6" fmla="*/ 38699 h 77397"/>
                    <a:gd name="connsiteX7" fmla="*/ 37429 w 72960"/>
                    <a:gd name="connsiteY7" fmla="*/ 0 h 77397"/>
                    <a:gd name="connsiteX8" fmla="*/ 72961 w 72960"/>
                    <a:gd name="connsiteY8" fmla="*/ 38699 h 77397"/>
                    <a:gd name="connsiteX9" fmla="*/ 72652 w 72960"/>
                    <a:gd name="connsiteY9" fmla="*/ 44422 h 77397"/>
                    <a:gd name="connsiteX10" fmla="*/ 15222 w 72960"/>
                    <a:gd name="connsiteY10" fmla="*/ 32366 h 77397"/>
                    <a:gd name="connsiteX11" fmla="*/ 57893 w 72960"/>
                    <a:gd name="connsiteY11" fmla="*/ 32366 h 77397"/>
                    <a:gd name="connsiteX12" fmla="*/ 37437 w 72960"/>
                    <a:gd name="connsiteY12" fmla="*/ 13343 h 77397"/>
                    <a:gd name="connsiteX13" fmla="*/ 15222 w 72960"/>
                    <a:gd name="connsiteY13" fmla="*/ 32366 h 77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960" h="77397">
                      <a:moveTo>
                        <a:pt x="72635" y="44422"/>
                      </a:moveTo>
                      <a:lnTo>
                        <a:pt x="15068" y="44422"/>
                      </a:lnTo>
                      <a:cubicBezTo>
                        <a:pt x="17135" y="56478"/>
                        <a:pt x="25999" y="64080"/>
                        <a:pt x="37437" y="64080"/>
                      </a:cubicBezTo>
                      <a:cubicBezTo>
                        <a:pt x="46799" y="64080"/>
                        <a:pt x="52977" y="60425"/>
                        <a:pt x="56152" y="53612"/>
                      </a:cubicBezTo>
                      <a:lnTo>
                        <a:pt x="71056" y="53612"/>
                      </a:lnTo>
                      <a:cubicBezTo>
                        <a:pt x="66603" y="67718"/>
                        <a:pt x="53775" y="77397"/>
                        <a:pt x="37429" y="77397"/>
                      </a:cubicBezTo>
                      <a:cubicBezTo>
                        <a:pt x="15857" y="77397"/>
                        <a:pt x="0" y="61703"/>
                        <a:pt x="0" y="38699"/>
                      </a:cubicBezTo>
                      <a:cubicBezTo>
                        <a:pt x="0" y="15694"/>
                        <a:pt x="15539" y="0"/>
                        <a:pt x="37429" y="0"/>
                      </a:cubicBezTo>
                      <a:cubicBezTo>
                        <a:pt x="56932" y="0"/>
                        <a:pt x="72961" y="16664"/>
                        <a:pt x="72961" y="38699"/>
                      </a:cubicBezTo>
                      <a:cubicBezTo>
                        <a:pt x="72961" y="40921"/>
                        <a:pt x="72961" y="42199"/>
                        <a:pt x="72652" y="44422"/>
                      </a:cubicBezTo>
                      <a:close/>
                      <a:moveTo>
                        <a:pt x="15222" y="32366"/>
                      </a:moveTo>
                      <a:lnTo>
                        <a:pt x="57893" y="32366"/>
                      </a:lnTo>
                      <a:cubicBezTo>
                        <a:pt x="56941" y="22207"/>
                        <a:pt x="48704" y="13343"/>
                        <a:pt x="37437" y="13343"/>
                      </a:cubicBezTo>
                      <a:cubicBezTo>
                        <a:pt x="25999" y="13326"/>
                        <a:pt x="17444" y="20791"/>
                        <a:pt x="15222" y="32366"/>
                      </a:cubicBezTo>
                      <a:close/>
                    </a:path>
                  </a:pathLst>
                </a:custGeom>
                <a:solidFill>
                  <a:srgbClr val="FFFFFF"/>
                </a:solidFill>
                <a:ln w="854"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51" name="Freeform: Shape 25">
                  <a:extLst>
                    <a:ext uri="{FF2B5EF4-FFF2-40B4-BE49-F238E27FC236}">
                      <a16:creationId xmlns:a16="http://schemas.microsoft.com/office/drawing/2014/main" id="{B246FFBE-F4EE-6DBF-3B65-68C91C2F0A0B}"/>
                    </a:ext>
                  </a:extLst>
                </p:cNvPr>
                <p:cNvSpPr/>
                <p:nvPr/>
              </p:nvSpPr>
              <p:spPr>
                <a:xfrm>
                  <a:off x="1246758" y="3688108"/>
                  <a:ext cx="74556" cy="77397"/>
                </a:xfrm>
                <a:custGeom>
                  <a:avLst/>
                  <a:gdLst>
                    <a:gd name="connsiteX0" fmla="*/ 74557 w 74556"/>
                    <a:gd name="connsiteY0" fmla="*/ 38699 h 77397"/>
                    <a:gd name="connsiteX1" fmla="*/ 74557 w 74556"/>
                    <a:gd name="connsiteY1" fmla="*/ 75810 h 77397"/>
                    <a:gd name="connsiteX2" fmla="*/ 61712 w 74556"/>
                    <a:gd name="connsiteY2" fmla="*/ 75810 h 77397"/>
                    <a:gd name="connsiteX3" fmla="*/ 60433 w 74556"/>
                    <a:gd name="connsiteY3" fmla="*/ 64234 h 77397"/>
                    <a:gd name="connsiteX4" fmla="*/ 35687 w 74556"/>
                    <a:gd name="connsiteY4" fmla="*/ 77397 h 77397"/>
                    <a:gd name="connsiteX5" fmla="*/ 0 w 74556"/>
                    <a:gd name="connsiteY5" fmla="*/ 38699 h 77397"/>
                    <a:gd name="connsiteX6" fmla="*/ 37583 w 74556"/>
                    <a:gd name="connsiteY6" fmla="*/ 0 h 77397"/>
                    <a:gd name="connsiteX7" fmla="*/ 74557 w 74556"/>
                    <a:gd name="connsiteY7" fmla="*/ 38699 h 77397"/>
                    <a:gd name="connsiteX8" fmla="*/ 59953 w 74556"/>
                    <a:gd name="connsiteY8" fmla="*/ 38699 h 77397"/>
                    <a:gd name="connsiteX9" fmla="*/ 37583 w 74556"/>
                    <a:gd name="connsiteY9" fmla="*/ 13326 h 77397"/>
                    <a:gd name="connsiteX10" fmla="*/ 14596 w 74556"/>
                    <a:gd name="connsiteY10" fmla="*/ 38699 h 77397"/>
                    <a:gd name="connsiteX11" fmla="*/ 37583 w 74556"/>
                    <a:gd name="connsiteY11" fmla="*/ 64071 h 77397"/>
                    <a:gd name="connsiteX12" fmla="*/ 59953 w 74556"/>
                    <a:gd name="connsiteY12" fmla="*/ 38699 h 77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556" h="77397">
                      <a:moveTo>
                        <a:pt x="74557" y="38699"/>
                      </a:moveTo>
                      <a:lnTo>
                        <a:pt x="74557" y="75810"/>
                      </a:lnTo>
                      <a:lnTo>
                        <a:pt x="61712" y="75810"/>
                      </a:lnTo>
                      <a:lnTo>
                        <a:pt x="60433" y="64234"/>
                      </a:lnTo>
                      <a:cubicBezTo>
                        <a:pt x="54727" y="72806"/>
                        <a:pt x="44739" y="77397"/>
                        <a:pt x="35687" y="77397"/>
                      </a:cubicBezTo>
                      <a:cubicBezTo>
                        <a:pt x="15385" y="77397"/>
                        <a:pt x="0" y="61223"/>
                        <a:pt x="0" y="38699"/>
                      </a:cubicBezTo>
                      <a:cubicBezTo>
                        <a:pt x="0" y="16174"/>
                        <a:pt x="16492" y="0"/>
                        <a:pt x="37583" y="0"/>
                      </a:cubicBezTo>
                      <a:cubicBezTo>
                        <a:pt x="56950" y="0"/>
                        <a:pt x="74557" y="13952"/>
                        <a:pt x="74557" y="38699"/>
                      </a:cubicBezTo>
                      <a:close/>
                      <a:moveTo>
                        <a:pt x="59953" y="38699"/>
                      </a:moveTo>
                      <a:cubicBezTo>
                        <a:pt x="59953" y="22370"/>
                        <a:pt x="49176" y="13326"/>
                        <a:pt x="37583" y="13326"/>
                      </a:cubicBezTo>
                      <a:cubicBezTo>
                        <a:pt x="24892" y="13326"/>
                        <a:pt x="14596" y="23485"/>
                        <a:pt x="14596" y="38699"/>
                      </a:cubicBezTo>
                      <a:cubicBezTo>
                        <a:pt x="14596" y="53912"/>
                        <a:pt x="24120" y="64071"/>
                        <a:pt x="37583" y="64071"/>
                      </a:cubicBezTo>
                      <a:cubicBezTo>
                        <a:pt x="49021" y="64071"/>
                        <a:pt x="59953" y="54547"/>
                        <a:pt x="59953" y="38699"/>
                      </a:cubicBezTo>
                      <a:close/>
                    </a:path>
                  </a:pathLst>
                </a:custGeom>
                <a:solidFill>
                  <a:srgbClr val="FFFFFF"/>
                </a:solidFill>
                <a:ln w="854"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52" name="Freeform: Shape 26">
                  <a:extLst>
                    <a:ext uri="{FF2B5EF4-FFF2-40B4-BE49-F238E27FC236}">
                      <a16:creationId xmlns:a16="http://schemas.microsoft.com/office/drawing/2014/main" id="{5398B848-F06B-D4BA-229D-D175257233E1}"/>
                    </a:ext>
                  </a:extLst>
                </p:cNvPr>
                <p:cNvSpPr/>
                <p:nvPr/>
              </p:nvSpPr>
              <p:spPr>
                <a:xfrm>
                  <a:off x="1331148" y="3688133"/>
                  <a:ext cx="109145" cy="75946"/>
                </a:xfrm>
                <a:custGeom>
                  <a:avLst/>
                  <a:gdLst>
                    <a:gd name="connsiteX0" fmla="*/ 0 w 109145"/>
                    <a:gd name="connsiteY0" fmla="*/ 75792 h 75946"/>
                    <a:gd name="connsiteX1" fmla="*/ 0 w 109145"/>
                    <a:gd name="connsiteY1" fmla="*/ 31868 h 75946"/>
                    <a:gd name="connsiteX2" fmla="*/ 30461 w 109145"/>
                    <a:gd name="connsiteY2" fmla="*/ 0 h 75946"/>
                    <a:gd name="connsiteX3" fmla="*/ 54418 w 109145"/>
                    <a:gd name="connsiteY3" fmla="*/ 13489 h 75946"/>
                    <a:gd name="connsiteX4" fmla="*/ 54727 w 109145"/>
                    <a:gd name="connsiteY4" fmla="*/ 13489 h 75946"/>
                    <a:gd name="connsiteX5" fmla="*/ 78684 w 109145"/>
                    <a:gd name="connsiteY5" fmla="*/ 0 h 75946"/>
                    <a:gd name="connsiteX6" fmla="*/ 109145 w 109145"/>
                    <a:gd name="connsiteY6" fmla="*/ 31868 h 75946"/>
                    <a:gd name="connsiteX7" fmla="*/ 109145 w 109145"/>
                    <a:gd name="connsiteY7" fmla="*/ 75792 h 75946"/>
                    <a:gd name="connsiteX8" fmla="*/ 94558 w 109145"/>
                    <a:gd name="connsiteY8" fmla="*/ 75792 h 75946"/>
                    <a:gd name="connsiteX9" fmla="*/ 94558 w 109145"/>
                    <a:gd name="connsiteY9" fmla="*/ 32967 h 75946"/>
                    <a:gd name="connsiteX10" fmla="*/ 78229 w 109145"/>
                    <a:gd name="connsiteY10" fmla="*/ 13617 h 75946"/>
                    <a:gd name="connsiteX11" fmla="*/ 61901 w 109145"/>
                    <a:gd name="connsiteY11" fmla="*/ 33276 h 75946"/>
                    <a:gd name="connsiteX12" fmla="*/ 61901 w 109145"/>
                    <a:gd name="connsiteY12" fmla="*/ 75947 h 75946"/>
                    <a:gd name="connsiteX13" fmla="*/ 47314 w 109145"/>
                    <a:gd name="connsiteY13" fmla="*/ 75947 h 75946"/>
                    <a:gd name="connsiteX14" fmla="*/ 47314 w 109145"/>
                    <a:gd name="connsiteY14" fmla="*/ 33276 h 75946"/>
                    <a:gd name="connsiteX15" fmla="*/ 30985 w 109145"/>
                    <a:gd name="connsiteY15" fmla="*/ 13617 h 75946"/>
                    <a:gd name="connsiteX16" fmla="*/ 14656 w 109145"/>
                    <a:gd name="connsiteY16" fmla="*/ 32967 h 75946"/>
                    <a:gd name="connsiteX17" fmla="*/ 14656 w 109145"/>
                    <a:gd name="connsiteY17" fmla="*/ 75792 h 75946"/>
                    <a:gd name="connsiteX18" fmla="*/ 34 w 109145"/>
                    <a:gd name="connsiteY18" fmla="*/ 75792 h 75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9145" h="75946">
                      <a:moveTo>
                        <a:pt x="0" y="75792"/>
                      </a:moveTo>
                      <a:lnTo>
                        <a:pt x="0" y="31868"/>
                      </a:lnTo>
                      <a:cubicBezTo>
                        <a:pt x="0" y="13309"/>
                        <a:pt x="11901" y="0"/>
                        <a:pt x="30461" y="0"/>
                      </a:cubicBezTo>
                      <a:cubicBezTo>
                        <a:pt x="45366" y="0"/>
                        <a:pt x="53294" y="9988"/>
                        <a:pt x="54418" y="13489"/>
                      </a:cubicBezTo>
                      <a:lnTo>
                        <a:pt x="54727" y="13489"/>
                      </a:lnTo>
                      <a:cubicBezTo>
                        <a:pt x="55834" y="10005"/>
                        <a:pt x="63763" y="0"/>
                        <a:pt x="78684" y="0"/>
                      </a:cubicBezTo>
                      <a:cubicBezTo>
                        <a:pt x="97244" y="0"/>
                        <a:pt x="109145" y="13317"/>
                        <a:pt x="109145" y="31868"/>
                      </a:cubicBezTo>
                      <a:lnTo>
                        <a:pt x="109145" y="75792"/>
                      </a:lnTo>
                      <a:lnTo>
                        <a:pt x="94558" y="75792"/>
                      </a:lnTo>
                      <a:lnTo>
                        <a:pt x="94558" y="32967"/>
                      </a:lnTo>
                      <a:cubicBezTo>
                        <a:pt x="94558" y="20911"/>
                        <a:pt x="89161" y="13617"/>
                        <a:pt x="78229" y="13617"/>
                      </a:cubicBezTo>
                      <a:cubicBezTo>
                        <a:pt x="67298" y="13617"/>
                        <a:pt x="61901" y="20911"/>
                        <a:pt x="61901" y="33276"/>
                      </a:cubicBezTo>
                      <a:lnTo>
                        <a:pt x="61901" y="75947"/>
                      </a:lnTo>
                      <a:lnTo>
                        <a:pt x="47314" y="75947"/>
                      </a:lnTo>
                      <a:lnTo>
                        <a:pt x="47314" y="33276"/>
                      </a:lnTo>
                      <a:cubicBezTo>
                        <a:pt x="47314" y="20911"/>
                        <a:pt x="41916" y="13617"/>
                        <a:pt x="30985" y="13617"/>
                      </a:cubicBezTo>
                      <a:cubicBezTo>
                        <a:pt x="20053" y="13617"/>
                        <a:pt x="14656" y="20911"/>
                        <a:pt x="14656" y="32967"/>
                      </a:cubicBezTo>
                      <a:lnTo>
                        <a:pt x="14656" y="75792"/>
                      </a:lnTo>
                      <a:lnTo>
                        <a:pt x="34" y="75792"/>
                      </a:lnTo>
                      <a:close/>
                    </a:path>
                  </a:pathLst>
                </a:custGeom>
                <a:solidFill>
                  <a:srgbClr val="FFFFFF"/>
                </a:solidFill>
                <a:ln w="854"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861"/>
                    </a:solidFill>
                    <a:effectLst/>
                    <a:uLnTx/>
                    <a:uFillTx/>
                    <a:latin typeface="ES Build Neutral"/>
                    <a:ea typeface="+mn-ea"/>
                    <a:cs typeface="+mn-cs"/>
                  </a:endParaRPr>
                </a:p>
              </p:txBody>
            </p:sp>
          </p:grpSp>
        </p:grpSp>
      </p:grpSp>
      <p:sp>
        <p:nvSpPr>
          <p:cNvPr id="9" name="Rectangle 8">
            <a:extLst>
              <a:ext uri="{FF2B5EF4-FFF2-40B4-BE49-F238E27FC236}">
                <a16:creationId xmlns:a16="http://schemas.microsoft.com/office/drawing/2014/main" id="{27C35A5D-EA4A-444D-2D00-90B345417393}"/>
              </a:ext>
            </a:extLst>
          </p:cNvPr>
          <p:cNvSpPr/>
          <p:nvPr/>
        </p:nvSpPr>
        <p:spPr>
          <a:xfrm>
            <a:off x="858" y="279036"/>
            <a:ext cx="12217940" cy="5914528"/>
          </a:xfrm>
          <a:prstGeom prst="rect">
            <a:avLst/>
          </a:prstGeom>
          <a:solidFill>
            <a:schemeClr val="bg1">
              <a:alpha val="9274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a:solidFill>
                <a:schemeClr val="bg1"/>
              </a:solidFill>
              <a:latin typeface="ES Build" pitchFamily="50" charset="0"/>
              <a:cs typeface="Microsoft Sans Serif" panose="020B0604020202020204" pitchFamily="34" charset="0"/>
            </a:endParaRPr>
          </a:p>
        </p:txBody>
      </p:sp>
      <p:sp>
        <p:nvSpPr>
          <p:cNvPr id="81" name="Graphic 18">
            <a:extLst>
              <a:ext uri="{FF2B5EF4-FFF2-40B4-BE49-F238E27FC236}">
                <a16:creationId xmlns:a16="http://schemas.microsoft.com/office/drawing/2014/main" id="{DF66935B-1ADC-E4FB-AD15-40FDACFA7B47}"/>
              </a:ext>
            </a:extLst>
          </p:cNvPr>
          <p:cNvSpPr/>
          <p:nvPr/>
        </p:nvSpPr>
        <p:spPr>
          <a:xfrm>
            <a:off x="-6347194" y="128337"/>
            <a:ext cx="17735580" cy="6858000"/>
          </a:xfrm>
          <a:custGeom>
            <a:avLst/>
            <a:gdLst>
              <a:gd name="connsiteX0" fmla="*/ 6664744 w 7771504"/>
              <a:gd name="connsiteY0" fmla="*/ 0 h 3005088"/>
              <a:gd name="connsiteX1" fmla="*/ 4094837 w 7771504"/>
              <a:gd name="connsiteY1" fmla="*/ 2554683 h 3005088"/>
              <a:gd name="connsiteX2" fmla="*/ 3884409 w 7771504"/>
              <a:gd name="connsiteY2" fmla="*/ 2641541 h 3005088"/>
              <a:gd name="connsiteX3" fmla="*/ 3674877 w 7771504"/>
              <a:gd name="connsiteY3" fmla="*/ 2554683 h 3005088"/>
              <a:gd name="connsiteX4" fmla="*/ 1104970 w 7771504"/>
              <a:gd name="connsiteY4" fmla="*/ 0 h 3005088"/>
              <a:gd name="connsiteX5" fmla="*/ 0 w 7771504"/>
              <a:gd name="connsiteY5" fmla="*/ 1100493 h 3005088"/>
              <a:gd name="connsiteX6" fmla="*/ 1487322 w 7771504"/>
              <a:gd name="connsiteY6" fmla="*/ 2576174 h 3005088"/>
              <a:gd name="connsiteX7" fmla="*/ 2529612 w 7771504"/>
              <a:gd name="connsiteY7" fmla="*/ 3005088 h 3005088"/>
              <a:gd name="connsiteX8" fmla="*/ 5241893 w 7771504"/>
              <a:gd name="connsiteY8" fmla="*/ 3005088 h 3005088"/>
              <a:gd name="connsiteX9" fmla="*/ 6284183 w 7771504"/>
              <a:gd name="connsiteY9" fmla="*/ 2576174 h 3005088"/>
              <a:gd name="connsiteX10" fmla="*/ 7771505 w 7771504"/>
              <a:gd name="connsiteY10" fmla="*/ 1100493 h 3005088"/>
              <a:gd name="connsiteX11" fmla="*/ 6664744 w 7771504"/>
              <a:gd name="connsiteY11" fmla="*/ 0 h 3005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771504" h="3005088">
                <a:moveTo>
                  <a:pt x="6664744" y="0"/>
                </a:moveTo>
                <a:lnTo>
                  <a:pt x="4094837" y="2554683"/>
                </a:lnTo>
                <a:cubicBezTo>
                  <a:pt x="4036634" y="2611991"/>
                  <a:pt x="3960521" y="2641541"/>
                  <a:pt x="3884409" y="2641541"/>
                </a:cubicBezTo>
                <a:cubicBezTo>
                  <a:pt x="3808297" y="2641541"/>
                  <a:pt x="3732185" y="2612887"/>
                  <a:pt x="3674877" y="2554683"/>
                </a:cubicBezTo>
                <a:lnTo>
                  <a:pt x="1104970" y="0"/>
                </a:lnTo>
                <a:lnTo>
                  <a:pt x="0" y="1100493"/>
                </a:lnTo>
                <a:lnTo>
                  <a:pt x="1487322" y="2576174"/>
                </a:lnTo>
                <a:cubicBezTo>
                  <a:pt x="1764013" y="2851073"/>
                  <a:pt x="2138306" y="3005088"/>
                  <a:pt x="2529612" y="3005088"/>
                </a:cubicBezTo>
                <a:lnTo>
                  <a:pt x="5241893" y="3005088"/>
                </a:lnTo>
                <a:cubicBezTo>
                  <a:pt x="5632304" y="3005088"/>
                  <a:pt x="6007493" y="2851073"/>
                  <a:pt x="6284183" y="2576174"/>
                </a:cubicBezTo>
                <a:lnTo>
                  <a:pt x="7771505" y="1100493"/>
                </a:lnTo>
                <a:lnTo>
                  <a:pt x="6664744" y="0"/>
                </a:lnTo>
                <a:close/>
              </a:path>
            </a:pathLst>
          </a:custGeom>
          <a:gradFill>
            <a:gsLst>
              <a:gs pos="28000">
                <a:schemeClr val="accent2"/>
              </a:gs>
              <a:gs pos="78000">
                <a:schemeClr val="accent2">
                  <a:alpha val="0"/>
                </a:schemeClr>
              </a:gs>
            </a:gsLst>
            <a:lin ang="0" scaled="0"/>
          </a:gradFill>
          <a:ln w="8954" cap="flat">
            <a:noFill/>
            <a:prstDash val="solid"/>
            <a:miter/>
          </a:ln>
        </p:spPr>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RU" sz="18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84" name="!!txt">
            <a:extLst>
              <a:ext uri="{FF2B5EF4-FFF2-40B4-BE49-F238E27FC236}">
                <a16:creationId xmlns:a16="http://schemas.microsoft.com/office/drawing/2014/main" id="{12FCC830-205B-007B-46D0-7D577252BEEC}"/>
              </a:ext>
            </a:extLst>
          </p:cNvPr>
          <p:cNvSpPr txBox="1"/>
          <p:nvPr/>
        </p:nvSpPr>
        <p:spPr>
          <a:xfrm>
            <a:off x="-7417349" y="-885943"/>
            <a:ext cx="27084812" cy="9203890"/>
          </a:xfrm>
          <a:prstGeom prst="rect">
            <a:avLst/>
          </a:prstGeom>
          <a:noFill/>
        </p:spPr>
        <p:txBody>
          <a:bodyPr wrap="square" lIns="0" tIns="0" rIns="0" bIns="0" rtlCol="0" anchor="ctr">
            <a:noAutofit/>
          </a:bodyPr>
          <a:lstStyle/>
          <a:p>
            <a:pPr lvl="0" algn="ctr">
              <a:lnSpc>
                <a:spcPct val="80000"/>
              </a:lnSpc>
              <a:defRPr/>
            </a:pPr>
            <a:r>
              <a:rPr lang="en-US" sz="20000">
                <a:latin typeface="ES Build" pitchFamily="2" charset="77"/>
                <a:ea typeface="ES Build" pitchFamily="2" charset="77"/>
              </a:rPr>
              <a:t>Data</a:t>
            </a:r>
          </a:p>
          <a:p>
            <a:pPr lvl="0" algn="ctr">
              <a:lnSpc>
                <a:spcPct val="80000"/>
              </a:lnSpc>
              <a:defRPr/>
            </a:pPr>
            <a:r>
              <a:rPr lang="en-US" sz="20000">
                <a:latin typeface="ES Build" pitchFamily="2" charset="77"/>
                <a:ea typeface="ES Build" pitchFamily="2" charset="77"/>
              </a:rPr>
              <a:t>Resilience</a:t>
            </a:r>
            <a:endParaRPr lang="en-US" sz="20000"/>
          </a:p>
        </p:txBody>
      </p:sp>
    </p:spTree>
    <p:extLst>
      <p:ext uri="{BB962C8B-B14F-4D97-AF65-F5344CB8AC3E}">
        <p14:creationId xmlns:p14="http://schemas.microsoft.com/office/powerpoint/2010/main" val="421239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0" presetClass="path" presetSubtype="0" fill="hold" nodeType="withEffect">
                                  <p:stCondLst>
                                    <p:cond delay="0"/>
                                  </p:stCondLst>
                                  <p:childTnLst>
                                    <p:animMotion origin="layout" path="M -3.54167E-6 -0.0125 L 0.11797 -0.04514 L 0.36628 0.02037 L 0.48555 -0.00371 L 0.61355 0.04884 L 0.73399 0.04653 L 0.82982 0.04004 " pathEditMode="relative" rAng="0" ptsTypes="AAAAAAA">
                                      <p:cBhvr>
                                        <p:cTn id="6" dur="5000" fill="hold"/>
                                        <p:tgtEl>
                                          <p:spTgt spid="11"/>
                                        </p:tgtEl>
                                        <p:attrNameLst>
                                          <p:attrName>ppt_x</p:attrName>
                                          <p:attrName>ppt_y</p:attrName>
                                        </p:attrNameLst>
                                      </p:cBhvr>
                                      <p:rCtr x="41484" y="1435"/>
                                    </p:animMotion>
                                  </p:childTnLst>
                                </p:cTn>
                              </p:par>
                              <p:par>
                                <p:cTn id="7" presetID="0" presetClass="path" presetSubtype="0" fill="hold" nodeType="withEffect">
                                  <p:stCondLst>
                                    <p:cond delay="0"/>
                                  </p:stCondLst>
                                  <p:childTnLst>
                                    <p:animMotion origin="layout" path="M -0.00338 0.00185 L 0.11589 0.09352 L 0.23386 0.28588 L 0.36302 0.34491 L 0.48464 0.34931 L 0.72943 0.49792 L 0.83151 0.50903 " pathEditMode="relative" rAng="0" ptsTypes="AAAAAAA">
                                      <p:cBhvr>
                                        <p:cTn id="8" dur="5000" fill="hold"/>
                                        <p:tgtEl>
                                          <p:spTgt spid="14"/>
                                        </p:tgtEl>
                                        <p:attrNameLst>
                                          <p:attrName>ppt_x</p:attrName>
                                          <p:attrName>ppt_y</p:attrName>
                                        </p:attrNameLst>
                                      </p:cBhvr>
                                      <p:rCtr x="41745" y="25347"/>
                                    </p:animMotion>
                                  </p:childTnLst>
                                </p:cTn>
                              </p:par>
                              <p:par>
                                <p:cTn id="9" presetID="0" presetClass="path" presetSubtype="0" fill="hold" nodeType="withEffect">
                                  <p:stCondLst>
                                    <p:cond delay="0"/>
                                  </p:stCondLst>
                                  <p:childTnLst>
                                    <p:animMotion origin="layout" path="M 0.00039 0.00579 L 0.1306 0.06458 L 0.23633 0.14329 L 0.35925 0.17616 L 0.48594 0.23079 L 0.60521 0.34884 L 0.83021 0.33773 " pathEditMode="relative" rAng="0" ptsTypes="AAAAAAA">
                                      <p:cBhvr>
                                        <p:cTn id="10" dur="5000" fill="hold"/>
                                        <p:tgtEl>
                                          <p:spTgt spid="26"/>
                                        </p:tgtEl>
                                        <p:attrNameLst>
                                          <p:attrName>ppt_x</p:attrName>
                                          <p:attrName>ppt_y</p:attrName>
                                        </p:attrNameLst>
                                      </p:cBhvr>
                                      <p:rCtr x="41484" y="17153"/>
                                    </p:animMotion>
                                  </p:childTnLst>
                                </p:cTn>
                              </p:par>
                              <p:par>
                                <p:cTn id="11" presetID="0" presetClass="path" presetSubtype="0" fill="hold" nodeType="withEffect">
                                  <p:stCondLst>
                                    <p:cond delay="0"/>
                                  </p:stCondLst>
                                  <p:childTnLst>
                                    <p:animMotion origin="layout" path="M -0.00208 -0.00231 L 0.11589 0.08959 L 0.24128 -0.10926 L 0.36537 -0.09189 L 0.48842 -0.06134 L 0.61133 0.11366 L 0.73295 0.15301 L 0.83151 0.12223 " pathEditMode="relative" rAng="0" ptsTypes="AAAAAAAA">
                                      <p:cBhvr>
                                        <p:cTn id="12" dur="5000" fill="hold"/>
                                        <p:tgtEl>
                                          <p:spTgt spid="29"/>
                                        </p:tgtEl>
                                        <p:attrNameLst>
                                          <p:attrName>ppt_x</p:attrName>
                                          <p:attrName>ppt_y</p:attrName>
                                        </p:attrNameLst>
                                      </p:cBhvr>
                                      <p:rCtr x="41680" y="2407"/>
                                    </p:animMotion>
                                  </p:childTnLst>
                                </p:cTn>
                              </p:par>
                              <p:par>
                                <p:cTn id="13" presetID="0" presetClass="path" presetSubtype="0" fill="hold" nodeType="withEffect">
                                  <p:stCondLst>
                                    <p:cond delay="0"/>
                                  </p:stCondLst>
                                  <p:childTnLst>
                                    <p:animMotion origin="layout" path="M -0.00091 -0.00069 L 0.12201 -0.11458 L 0.23881 -0.06435 L 0.48842 -0.18009 L 0.6569 -0.21296 L 0.73308 -0.21528 L 0.83138 -0.26319 " pathEditMode="relative" rAng="0" ptsTypes="AAAAAAA">
                                      <p:cBhvr>
                                        <p:cTn id="14" dur="5000" fill="hold"/>
                                        <p:tgtEl>
                                          <p:spTgt spid="32"/>
                                        </p:tgtEl>
                                        <p:attrNameLst>
                                          <p:attrName>ppt_x</p:attrName>
                                          <p:attrName>ppt_y</p:attrName>
                                        </p:attrNameLst>
                                      </p:cBhvr>
                                      <p:rCtr x="41615" y="-13125"/>
                                    </p:animMotion>
                                  </p:childTnLst>
                                </p:cTn>
                              </p:par>
                              <p:par>
                                <p:cTn id="15" presetID="22" presetClass="entr" presetSubtype="8" fill="hold" grpId="0" nodeType="withEffect">
                                  <p:stCondLst>
                                    <p:cond delay="250"/>
                                  </p:stCondLst>
                                  <p:childTnLst>
                                    <p:set>
                                      <p:cBhvr>
                                        <p:cTn id="16" dur="1" fill="hold">
                                          <p:stCondLst>
                                            <p:cond delay="0"/>
                                          </p:stCondLst>
                                        </p:cTn>
                                        <p:tgtEl>
                                          <p:spTgt spid="74">
                                            <p:graphicEl>
                                              <a:chart seriesIdx="0" categoryIdx="-4" bldStep="series"/>
                                            </p:graphicEl>
                                          </p:spTgt>
                                        </p:tgtEl>
                                        <p:attrNameLst>
                                          <p:attrName>style.visibility</p:attrName>
                                        </p:attrNameLst>
                                      </p:cBhvr>
                                      <p:to>
                                        <p:strVal val="visible"/>
                                      </p:to>
                                    </p:set>
                                    <p:animEffect transition="in" filter="wipe(left)">
                                      <p:cBhvr>
                                        <p:cTn id="17" dur="5500"/>
                                        <p:tgtEl>
                                          <p:spTgt spid="74">
                                            <p:graphicEl>
                                              <a:chart seriesIdx="0" categoryIdx="-4" bldStep="series"/>
                                            </p:graphicEl>
                                          </p:spTgt>
                                        </p:tgtEl>
                                      </p:cBhvr>
                                    </p:animEffect>
                                  </p:childTnLst>
                                </p:cTn>
                              </p:par>
                              <p:par>
                                <p:cTn id="18" presetID="22" presetClass="entr" presetSubtype="8" fill="hold" grpId="0" nodeType="withEffect">
                                  <p:stCondLst>
                                    <p:cond delay="250"/>
                                  </p:stCondLst>
                                  <p:childTnLst>
                                    <p:set>
                                      <p:cBhvr>
                                        <p:cTn id="19" dur="1" fill="hold">
                                          <p:stCondLst>
                                            <p:cond delay="0"/>
                                          </p:stCondLst>
                                        </p:cTn>
                                        <p:tgtEl>
                                          <p:spTgt spid="74">
                                            <p:graphicEl>
                                              <a:chart seriesIdx="1" categoryIdx="-4" bldStep="series"/>
                                            </p:graphicEl>
                                          </p:spTgt>
                                        </p:tgtEl>
                                        <p:attrNameLst>
                                          <p:attrName>style.visibility</p:attrName>
                                        </p:attrNameLst>
                                      </p:cBhvr>
                                      <p:to>
                                        <p:strVal val="visible"/>
                                      </p:to>
                                    </p:set>
                                    <p:animEffect transition="in" filter="wipe(left)">
                                      <p:cBhvr>
                                        <p:cTn id="20" dur="5500"/>
                                        <p:tgtEl>
                                          <p:spTgt spid="74">
                                            <p:graphicEl>
                                              <a:chart seriesIdx="1" categoryIdx="-4" bldStep="series"/>
                                            </p:graphicEl>
                                          </p:spTgt>
                                        </p:tgtEl>
                                      </p:cBhvr>
                                    </p:animEffect>
                                  </p:childTnLst>
                                </p:cTn>
                              </p:par>
                              <p:par>
                                <p:cTn id="21" presetID="22" presetClass="entr" presetSubtype="8" fill="hold" grpId="0" nodeType="withEffect">
                                  <p:stCondLst>
                                    <p:cond delay="250"/>
                                  </p:stCondLst>
                                  <p:childTnLst>
                                    <p:set>
                                      <p:cBhvr>
                                        <p:cTn id="22" dur="1" fill="hold">
                                          <p:stCondLst>
                                            <p:cond delay="0"/>
                                          </p:stCondLst>
                                        </p:cTn>
                                        <p:tgtEl>
                                          <p:spTgt spid="74">
                                            <p:graphicEl>
                                              <a:chart seriesIdx="2" categoryIdx="-4" bldStep="series"/>
                                            </p:graphicEl>
                                          </p:spTgt>
                                        </p:tgtEl>
                                        <p:attrNameLst>
                                          <p:attrName>style.visibility</p:attrName>
                                        </p:attrNameLst>
                                      </p:cBhvr>
                                      <p:to>
                                        <p:strVal val="visible"/>
                                      </p:to>
                                    </p:set>
                                    <p:animEffect transition="in" filter="wipe(left)">
                                      <p:cBhvr>
                                        <p:cTn id="23" dur="5500"/>
                                        <p:tgtEl>
                                          <p:spTgt spid="74">
                                            <p:graphicEl>
                                              <a:chart seriesIdx="2" categoryIdx="-4" bldStep="series"/>
                                            </p:graphicEl>
                                          </p:spTgt>
                                        </p:tgtEl>
                                      </p:cBhvr>
                                    </p:animEffect>
                                  </p:childTnLst>
                                </p:cTn>
                              </p:par>
                              <p:par>
                                <p:cTn id="24" presetID="22" presetClass="entr" presetSubtype="8" fill="hold" grpId="0" nodeType="withEffect">
                                  <p:stCondLst>
                                    <p:cond delay="250"/>
                                  </p:stCondLst>
                                  <p:childTnLst>
                                    <p:set>
                                      <p:cBhvr>
                                        <p:cTn id="25" dur="1" fill="hold">
                                          <p:stCondLst>
                                            <p:cond delay="0"/>
                                          </p:stCondLst>
                                        </p:cTn>
                                        <p:tgtEl>
                                          <p:spTgt spid="74">
                                            <p:graphicEl>
                                              <a:chart seriesIdx="3" categoryIdx="-4" bldStep="series"/>
                                            </p:graphicEl>
                                          </p:spTgt>
                                        </p:tgtEl>
                                        <p:attrNameLst>
                                          <p:attrName>style.visibility</p:attrName>
                                        </p:attrNameLst>
                                      </p:cBhvr>
                                      <p:to>
                                        <p:strVal val="visible"/>
                                      </p:to>
                                    </p:set>
                                    <p:animEffect transition="in" filter="wipe(left)">
                                      <p:cBhvr>
                                        <p:cTn id="26" dur="5500"/>
                                        <p:tgtEl>
                                          <p:spTgt spid="74">
                                            <p:graphicEl>
                                              <a:chart seriesIdx="3" categoryIdx="-4" bldStep="series"/>
                                            </p:graphicEl>
                                          </p:spTgt>
                                        </p:tgtEl>
                                      </p:cBhvr>
                                    </p:animEffect>
                                  </p:childTnLst>
                                </p:cTn>
                              </p:par>
                              <p:par>
                                <p:cTn id="27" presetID="22" presetClass="entr" presetSubtype="8" fill="hold" grpId="0" nodeType="withEffect">
                                  <p:stCondLst>
                                    <p:cond delay="250"/>
                                  </p:stCondLst>
                                  <p:childTnLst>
                                    <p:set>
                                      <p:cBhvr>
                                        <p:cTn id="28" dur="1" fill="hold">
                                          <p:stCondLst>
                                            <p:cond delay="0"/>
                                          </p:stCondLst>
                                        </p:cTn>
                                        <p:tgtEl>
                                          <p:spTgt spid="74">
                                            <p:graphicEl>
                                              <a:chart seriesIdx="4" categoryIdx="-4" bldStep="series"/>
                                            </p:graphicEl>
                                          </p:spTgt>
                                        </p:tgtEl>
                                        <p:attrNameLst>
                                          <p:attrName>style.visibility</p:attrName>
                                        </p:attrNameLst>
                                      </p:cBhvr>
                                      <p:to>
                                        <p:strVal val="visible"/>
                                      </p:to>
                                    </p:set>
                                    <p:animEffect transition="in" filter="wipe(left)">
                                      <p:cBhvr>
                                        <p:cTn id="29" dur="5500"/>
                                        <p:tgtEl>
                                          <p:spTgt spid="74">
                                            <p:graphicEl>
                                              <a:chart seriesIdx="4" categoryIdx="-4" bldStep="series"/>
                                            </p:graphicEl>
                                          </p:spTgt>
                                        </p:tgtEl>
                                      </p:cBhvr>
                                    </p:animEffect>
                                  </p:childTnLst>
                                </p:cTn>
                              </p:par>
                            </p:childTnLst>
                          </p:cTn>
                        </p:par>
                        <p:par>
                          <p:cTn id="30" fill="hold">
                            <p:stCondLst>
                              <p:cond delay="5750"/>
                            </p:stCondLst>
                            <p:childTnLst>
                              <p:par>
                                <p:cTn id="31" presetID="10" presetClass="entr" presetSubtype="0" fill="hold" grpId="0" nodeType="afterEffect">
                                  <p:stCondLst>
                                    <p:cond delay="0"/>
                                  </p:stCondLst>
                                  <p:childTnLst>
                                    <p:set>
                                      <p:cBhvr>
                                        <p:cTn id="32" dur="1" fill="hold">
                                          <p:stCondLst>
                                            <p:cond delay="0"/>
                                          </p:stCondLst>
                                        </p:cTn>
                                        <p:tgtEl>
                                          <p:spTgt spid="9"/>
                                        </p:tgtEl>
                                        <p:attrNameLst>
                                          <p:attrName>style.visibility</p:attrName>
                                        </p:attrNameLst>
                                      </p:cBhvr>
                                      <p:to>
                                        <p:strVal val="visible"/>
                                      </p:to>
                                    </p:set>
                                    <p:animEffect transition="in" filter="fade">
                                      <p:cBhvr>
                                        <p:cTn id="33" dur="500"/>
                                        <p:tgtEl>
                                          <p:spTgt spid="9"/>
                                        </p:tgtEl>
                                      </p:cBhvr>
                                    </p:animEffect>
                                  </p:childTnLst>
                                </p:cTn>
                              </p:par>
                              <p:par>
                                <p:cTn id="34" presetID="22" presetClass="entr" presetSubtype="8" fill="hold" grpId="0" nodeType="withEffect">
                                  <p:stCondLst>
                                    <p:cond delay="2000"/>
                                  </p:stCondLst>
                                  <p:childTnLst>
                                    <p:set>
                                      <p:cBhvr>
                                        <p:cTn id="35" dur="1" fill="hold">
                                          <p:stCondLst>
                                            <p:cond delay="0"/>
                                          </p:stCondLst>
                                        </p:cTn>
                                        <p:tgtEl>
                                          <p:spTgt spid="81"/>
                                        </p:tgtEl>
                                        <p:attrNameLst>
                                          <p:attrName>style.visibility</p:attrName>
                                        </p:attrNameLst>
                                      </p:cBhvr>
                                      <p:to>
                                        <p:strVal val="visible"/>
                                      </p:to>
                                    </p:set>
                                    <p:animEffect transition="in" filter="wipe(left)">
                                      <p:cBhvr>
                                        <p:cTn id="36" dur="750"/>
                                        <p:tgtEl>
                                          <p:spTgt spid="81"/>
                                        </p:tgtEl>
                                      </p:cBhvr>
                                    </p:animEffect>
                                  </p:childTnLst>
                                </p:cTn>
                              </p:par>
                              <p:par>
                                <p:cTn id="37" presetID="10" presetClass="entr" presetSubtype="0" fill="hold" grpId="1" nodeType="withEffect">
                                  <p:stCondLst>
                                    <p:cond delay="0"/>
                                  </p:stCondLst>
                                  <p:childTnLst>
                                    <p:set>
                                      <p:cBhvr>
                                        <p:cTn id="38" dur="1" fill="hold">
                                          <p:stCondLst>
                                            <p:cond delay="0"/>
                                          </p:stCondLst>
                                        </p:cTn>
                                        <p:tgtEl>
                                          <p:spTgt spid="84"/>
                                        </p:tgtEl>
                                        <p:attrNameLst>
                                          <p:attrName>style.visibility</p:attrName>
                                        </p:attrNameLst>
                                      </p:cBhvr>
                                      <p:to>
                                        <p:strVal val="visible"/>
                                      </p:to>
                                    </p:set>
                                    <p:animEffect transition="in" filter="fade">
                                      <p:cBhvr>
                                        <p:cTn id="39" dur="3000"/>
                                        <p:tgtEl>
                                          <p:spTgt spid="84"/>
                                        </p:tgtEl>
                                      </p:cBhvr>
                                    </p:animEffect>
                                  </p:childTnLst>
                                </p:cTn>
                              </p:par>
                              <p:par>
                                <p:cTn id="40" presetID="6" presetClass="emph" presetSubtype="0" fill="hold" grpId="0" nodeType="withEffect">
                                  <p:stCondLst>
                                    <p:cond delay="0"/>
                                  </p:stCondLst>
                                  <p:childTnLst>
                                    <p:animScale>
                                      <p:cBhvr>
                                        <p:cTn id="41" dur="2000" fill="hold"/>
                                        <p:tgtEl>
                                          <p:spTgt spid="84"/>
                                        </p:tgtEl>
                                      </p:cBhvr>
                                      <p:by x="75000" y="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4" grpId="0">
        <p:bldSub>
          <a:bldChart bld="series" animBg="0"/>
        </p:bldSub>
      </p:bldGraphic>
      <p:bldP spid="9" grpId="0" animBg="1"/>
      <p:bldP spid="81" grpId="0" animBg="1"/>
      <p:bldP spid="84" grpId="0"/>
      <p:bldP spid="84" grpId="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1109B9FA-CCDC-884A-B651-CDEC9FC27D98}"/>
              </a:ext>
            </a:extLst>
          </p:cNvPr>
          <p:cNvSpPr/>
          <p:nvPr/>
        </p:nvSpPr>
        <p:spPr>
          <a:xfrm>
            <a:off x="570707" y="1386844"/>
            <a:ext cx="11011693" cy="4724400"/>
          </a:xfrm>
          <a:prstGeom prst="roundRect">
            <a:avLst>
              <a:gd name="adj" fmla="val 2081"/>
            </a:avLst>
          </a:prstGeom>
          <a:solidFill>
            <a:schemeClr val="bg1"/>
          </a:solidFill>
          <a:ln>
            <a:noFill/>
          </a:ln>
          <a:effectLst>
            <a:outerShdw blurRad="381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a:solidFill>
                <a:schemeClr val="bg1"/>
              </a:solidFill>
              <a:latin typeface="ES Build" pitchFamily="50" charset="0"/>
              <a:cs typeface="Microsoft Sans Serif" panose="020B0604020202020204" pitchFamily="34" charset="0"/>
            </a:endParaRPr>
          </a:p>
        </p:txBody>
      </p:sp>
      <p:sp>
        <p:nvSpPr>
          <p:cNvPr id="123" name="titledr">
            <a:extLst>
              <a:ext uri="{FF2B5EF4-FFF2-40B4-BE49-F238E27FC236}">
                <a16:creationId xmlns:a16="http://schemas.microsoft.com/office/drawing/2014/main" id="{F136279A-1077-DEE7-469B-4150BA14830C}"/>
              </a:ext>
            </a:extLst>
          </p:cNvPr>
          <p:cNvSpPr>
            <a:spLocks noGrp="1"/>
          </p:cNvSpPr>
          <p:nvPr>
            <p:ph type="title"/>
          </p:nvPr>
        </p:nvSpPr>
        <p:spPr>
          <a:xfrm>
            <a:off x="494506" y="279036"/>
            <a:ext cx="11202987" cy="1019164"/>
          </a:xfrm>
        </p:spPr>
        <p:txBody>
          <a:bodyPr tIns="274320" anchor="t"/>
          <a:lstStyle/>
          <a:p>
            <a:pPr algn="ctr"/>
            <a:r>
              <a:rPr lang="en-US" sz="4400">
                <a:solidFill>
                  <a:schemeClr val="accent2"/>
                </a:solidFill>
              </a:rPr>
              <a:t>Veeam is </a:t>
            </a:r>
            <a:r>
              <a:rPr lang="en-US" sz="4400" baseline="30000">
                <a:solidFill>
                  <a:schemeClr val="accent2"/>
                </a:solidFill>
              </a:rPr>
              <a:t>#</a:t>
            </a:r>
            <a:r>
              <a:rPr lang="en-US" sz="4400">
                <a:solidFill>
                  <a:schemeClr val="accent2"/>
                </a:solidFill>
              </a:rPr>
              <a:t>1 in Data Resilience</a:t>
            </a:r>
          </a:p>
        </p:txBody>
      </p:sp>
      <p:graphicFrame>
        <p:nvGraphicFramePr>
          <p:cNvPr id="124" name="Table 123">
            <a:extLst>
              <a:ext uri="{FF2B5EF4-FFF2-40B4-BE49-F238E27FC236}">
                <a16:creationId xmlns:a16="http://schemas.microsoft.com/office/drawing/2014/main" id="{3894E5B5-C143-9F51-8851-93B467D71C9B}"/>
              </a:ext>
            </a:extLst>
          </p:cNvPr>
          <p:cNvGraphicFramePr>
            <a:graphicFrameLocks noGrp="1"/>
          </p:cNvGraphicFramePr>
          <p:nvPr>
            <p:extLst>
              <p:ext uri="{D42A27DB-BD31-4B8C-83A1-F6EECF244321}">
                <p14:modId xmlns:p14="http://schemas.microsoft.com/office/powerpoint/2010/main" val="2382175492"/>
              </p:ext>
            </p:extLst>
          </p:nvPr>
        </p:nvGraphicFramePr>
        <p:xfrm>
          <a:off x="793376" y="1539244"/>
          <a:ext cx="10445332" cy="4452972"/>
        </p:xfrm>
        <a:graphic>
          <a:graphicData uri="http://schemas.openxmlformats.org/drawingml/2006/table">
            <a:tbl>
              <a:tblPr firstRow="1" bandRow="1">
                <a:tableStyleId>{2D5ABB26-0587-4C30-8999-92F81FD0307C}</a:tableStyleId>
              </a:tblPr>
              <a:tblGrid>
                <a:gridCol w="2611333">
                  <a:extLst>
                    <a:ext uri="{9D8B030D-6E8A-4147-A177-3AD203B41FA5}">
                      <a16:colId xmlns:a16="http://schemas.microsoft.com/office/drawing/2014/main" val="2178048215"/>
                    </a:ext>
                  </a:extLst>
                </a:gridCol>
                <a:gridCol w="2611333">
                  <a:extLst>
                    <a:ext uri="{9D8B030D-6E8A-4147-A177-3AD203B41FA5}">
                      <a16:colId xmlns:a16="http://schemas.microsoft.com/office/drawing/2014/main" val="1426286082"/>
                    </a:ext>
                  </a:extLst>
                </a:gridCol>
                <a:gridCol w="2611333">
                  <a:extLst>
                    <a:ext uri="{9D8B030D-6E8A-4147-A177-3AD203B41FA5}">
                      <a16:colId xmlns:a16="http://schemas.microsoft.com/office/drawing/2014/main" val="3466944328"/>
                    </a:ext>
                  </a:extLst>
                </a:gridCol>
                <a:gridCol w="2611333">
                  <a:extLst>
                    <a:ext uri="{9D8B030D-6E8A-4147-A177-3AD203B41FA5}">
                      <a16:colId xmlns:a16="http://schemas.microsoft.com/office/drawing/2014/main" val="528448829"/>
                    </a:ext>
                  </a:extLst>
                </a:gridCol>
              </a:tblGrid>
              <a:tr h="2226486">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a:ln>
                            <a:noFill/>
                          </a:ln>
                          <a:solidFill>
                            <a:schemeClr val="tx1"/>
                          </a:solidFill>
                          <a:effectLst/>
                          <a:uLnTx/>
                          <a:uFillTx/>
                          <a:latin typeface="+mn-lt"/>
                          <a:ea typeface="Tahoma" panose="020B0604030504040204" pitchFamily="34" charset="0"/>
                          <a:cs typeface="Calibri" panose="020F0502020204030204" pitchFamily="34" charset="0"/>
                          <a:sym typeface="Arial"/>
                        </a:rPr>
                        <a:t>global market share in </a:t>
                      </a:r>
                      <a:br>
                        <a:rPr kumimoji="0" lang="en-US" sz="2200" b="0" i="0" u="none" strike="noStrike" kern="1200" cap="none" spc="0" normalizeH="0" baseline="0">
                          <a:ln>
                            <a:noFill/>
                          </a:ln>
                          <a:solidFill>
                            <a:schemeClr val="tx1"/>
                          </a:solidFill>
                          <a:effectLst/>
                          <a:uLnTx/>
                          <a:uFillTx/>
                          <a:latin typeface="+mn-lt"/>
                          <a:ea typeface="Tahoma" panose="020B0604030504040204" pitchFamily="34" charset="0"/>
                          <a:cs typeface="Calibri" panose="020F0502020204030204" pitchFamily="34" charset="0"/>
                          <a:sym typeface="Arial"/>
                        </a:rPr>
                      </a:br>
                      <a:r>
                        <a:rPr kumimoji="0" lang="en-US" sz="2200" b="0" i="0" u="none" strike="noStrike" kern="1200" cap="none" spc="0" normalizeH="0" baseline="0">
                          <a:ln>
                            <a:noFill/>
                          </a:ln>
                          <a:solidFill>
                            <a:schemeClr val="tx1"/>
                          </a:solidFill>
                          <a:effectLst/>
                          <a:uLnTx/>
                          <a:uFillTx/>
                          <a:latin typeface="+mn-lt"/>
                          <a:ea typeface="Tahoma" panose="020B0604030504040204" pitchFamily="34" charset="0"/>
                          <a:cs typeface="Calibri" panose="020F0502020204030204" pitchFamily="34" charset="0"/>
                          <a:sym typeface="Arial"/>
                        </a:rPr>
                        <a:t>Data Replication </a:t>
                      </a:r>
                      <a:br>
                        <a:rPr kumimoji="0" lang="en-US" sz="2200" b="0" i="0" u="none" strike="noStrike" kern="1200" cap="none" spc="0" normalizeH="0" baseline="0">
                          <a:ln>
                            <a:noFill/>
                          </a:ln>
                          <a:solidFill>
                            <a:schemeClr val="tx1"/>
                          </a:solidFill>
                          <a:effectLst/>
                          <a:uLnTx/>
                          <a:uFillTx/>
                          <a:latin typeface="+mn-lt"/>
                          <a:ea typeface="Tahoma" panose="020B0604030504040204" pitchFamily="34" charset="0"/>
                          <a:cs typeface="Calibri" panose="020F0502020204030204" pitchFamily="34" charset="0"/>
                          <a:sym typeface="Arial"/>
                        </a:rPr>
                      </a:br>
                      <a:r>
                        <a:rPr kumimoji="0" lang="en-US" sz="2200" b="0" i="0" u="none" strike="noStrike" kern="1200" cap="none" spc="0" normalizeH="0" baseline="0">
                          <a:ln>
                            <a:noFill/>
                          </a:ln>
                          <a:solidFill>
                            <a:schemeClr val="tx1"/>
                          </a:solidFill>
                          <a:effectLst/>
                          <a:uLnTx/>
                          <a:uFillTx/>
                          <a:latin typeface="+mn-lt"/>
                          <a:ea typeface="Tahoma" panose="020B0604030504040204" pitchFamily="34" charset="0"/>
                          <a:cs typeface="Calibri" panose="020F0502020204030204" pitchFamily="34" charset="0"/>
                          <a:sym typeface="Arial"/>
                        </a:rPr>
                        <a:t>&amp; Protection</a:t>
                      </a:r>
                    </a:p>
                  </a:txBody>
                  <a:tcPr marT="182880"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2000" kern="1200">
                          <a:solidFill>
                            <a:schemeClr val="tx1"/>
                          </a:solidFill>
                          <a:effectLst/>
                          <a:latin typeface="+mn-lt"/>
                          <a:ea typeface="+mn-ea"/>
                          <a:cs typeface="+mn-cs"/>
                        </a:rPr>
                        <a:t>Secure Recovery,</a:t>
                      </a:r>
                      <a:br>
                        <a:rPr lang="en-US" sz="2000" kern="1200">
                          <a:solidFill>
                            <a:schemeClr val="tx1"/>
                          </a:solidFill>
                          <a:effectLst/>
                          <a:latin typeface="+mn-lt"/>
                          <a:ea typeface="+mn-ea"/>
                          <a:cs typeface="+mn-cs"/>
                        </a:rPr>
                      </a:br>
                      <a:r>
                        <a:rPr lang="en-US" sz="2000" kern="1200">
                          <a:solidFill>
                            <a:schemeClr val="tx1"/>
                          </a:solidFill>
                          <a:effectLst/>
                          <a:latin typeface="+mn-lt"/>
                          <a:ea typeface="+mn-ea"/>
                          <a:cs typeface="+mn-cs"/>
                        </a:rPr>
                        <a:t>5x faster</a:t>
                      </a:r>
                      <a:endParaRPr lang="en-US" sz="2000">
                        <a:solidFill>
                          <a:schemeClr val="tx1"/>
                        </a:solidFill>
                      </a:endParaRPr>
                    </a:p>
                  </a:txBody>
                  <a:tcPr marT="9144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2000" kern="1200">
                          <a:solidFill>
                            <a:schemeClr val="tx1"/>
                          </a:solidFill>
                          <a:effectLst/>
                          <a:latin typeface="+mn-lt"/>
                          <a:ea typeface="+mn-ea"/>
                          <a:cs typeface="+mn-cs"/>
                        </a:rPr>
                        <a:t>Data </a:t>
                      </a:r>
                    </a:p>
                    <a:p>
                      <a:pPr algn="ctr"/>
                      <a:r>
                        <a:rPr lang="en-US" sz="2000" kern="1200">
                          <a:solidFill>
                            <a:schemeClr val="tx1"/>
                          </a:solidFill>
                          <a:effectLst/>
                          <a:latin typeface="+mn-lt"/>
                          <a:ea typeface="+mn-ea"/>
                          <a:cs typeface="+mn-cs"/>
                        </a:rPr>
                        <a:t>Portability</a:t>
                      </a:r>
                      <a:r>
                        <a:rPr lang="en-US" sz="2000">
                          <a:solidFill>
                            <a:schemeClr val="tx1"/>
                          </a:solidFill>
                          <a:effectLst/>
                        </a:rPr>
                        <a:t> </a:t>
                      </a:r>
                      <a:endParaRPr lang="en-US" sz="2000">
                        <a:solidFill>
                          <a:schemeClr val="tx1"/>
                        </a:solidFill>
                      </a:endParaRPr>
                    </a:p>
                  </a:txBody>
                  <a:tcPr marT="9144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2000" kern="1200">
                          <a:solidFill>
                            <a:schemeClr val="tx1"/>
                          </a:solidFill>
                          <a:effectLst/>
                          <a:latin typeface="+mn-lt"/>
                          <a:ea typeface="+mn-ea"/>
                          <a:cs typeface="+mn-cs"/>
                        </a:rPr>
                        <a:t>Microsoft </a:t>
                      </a:r>
                      <a:br>
                        <a:rPr lang="en-US" sz="2000" kern="1200">
                          <a:solidFill>
                            <a:schemeClr val="tx1"/>
                          </a:solidFill>
                          <a:effectLst/>
                          <a:latin typeface="+mn-lt"/>
                          <a:ea typeface="+mn-ea"/>
                          <a:cs typeface="+mn-cs"/>
                        </a:rPr>
                      </a:br>
                      <a:r>
                        <a:rPr lang="en-US" sz="2000" kern="1200">
                          <a:solidFill>
                            <a:schemeClr val="tx1"/>
                          </a:solidFill>
                          <a:effectLst/>
                          <a:latin typeface="+mn-lt"/>
                          <a:ea typeface="+mn-ea"/>
                          <a:cs typeface="+mn-cs"/>
                        </a:rPr>
                        <a:t>365</a:t>
                      </a:r>
                    </a:p>
                  </a:txBody>
                  <a:tcPr marT="914400">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34817845"/>
                  </a:ext>
                </a:extLst>
              </a:tr>
              <a:tr h="2226486">
                <a:tc vMerge="1">
                  <a:txBody>
                    <a:bodyPr/>
                    <a:lstStyle/>
                    <a:p>
                      <a:endParaRPr lang="en-US"/>
                    </a:p>
                  </a:txBody>
                  <a:tcPr>
                    <a:lnL w="6350" cap="flat" cmpd="sng" algn="ctr">
                      <a:solidFill>
                        <a:srgbClr val="FFFFFF">
                          <a:alpha val="25098"/>
                        </a:srgbClr>
                      </a:solidFill>
                      <a:prstDash val="solid"/>
                      <a:round/>
                      <a:headEnd type="none" w="med" len="med"/>
                      <a:tailEnd type="none" w="med" len="med"/>
                    </a:lnL>
                    <a:lnR w="6350" cap="flat" cmpd="sng" algn="ctr">
                      <a:solidFill>
                        <a:srgbClr val="FFFFFF">
                          <a:alpha val="25098"/>
                        </a:srgbClr>
                      </a:solidFill>
                      <a:prstDash val="solid"/>
                      <a:round/>
                      <a:headEnd type="none" w="med" len="med"/>
                      <a:tailEnd type="none" w="med" len="med"/>
                    </a:lnR>
                    <a:lnT w="6350" cap="flat" cmpd="sng" algn="ctr">
                      <a:solidFill>
                        <a:srgbClr val="FFFFFF">
                          <a:alpha val="25098"/>
                        </a:srgbClr>
                      </a:solidFill>
                      <a:prstDash val="solid"/>
                      <a:round/>
                      <a:headEnd type="none" w="med" len="med"/>
                      <a:tailEnd type="none" w="med" len="med"/>
                    </a:lnT>
                    <a:lnB w="6350" cap="flat" cmpd="sng" algn="ctr">
                      <a:solidFill>
                        <a:srgbClr val="FFFFFF">
                          <a:alpha val="25098"/>
                        </a:srgb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2000" kern="1200">
                          <a:solidFill>
                            <a:schemeClr val="tx1"/>
                          </a:solidFill>
                          <a:effectLst/>
                          <a:latin typeface="+mn-lt"/>
                          <a:ea typeface="+mn-ea"/>
                          <a:cs typeface="+mn-cs"/>
                        </a:rPr>
                        <a:t>Kubernetes</a:t>
                      </a:r>
                      <a:r>
                        <a:rPr lang="en-US" sz="2000">
                          <a:solidFill>
                            <a:schemeClr val="tx1"/>
                          </a:solidFill>
                          <a:effectLst/>
                        </a:rPr>
                        <a:t> </a:t>
                      </a:r>
                      <a:endParaRPr lang="en-US" sz="2000">
                        <a:solidFill>
                          <a:schemeClr val="tx1"/>
                        </a:solidFill>
                      </a:endParaRPr>
                    </a:p>
                  </a:txBody>
                  <a:tcPr marT="9144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2000" kern="1200">
                          <a:solidFill>
                            <a:schemeClr val="tx1"/>
                          </a:solidFill>
                          <a:effectLst/>
                          <a:latin typeface="+mn-lt"/>
                          <a:ea typeface="+mn-ea"/>
                          <a:cs typeface="+mn-cs"/>
                        </a:rPr>
                        <a:t>Multi-cloud / Hybrid</a:t>
                      </a:r>
                      <a:endParaRPr lang="en-US" sz="2000">
                        <a:solidFill>
                          <a:schemeClr val="tx1"/>
                        </a:solidFill>
                      </a:endParaRPr>
                    </a:p>
                  </a:txBody>
                  <a:tcPr marT="9144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kern="1200">
                          <a:solidFill>
                            <a:schemeClr val="tx1"/>
                          </a:solidFill>
                          <a:effectLst/>
                          <a:latin typeface="+mn-lt"/>
                          <a:ea typeface="+mn-ea"/>
                          <a:cs typeface="+mn-cs"/>
                        </a:rPr>
                        <a:t>Magic Quadrant, ability to execute</a:t>
                      </a:r>
                      <a:r>
                        <a:rPr lang="en-US" sz="2000">
                          <a:solidFill>
                            <a:schemeClr val="tx1"/>
                          </a:solidFill>
                          <a:effectLst/>
                        </a:rPr>
                        <a:t> </a:t>
                      </a:r>
                      <a:endParaRPr kumimoji="0" lang="en-US" sz="2000" b="0" i="0" u="none" strike="noStrike" kern="1200" cap="none" spc="0" normalizeH="0" baseline="0" noProof="0">
                        <a:ln>
                          <a:noFill/>
                        </a:ln>
                        <a:solidFill>
                          <a:schemeClr val="tx1"/>
                        </a:solidFill>
                        <a:effectLst/>
                        <a:uLnTx/>
                        <a:uFillTx/>
                        <a:latin typeface="+mn-lt"/>
                        <a:ea typeface="+mn-ea"/>
                        <a:cs typeface="+mn-cs"/>
                        <a:sym typeface="Arial"/>
                      </a:endParaRPr>
                    </a:p>
                  </a:txBody>
                  <a:tcPr marT="914400">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80055382"/>
                  </a:ext>
                </a:extLst>
              </a:tr>
            </a:tbl>
          </a:graphicData>
        </a:graphic>
      </p:graphicFrame>
      <p:sp>
        <p:nvSpPr>
          <p:cNvPr id="128" name="TextBox 127">
            <a:extLst>
              <a:ext uri="{FF2B5EF4-FFF2-40B4-BE49-F238E27FC236}">
                <a16:creationId xmlns:a16="http://schemas.microsoft.com/office/drawing/2014/main" id="{C3F7CF7C-E50E-5F64-8E58-AD2C27369A9D}"/>
              </a:ext>
            </a:extLst>
          </p:cNvPr>
          <p:cNvSpPr txBox="1"/>
          <p:nvPr/>
        </p:nvSpPr>
        <p:spPr>
          <a:xfrm>
            <a:off x="1451680" y="2355659"/>
            <a:ext cx="984613" cy="92333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i="0" u="none" strike="noStrike" kern="1200" cap="none" spc="0" normalizeH="0" baseline="30000" noProof="0">
                <a:ln>
                  <a:noFill/>
                </a:ln>
                <a:solidFill>
                  <a:schemeClr val="accent2"/>
                </a:solidFill>
                <a:effectLst/>
                <a:uLnTx/>
                <a:uFillTx/>
                <a:latin typeface="ES Build Full Bauhaus" pitchFamily="2" charset="77"/>
                <a:ea typeface="ES Build Full Bauhaus" pitchFamily="2" charset="77"/>
                <a:cs typeface="+mn-cs"/>
              </a:rPr>
              <a:t>#</a:t>
            </a:r>
            <a:r>
              <a:rPr kumimoji="0" lang="en-US" sz="5400" b="1" i="0" u="none" strike="noStrike" kern="1200" cap="none" spc="0" normalizeH="0" baseline="0" noProof="0">
                <a:ln>
                  <a:noFill/>
                </a:ln>
                <a:solidFill>
                  <a:schemeClr val="accent2"/>
                </a:solidFill>
                <a:effectLst/>
                <a:uLnTx/>
                <a:uFillTx/>
                <a:latin typeface="ES Build Full Bauhaus" pitchFamily="2" charset="77"/>
                <a:ea typeface="ES Build Full Bauhaus" pitchFamily="2" charset="77"/>
                <a:cs typeface="+mn-cs"/>
              </a:rPr>
              <a:t>1</a:t>
            </a:r>
          </a:p>
        </p:txBody>
      </p:sp>
      <p:pic>
        <p:nvPicPr>
          <p:cNvPr id="129" name="Graphic 128">
            <a:extLst>
              <a:ext uri="{FF2B5EF4-FFF2-40B4-BE49-F238E27FC236}">
                <a16:creationId xmlns:a16="http://schemas.microsoft.com/office/drawing/2014/main" id="{14BFAE40-F349-BD9F-DBD2-6275CB5F467F}"/>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402369" y="5164200"/>
            <a:ext cx="1097280" cy="621792"/>
          </a:xfrm>
          <a:prstGeom prst="rect">
            <a:avLst/>
          </a:prstGeom>
        </p:spPr>
      </p:pic>
      <p:pic>
        <p:nvPicPr>
          <p:cNvPr id="130" name="Graphic 129">
            <a:extLst>
              <a:ext uri="{FF2B5EF4-FFF2-40B4-BE49-F238E27FC236}">
                <a16:creationId xmlns:a16="http://schemas.microsoft.com/office/drawing/2014/main" id="{EE402327-426A-CE9D-6E29-E7D16DB60E9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05908" y="3102410"/>
            <a:ext cx="731520" cy="221673"/>
          </a:xfrm>
          <a:prstGeom prst="rect">
            <a:avLst/>
          </a:prstGeom>
        </p:spPr>
      </p:pic>
      <p:pic>
        <p:nvPicPr>
          <p:cNvPr id="133" name="Graphic 132">
            <a:extLst>
              <a:ext uri="{FF2B5EF4-FFF2-40B4-BE49-F238E27FC236}">
                <a16:creationId xmlns:a16="http://schemas.microsoft.com/office/drawing/2014/main" id="{18FB9D22-3C8D-36CD-0F65-39FA1BC92D2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724437" y="4615744"/>
            <a:ext cx="731520" cy="221673"/>
          </a:xfrm>
          <a:prstGeom prst="rect">
            <a:avLst/>
          </a:prstGeom>
        </p:spPr>
      </p:pic>
      <p:grpSp>
        <p:nvGrpSpPr>
          <p:cNvPr id="134" name="Graphic 3">
            <a:extLst>
              <a:ext uri="{FF2B5EF4-FFF2-40B4-BE49-F238E27FC236}">
                <a16:creationId xmlns:a16="http://schemas.microsoft.com/office/drawing/2014/main" id="{3006D611-07BB-D7ED-FBE6-9D7D31B057A1}"/>
              </a:ext>
            </a:extLst>
          </p:cNvPr>
          <p:cNvGrpSpPr>
            <a:grpSpLocks noChangeAspect="1"/>
          </p:cNvGrpSpPr>
          <p:nvPr/>
        </p:nvGrpSpPr>
        <p:grpSpPr>
          <a:xfrm>
            <a:off x="9768129" y="3102410"/>
            <a:ext cx="365760" cy="397732"/>
            <a:chOff x="10640013" y="4872041"/>
            <a:chExt cx="160181" cy="174183"/>
          </a:xfrm>
          <a:solidFill>
            <a:schemeClr val="tx1"/>
          </a:solidFill>
        </p:grpSpPr>
        <p:sp>
          <p:nvSpPr>
            <p:cNvPr id="137" name="Freeform 136">
              <a:extLst>
                <a:ext uri="{FF2B5EF4-FFF2-40B4-BE49-F238E27FC236}">
                  <a16:creationId xmlns:a16="http://schemas.microsoft.com/office/drawing/2014/main" id="{5E875246-E672-9BB8-385E-09F89B0672B5}"/>
                </a:ext>
              </a:extLst>
            </p:cNvPr>
            <p:cNvSpPr/>
            <p:nvPr/>
          </p:nvSpPr>
          <p:spPr>
            <a:xfrm>
              <a:off x="10640013" y="4884779"/>
              <a:ext cx="71524" cy="131833"/>
            </a:xfrm>
            <a:custGeom>
              <a:avLst/>
              <a:gdLst>
                <a:gd name="connsiteX0" fmla="*/ 71525 w 71524"/>
                <a:gd name="connsiteY0" fmla="*/ 111230 h 131833"/>
                <a:gd name="connsiteX1" fmla="*/ 40994 w 71524"/>
                <a:gd name="connsiteY1" fmla="*/ 127933 h 131833"/>
                <a:gd name="connsiteX2" fmla="*/ 40076 w 71524"/>
                <a:gd name="connsiteY2" fmla="*/ 128422 h 131833"/>
                <a:gd name="connsiteX3" fmla="*/ 33590 w 71524"/>
                <a:gd name="connsiteY3" fmla="*/ 130870 h 131833"/>
                <a:gd name="connsiteX4" fmla="*/ 18233 w 71524"/>
                <a:gd name="connsiteY4" fmla="*/ 130870 h 131833"/>
                <a:gd name="connsiteX5" fmla="*/ 16826 w 71524"/>
                <a:gd name="connsiteY5" fmla="*/ 130503 h 131833"/>
                <a:gd name="connsiteX6" fmla="*/ 15663 w 71524"/>
                <a:gd name="connsiteY6" fmla="*/ 130136 h 131833"/>
                <a:gd name="connsiteX7" fmla="*/ 13889 w 71524"/>
                <a:gd name="connsiteY7" fmla="*/ 129462 h 131833"/>
                <a:gd name="connsiteX8" fmla="*/ 0 w 71524"/>
                <a:gd name="connsiteY8" fmla="*/ 102909 h 131833"/>
                <a:gd name="connsiteX9" fmla="*/ 0 w 71524"/>
                <a:gd name="connsiteY9" fmla="*/ 45948 h 131833"/>
                <a:gd name="connsiteX10" fmla="*/ 16703 w 71524"/>
                <a:gd name="connsiteY10" fmla="*/ 17621 h 131833"/>
                <a:gd name="connsiteX11" fmla="*/ 48887 w 71524"/>
                <a:gd name="connsiteY11" fmla="*/ 0 h 131833"/>
                <a:gd name="connsiteX12" fmla="*/ 47541 w 71524"/>
                <a:gd name="connsiteY12" fmla="*/ 3671 h 131833"/>
                <a:gd name="connsiteX13" fmla="*/ 47418 w 71524"/>
                <a:gd name="connsiteY13" fmla="*/ 3977 h 131833"/>
                <a:gd name="connsiteX14" fmla="*/ 46929 w 71524"/>
                <a:gd name="connsiteY14" fmla="*/ 5629 h 131833"/>
                <a:gd name="connsiteX15" fmla="*/ 46378 w 71524"/>
                <a:gd name="connsiteY15" fmla="*/ 7954 h 131833"/>
                <a:gd name="connsiteX16" fmla="*/ 46011 w 71524"/>
                <a:gd name="connsiteY16" fmla="*/ 9850 h 131833"/>
                <a:gd name="connsiteX17" fmla="*/ 45766 w 71524"/>
                <a:gd name="connsiteY17" fmla="*/ 11747 h 131833"/>
                <a:gd name="connsiteX18" fmla="*/ 45766 w 71524"/>
                <a:gd name="connsiteY18" fmla="*/ 11992 h 131833"/>
                <a:gd name="connsiteX19" fmla="*/ 45644 w 71524"/>
                <a:gd name="connsiteY19" fmla="*/ 13949 h 131833"/>
                <a:gd name="connsiteX20" fmla="*/ 45644 w 71524"/>
                <a:gd name="connsiteY20" fmla="*/ 72501 h 131833"/>
                <a:gd name="connsiteX21" fmla="*/ 66569 w 71524"/>
                <a:gd name="connsiteY21" fmla="*/ 108354 h 131833"/>
                <a:gd name="connsiteX22" fmla="*/ 71525 w 71524"/>
                <a:gd name="connsiteY22" fmla="*/ 111107 h 131833"/>
                <a:gd name="connsiteX23" fmla="*/ 71525 w 71524"/>
                <a:gd name="connsiteY23" fmla="*/ 111230 h 131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1524" h="131833">
                  <a:moveTo>
                    <a:pt x="71525" y="111230"/>
                  </a:moveTo>
                  <a:lnTo>
                    <a:pt x="40994" y="127933"/>
                  </a:lnTo>
                  <a:cubicBezTo>
                    <a:pt x="40994" y="127933"/>
                    <a:pt x="40382" y="128239"/>
                    <a:pt x="40076" y="128422"/>
                  </a:cubicBezTo>
                  <a:cubicBezTo>
                    <a:pt x="37996" y="129462"/>
                    <a:pt x="35793" y="130319"/>
                    <a:pt x="33590" y="130870"/>
                  </a:cubicBezTo>
                  <a:cubicBezTo>
                    <a:pt x="28573" y="132154"/>
                    <a:pt x="23250" y="132154"/>
                    <a:pt x="18233" y="130870"/>
                  </a:cubicBezTo>
                  <a:cubicBezTo>
                    <a:pt x="17744" y="130747"/>
                    <a:pt x="17315" y="130625"/>
                    <a:pt x="16826" y="130503"/>
                  </a:cubicBezTo>
                  <a:cubicBezTo>
                    <a:pt x="16459" y="130380"/>
                    <a:pt x="16030" y="130258"/>
                    <a:pt x="15663" y="130136"/>
                  </a:cubicBezTo>
                  <a:cubicBezTo>
                    <a:pt x="15052" y="129952"/>
                    <a:pt x="14501" y="129707"/>
                    <a:pt x="13889" y="129462"/>
                  </a:cubicBezTo>
                  <a:cubicBezTo>
                    <a:pt x="5201" y="123466"/>
                    <a:pt x="0" y="113555"/>
                    <a:pt x="0" y="102909"/>
                  </a:cubicBezTo>
                  <a:lnTo>
                    <a:pt x="0" y="45948"/>
                  </a:lnTo>
                  <a:cubicBezTo>
                    <a:pt x="0" y="34140"/>
                    <a:pt x="6424" y="23249"/>
                    <a:pt x="16703" y="17621"/>
                  </a:cubicBezTo>
                  <a:lnTo>
                    <a:pt x="48887" y="0"/>
                  </a:lnTo>
                  <a:cubicBezTo>
                    <a:pt x="48397" y="1224"/>
                    <a:pt x="47908" y="2447"/>
                    <a:pt x="47541" y="3671"/>
                  </a:cubicBezTo>
                  <a:cubicBezTo>
                    <a:pt x="47541" y="3793"/>
                    <a:pt x="47479" y="3855"/>
                    <a:pt x="47418" y="3977"/>
                  </a:cubicBezTo>
                  <a:cubicBezTo>
                    <a:pt x="47235" y="4527"/>
                    <a:pt x="47112" y="5078"/>
                    <a:pt x="46929" y="5629"/>
                  </a:cubicBezTo>
                  <a:cubicBezTo>
                    <a:pt x="46745" y="6424"/>
                    <a:pt x="46562" y="7158"/>
                    <a:pt x="46378" y="7954"/>
                  </a:cubicBezTo>
                  <a:cubicBezTo>
                    <a:pt x="46256" y="8565"/>
                    <a:pt x="46133" y="9239"/>
                    <a:pt x="46011" y="9850"/>
                  </a:cubicBezTo>
                  <a:cubicBezTo>
                    <a:pt x="45889" y="10462"/>
                    <a:pt x="45827" y="11135"/>
                    <a:pt x="45766" y="11747"/>
                  </a:cubicBezTo>
                  <a:lnTo>
                    <a:pt x="45766" y="11992"/>
                  </a:lnTo>
                  <a:cubicBezTo>
                    <a:pt x="45705" y="12665"/>
                    <a:pt x="45644" y="13277"/>
                    <a:pt x="45644" y="13949"/>
                  </a:cubicBezTo>
                  <a:lnTo>
                    <a:pt x="45644" y="72501"/>
                  </a:lnTo>
                  <a:cubicBezTo>
                    <a:pt x="45644" y="87430"/>
                    <a:pt x="53659" y="101196"/>
                    <a:pt x="66569" y="108354"/>
                  </a:cubicBezTo>
                  <a:lnTo>
                    <a:pt x="71525" y="111107"/>
                  </a:lnTo>
                  <a:lnTo>
                    <a:pt x="71525" y="111230"/>
                  </a:lnTo>
                  <a:close/>
                </a:path>
              </a:pathLst>
            </a:custGeom>
            <a:grpFill/>
            <a:ln w="0" cap="flat">
              <a:noFill/>
              <a:prstDash val="solid"/>
              <a:miter/>
            </a:ln>
          </p:spPr>
          <p:txBody>
            <a:bodyPr rtlCol="0" anchor="ctr"/>
            <a:lstStyle/>
            <a:p>
              <a:endParaRPr lang="en-US"/>
            </a:p>
          </p:txBody>
        </p:sp>
        <p:sp>
          <p:nvSpPr>
            <p:cNvPr id="138" name="Freeform 137">
              <a:extLst>
                <a:ext uri="{FF2B5EF4-FFF2-40B4-BE49-F238E27FC236}">
                  <a16:creationId xmlns:a16="http://schemas.microsoft.com/office/drawing/2014/main" id="{8EB8C2E0-9017-E7DA-8808-70B2886CADAA}"/>
                </a:ext>
              </a:extLst>
            </p:cNvPr>
            <p:cNvSpPr/>
            <p:nvPr/>
          </p:nvSpPr>
          <p:spPr>
            <a:xfrm>
              <a:off x="10672869" y="4946145"/>
              <a:ext cx="127325" cy="100079"/>
            </a:xfrm>
            <a:custGeom>
              <a:avLst/>
              <a:gdLst>
                <a:gd name="connsiteX0" fmla="*/ 127325 w 127325"/>
                <a:gd name="connsiteY0" fmla="*/ 42155 h 100079"/>
                <a:gd name="connsiteX1" fmla="*/ 110683 w 127325"/>
                <a:gd name="connsiteY1" fmla="*/ 69810 h 100079"/>
                <a:gd name="connsiteX2" fmla="*/ 62470 w 127325"/>
                <a:gd name="connsiteY2" fmla="*/ 96179 h 100079"/>
                <a:gd name="connsiteX3" fmla="*/ 32183 w 127325"/>
                <a:gd name="connsiteY3" fmla="*/ 96179 h 100079"/>
                <a:gd name="connsiteX4" fmla="*/ 0 w 127325"/>
                <a:gd name="connsiteY4" fmla="*/ 78559 h 100079"/>
                <a:gd name="connsiteX5" fmla="*/ 551 w 127325"/>
                <a:gd name="connsiteY5" fmla="*/ 78436 h 100079"/>
                <a:gd name="connsiteX6" fmla="*/ 1775 w 127325"/>
                <a:gd name="connsiteY6" fmla="*/ 78192 h 100079"/>
                <a:gd name="connsiteX7" fmla="*/ 2998 w 127325"/>
                <a:gd name="connsiteY7" fmla="*/ 77886 h 100079"/>
                <a:gd name="connsiteX8" fmla="*/ 4222 w 127325"/>
                <a:gd name="connsiteY8" fmla="*/ 77580 h 100079"/>
                <a:gd name="connsiteX9" fmla="*/ 5446 w 127325"/>
                <a:gd name="connsiteY9" fmla="*/ 77212 h 100079"/>
                <a:gd name="connsiteX10" fmla="*/ 6669 w 127325"/>
                <a:gd name="connsiteY10" fmla="*/ 76784 h 100079"/>
                <a:gd name="connsiteX11" fmla="*/ 7954 w 127325"/>
                <a:gd name="connsiteY11" fmla="*/ 76295 h 100079"/>
                <a:gd name="connsiteX12" fmla="*/ 9484 w 127325"/>
                <a:gd name="connsiteY12" fmla="*/ 75683 h 100079"/>
                <a:gd name="connsiteX13" fmla="*/ 12482 w 127325"/>
                <a:gd name="connsiteY13" fmla="*/ 74215 h 100079"/>
                <a:gd name="connsiteX14" fmla="*/ 60695 w 127325"/>
                <a:gd name="connsiteY14" fmla="*/ 47845 h 100079"/>
                <a:gd name="connsiteX15" fmla="*/ 81926 w 127325"/>
                <a:gd name="connsiteY15" fmla="*/ 11808 h 100079"/>
                <a:gd name="connsiteX16" fmla="*/ 81926 w 127325"/>
                <a:gd name="connsiteY16" fmla="*/ 0 h 100079"/>
                <a:gd name="connsiteX17" fmla="*/ 110071 w 127325"/>
                <a:gd name="connsiteY17" fmla="*/ 14378 h 100079"/>
                <a:gd name="connsiteX18" fmla="*/ 111968 w 127325"/>
                <a:gd name="connsiteY18" fmla="*/ 15418 h 100079"/>
                <a:gd name="connsiteX19" fmla="*/ 120044 w 127325"/>
                <a:gd name="connsiteY19" fmla="*/ 22332 h 100079"/>
                <a:gd name="connsiteX20" fmla="*/ 121268 w 127325"/>
                <a:gd name="connsiteY20" fmla="*/ 23923 h 100079"/>
                <a:gd name="connsiteX21" fmla="*/ 121452 w 127325"/>
                <a:gd name="connsiteY21" fmla="*/ 24106 h 100079"/>
                <a:gd name="connsiteX22" fmla="*/ 123104 w 127325"/>
                <a:gd name="connsiteY22" fmla="*/ 26676 h 100079"/>
                <a:gd name="connsiteX23" fmla="*/ 123593 w 127325"/>
                <a:gd name="connsiteY23" fmla="*/ 27532 h 100079"/>
                <a:gd name="connsiteX24" fmla="*/ 124633 w 127325"/>
                <a:gd name="connsiteY24" fmla="*/ 29674 h 100079"/>
                <a:gd name="connsiteX25" fmla="*/ 125367 w 127325"/>
                <a:gd name="connsiteY25" fmla="*/ 31509 h 100079"/>
                <a:gd name="connsiteX26" fmla="*/ 126347 w 127325"/>
                <a:gd name="connsiteY26" fmla="*/ 34568 h 100079"/>
                <a:gd name="connsiteX27" fmla="*/ 126591 w 127325"/>
                <a:gd name="connsiteY27" fmla="*/ 35608 h 100079"/>
                <a:gd name="connsiteX28" fmla="*/ 127020 w 127325"/>
                <a:gd name="connsiteY28" fmla="*/ 37750 h 100079"/>
                <a:gd name="connsiteX29" fmla="*/ 127142 w 127325"/>
                <a:gd name="connsiteY29" fmla="*/ 38667 h 100079"/>
                <a:gd name="connsiteX30" fmla="*/ 127264 w 127325"/>
                <a:gd name="connsiteY30" fmla="*/ 39891 h 100079"/>
                <a:gd name="connsiteX31" fmla="*/ 127325 w 127325"/>
                <a:gd name="connsiteY31" fmla="*/ 40992 h 100079"/>
                <a:gd name="connsiteX32" fmla="*/ 127325 w 127325"/>
                <a:gd name="connsiteY32" fmla="*/ 42094 h 100079"/>
                <a:gd name="connsiteX33" fmla="*/ 127325 w 127325"/>
                <a:gd name="connsiteY33" fmla="*/ 42094 h 10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27325" h="100079">
                  <a:moveTo>
                    <a:pt x="127325" y="42155"/>
                  </a:moveTo>
                  <a:cubicBezTo>
                    <a:pt x="127081" y="53719"/>
                    <a:pt x="120718" y="64364"/>
                    <a:pt x="110683" y="69810"/>
                  </a:cubicBezTo>
                  <a:lnTo>
                    <a:pt x="62470" y="96179"/>
                  </a:lnTo>
                  <a:cubicBezTo>
                    <a:pt x="52986" y="101380"/>
                    <a:pt x="41667" y="101380"/>
                    <a:pt x="32183" y="96179"/>
                  </a:cubicBezTo>
                  <a:lnTo>
                    <a:pt x="0" y="78559"/>
                  </a:lnTo>
                  <a:cubicBezTo>
                    <a:pt x="0" y="78559"/>
                    <a:pt x="367" y="78559"/>
                    <a:pt x="551" y="78436"/>
                  </a:cubicBezTo>
                  <a:cubicBezTo>
                    <a:pt x="979" y="78375"/>
                    <a:pt x="1346" y="78253"/>
                    <a:pt x="1775" y="78192"/>
                  </a:cubicBezTo>
                  <a:cubicBezTo>
                    <a:pt x="2203" y="78130"/>
                    <a:pt x="2570" y="78008"/>
                    <a:pt x="2998" y="77886"/>
                  </a:cubicBezTo>
                  <a:cubicBezTo>
                    <a:pt x="3426" y="77763"/>
                    <a:pt x="3793" y="77641"/>
                    <a:pt x="4222" y="77580"/>
                  </a:cubicBezTo>
                  <a:cubicBezTo>
                    <a:pt x="4650" y="77457"/>
                    <a:pt x="5017" y="77335"/>
                    <a:pt x="5446" y="77212"/>
                  </a:cubicBezTo>
                  <a:cubicBezTo>
                    <a:pt x="5874" y="77090"/>
                    <a:pt x="6241" y="76968"/>
                    <a:pt x="6669" y="76784"/>
                  </a:cubicBezTo>
                  <a:cubicBezTo>
                    <a:pt x="7098" y="76662"/>
                    <a:pt x="7526" y="76478"/>
                    <a:pt x="7954" y="76295"/>
                  </a:cubicBezTo>
                  <a:cubicBezTo>
                    <a:pt x="8444" y="76111"/>
                    <a:pt x="8994" y="75867"/>
                    <a:pt x="9484" y="75683"/>
                  </a:cubicBezTo>
                  <a:cubicBezTo>
                    <a:pt x="10524" y="75255"/>
                    <a:pt x="11503" y="74765"/>
                    <a:pt x="12482" y="74215"/>
                  </a:cubicBezTo>
                  <a:lnTo>
                    <a:pt x="60695" y="47845"/>
                  </a:lnTo>
                  <a:cubicBezTo>
                    <a:pt x="73789" y="40687"/>
                    <a:pt x="81926" y="26859"/>
                    <a:pt x="81926" y="11808"/>
                  </a:cubicBezTo>
                  <a:lnTo>
                    <a:pt x="81926" y="0"/>
                  </a:lnTo>
                  <a:lnTo>
                    <a:pt x="110071" y="14378"/>
                  </a:lnTo>
                  <a:cubicBezTo>
                    <a:pt x="110745" y="14684"/>
                    <a:pt x="111356" y="15051"/>
                    <a:pt x="111968" y="15418"/>
                  </a:cubicBezTo>
                  <a:cubicBezTo>
                    <a:pt x="115088" y="17254"/>
                    <a:pt x="117781" y="19640"/>
                    <a:pt x="120044" y="22332"/>
                  </a:cubicBezTo>
                  <a:cubicBezTo>
                    <a:pt x="120473" y="22821"/>
                    <a:pt x="120901" y="23372"/>
                    <a:pt x="121268" y="23923"/>
                  </a:cubicBezTo>
                  <a:lnTo>
                    <a:pt x="121452" y="24106"/>
                  </a:lnTo>
                  <a:cubicBezTo>
                    <a:pt x="122064" y="24963"/>
                    <a:pt x="122614" y="25758"/>
                    <a:pt x="123104" y="26676"/>
                  </a:cubicBezTo>
                  <a:cubicBezTo>
                    <a:pt x="123287" y="26982"/>
                    <a:pt x="123471" y="27288"/>
                    <a:pt x="123593" y="27532"/>
                  </a:cubicBezTo>
                  <a:cubicBezTo>
                    <a:pt x="123960" y="28205"/>
                    <a:pt x="124327" y="28940"/>
                    <a:pt x="124633" y="29674"/>
                  </a:cubicBezTo>
                  <a:cubicBezTo>
                    <a:pt x="124878" y="30285"/>
                    <a:pt x="125184" y="30898"/>
                    <a:pt x="125367" y="31509"/>
                  </a:cubicBezTo>
                  <a:cubicBezTo>
                    <a:pt x="125735" y="32488"/>
                    <a:pt x="126102" y="33528"/>
                    <a:pt x="126347" y="34568"/>
                  </a:cubicBezTo>
                  <a:cubicBezTo>
                    <a:pt x="126469" y="34874"/>
                    <a:pt x="126530" y="35241"/>
                    <a:pt x="126591" y="35608"/>
                  </a:cubicBezTo>
                  <a:cubicBezTo>
                    <a:pt x="126775" y="36281"/>
                    <a:pt x="126897" y="37016"/>
                    <a:pt x="127020" y="37750"/>
                  </a:cubicBezTo>
                  <a:cubicBezTo>
                    <a:pt x="127020" y="38056"/>
                    <a:pt x="127142" y="38362"/>
                    <a:pt x="127142" y="38667"/>
                  </a:cubicBezTo>
                  <a:cubicBezTo>
                    <a:pt x="127203" y="39096"/>
                    <a:pt x="127264" y="39524"/>
                    <a:pt x="127264" y="39891"/>
                  </a:cubicBezTo>
                  <a:cubicBezTo>
                    <a:pt x="127264" y="40258"/>
                    <a:pt x="127325" y="40625"/>
                    <a:pt x="127325" y="40992"/>
                  </a:cubicBezTo>
                  <a:lnTo>
                    <a:pt x="127325" y="42094"/>
                  </a:lnTo>
                  <a:lnTo>
                    <a:pt x="127325" y="42094"/>
                  </a:lnTo>
                  <a:close/>
                </a:path>
              </a:pathLst>
            </a:custGeom>
            <a:grpFill/>
            <a:ln w="0" cap="flat">
              <a:noFill/>
              <a:prstDash val="solid"/>
              <a:miter/>
            </a:ln>
          </p:spPr>
          <p:txBody>
            <a:bodyPr rtlCol="0" anchor="ctr"/>
            <a:lstStyle/>
            <a:p>
              <a:endParaRPr lang="en-US"/>
            </a:p>
          </p:txBody>
        </p:sp>
        <p:sp>
          <p:nvSpPr>
            <p:cNvPr id="143" name="Freeform 142">
              <a:extLst>
                <a:ext uri="{FF2B5EF4-FFF2-40B4-BE49-F238E27FC236}">
                  <a16:creationId xmlns:a16="http://schemas.microsoft.com/office/drawing/2014/main" id="{FB1457D5-1E2E-AD4F-EB69-2792BCE5A9A0}"/>
                </a:ext>
              </a:extLst>
            </p:cNvPr>
            <p:cNvSpPr/>
            <p:nvPr/>
          </p:nvSpPr>
          <p:spPr>
            <a:xfrm>
              <a:off x="10694223" y="4872041"/>
              <a:ext cx="105972" cy="91969"/>
            </a:xfrm>
            <a:custGeom>
              <a:avLst/>
              <a:gdLst>
                <a:gd name="connsiteX0" fmla="*/ 105972 w 105972"/>
                <a:gd name="connsiteY0" fmla="*/ 58686 h 91969"/>
                <a:gd name="connsiteX1" fmla="*/ 105972 w 105972"/>
                <a:gd name="connsiteY1" fmla="*/ 91969 h 91969"/>
                <a:gd name="connsiteX2" fmla="*/ 105360 w 105972"/>
                <a:gd name="connsiteY2" fmla="*/ 91235 h 91969"/>
                <a:gd name="connsiteX3" fmla="*/ 104932 w 105972"/>
                <a:gd name="connsiteY3" fmla="*/ 90746 h 91969"/>
                <a:gd name="connsiteX4" fmla="*/ 104320 w 105972"/>
                <a:gd name="connsiteY4" fmla="*/ 90012 h 91969"/>
                <a:gd name="connsiteX5" fmla="*/ 103280 w 105972"/>
                <a:gd name="connsiteY5" fmla="*/ 88849 h 91969"/>
                <a:gd name="connsiteX6" fmla="*/ 102546 w 105972"/>
                <a:gd name="connsiteY6" fmla="*/ 88115 h 91969"/>
                <a:gd name="connsiteX7" fmla="*/ 100282 w 105972"/>
                <a:gd name="connsiteY7" fmla="*/ 85973 h 91969"/>
                <a:gd name="connsiteX8" fmla="*/ 99425 w 105972"/>
                <a:gd name="connsiteY8" fmla="*/ 85239 h 91969"/>
                <a:gd name="connsiteX9" fmla="*/ 99119 w 105972"/>
                <a:gd name="connsiteY9" fmla="*/ 84995 h 91969"/>
                <a:gd name="connsiteX10" fmla="*/ 97528 w 105972"/>
                <a:gd name="connsiteY10" fmla="*/ 83771 h 91969"/>
                <a:gd name="connsiteX11" fmla="*/ 96794 w 105972"/>
                <a:gd name="connsiteY11" fmla="*/ 83220 h 91969"/>
                <a:gd name="connsiteX12" fmla="*/ 95999 w 105972"/>
                <a:gd name="connsiteY12" fmla="*/ 82731 h 91969"/>
                <a:gd name="connsiteX13" fmla="*/ 95754 w 105972"/>
                <a:gd name="connsiteY13" fmla="*/ 82547 h 91969"/>
                <a:gd name="connsiteX14" fmla="*/ 94531 w 105972"/>
                <a:gd name="connsiteY14" fmla="*/ 81813 h 91969"/>
                <a:gd name="connsiteX15" fmla="*/ 92389 w 105972"/>
                <a:gd name="connsiteY15" fmla="*/ 80650 h 91969"/>
                <a:gd name="connsiteX16" fmla="*/ 44176 w 105972"/>
                <a:gd name="connsiteY16" fmla="*/ 55994 h 91969"/>
                <a:gd name="connsiteX17" fmla="*/ 25881 w 105972"/>
                <a:gd name="connsiteY17" fmla="*/ 51589 h 91969"/>
                <a:gd name="connsiteX18" fmla="*/ 7587 w 105972"/>
                <a:gd name="connsiteY18" fmla="*/ 55994 h 91969"/>
                <a:gd name="connsiteX19" fmla="*/ 6302 w 105972"/>
                <a:gd name="connsiteY19" fmla="*/ 56606 h 91969"/>
                <a:gd name="connsiteX20" fmla="*/ 0 w 105972"/>
                <a:gd name="connsiteY20" fmla="*/ 59787 h 91969"/>
                <a:gd name="connsiteX21" fmla="*/ 0 w 105972"/>
                <a:gd name="connsiteY21" fmla="*/ 28706 h 91969"/>
                <a:gd name="connsiteX22" fmla="*/ 367 w 105972"/>
                <a:gd name="connsiteY22" fmla="*/ 23934 h 91969"/>
                <a:gd name="connsiteX23" fmla="*/ 673 w 105972"/>
                <a:gd name="connsiteY23" fmla="*/ 22038 h 91969"/>
                <a:gd name="connsiteX24" fmla="*/ 1101 w 105972"/>
                <a:gd name="connsiteY24" fmla="*/ 20202 h 91969"/>
                <a:gd name="connsiteX25" fmla="*/ 1652 w 105972"/>
                <a:gd name="connsiteY25" fmla="*/ 18367 h 91969"/>
                <a:gd name="connsiteX26" fmla="*/ 2325 w 105972"/>
                <a:gd name="connsiteY26" fmla="*/ 16592 h 91969"/>
                <a:gd name="connsiteX27" fmla="*/ 4405 w 105972"/>
                <a:gd name="connsiteY27" fmla="*/ 12371 h 91969"/>
                <a:gd name="connsiteX28" fmla="*/ 5384 w 105972"/>
                <a:gd name="connsiteY28" fmla="*/ 10780 h 91969"/>
                <a:gd name="connsiteX29" fmla="*/ 7648 w 105972"/>
                <a:gd name="connsiteY29" fmla="*/ 7782 h 91969"/>
                <a:gd name="connsiteX30" fmla="*/ 13216 w 105972"/>
                <a:gd name="connsiteY30" fmla="*/ 2581 h 91969"/>
                <a:gd name="connsiteX31" fmla="*/ 13216 w 105972"/>
                <a:gd name="connsiteY31" fmla="*/ 2581 h 91969"/>
                <a:gd name="connsiteX32" fmla="*/ 40933 w 105972"/>
                <a:gd name="connsiteY32" fmla="*/ 3866 h 91969"/>
                <a:gd name="connsiteX33" fmla="*/ 89146 w 105972"/>
                <a:gd name="connsiteY33" fmla="*/ 30236 h 91969"/>
                <a:gd name="connsiteX34" fmla="*/ 105850 w 105972"/>
                <a:gd name="connsiteY34" fmla="*/ 58564 h 91969"/>
                <a:gd name="connsiteX35" fmla="*/ 105972 w 105972"/>
                <a:gd name="connsiteY35" fmla="*/ 58686 h 9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5972" h="91969">
                  <a:moveTo>
                    <a:pt x="105972" y="58686"/>
                  </a:moveTo>
                  <a:lnTo>
                    <a:pt x="105972" y="91969"/>
                  </a:lnTo>
                  <a:cubicBezTo>
                    <a:pt x="105972" y="91969"/>
                    <a:pt x="105605" y="91480"/>
                    <a:pt x="105360" y="91235"/>
                  </a:cubicBezTo>
                  <a:cubicBezTo>
                    <a:pt x="105238" y="91052"/>
                    <a:pt x="105115" y="90929"/>
                    <a:pt x="104932" y="90746"/>
                  </a:cubicBezTo>
                  <a:cubicBezTo>
                    <a:pt x="104748" y="90501"/>
                    <a:pt x="104504" y="90256"/>
                    <a:pt x="104320" y="90012"/>
                  </a:cubicBezTo>
                  <a:cubicBezTo>
                    <a:pt x="104014" y="89645"/>
                    <a:pt x="103647" y="89277"/>
                    <a:pt x="103280" y="88849"/>
                  </a:cubicBezTo>
                  <a:cubicBezTo>
                    <a:pt x="103035" y="88604"/>
                    <a:pt x="102791" y="88360"/>
                    <a:pt x="102546" y="88115"/>
                  </a:cubicBezTo>
                  <a:cubicBezTo>
                    <a:pt x="101812" y="87381"/>
                    <a:pt x="101077" y="86647"/>
                    <a:pt x="100282" y="85973"/>
                  </a:cubicBezTo>
                  <a:cubicBezTo>
                    <a:pt x="99976" y="85729"/>
                    <a:pt x="99731" y="85484"/>
                    <a:pt x="99425" y="85239"/>
                  </a:cubicBezTo>
                  <a:cubicBezTo>
                    <a:pt x="99303" y="85178"/>
                    <a:pt x="99242" y="85056"/>
                    <a:pt x="99119" y="84995"/>
                  </a:cubicBezTo>
                  <a:cubicBezTo>
                    <a:pt x="98630" y="84566"/>
                    <a:pt x="98079" y="84199"/>
                    <a:pt x="97528" y="83771"/>
                  </a:cubicBezTo>
                  <a:cubicBezTo>
                    <a:pt x="97284" y="83587"/>
                    <a:pt x="97039" y="83404"/>
                    <a:pt x="96794" y="83220"/>
                  </a:cubicBezTo>
                  <a:cubicBezTo>
                    <a:pt x="96550" y="83037"/>
                    <a:pt x="96305" y="82853"/>
                    <a:pt x="95999" y="82731"/>
                  </a:cubicBezTo>
                  <a:cubicBezTo>
                    <a:pt x="95938" y="82731"/>
                    <a:pt x="95816" y="82608"/>
                    <a:pt x="95754" y="82547"/>
                  </a:cubicBezTo>
                  <a:cubicBezTo>
                    <a:pt x="95387" y="82303"/>
                    <a:pt x="94959" y="82058"/>
                    <a:pt x="94531" y="81813"/>
                  </a:cubicBezTo>
                  <a:cubicBezTo>
                    <a:pt x="93796" y="81385"/>
                    <a:pt x="93123" y="81018"/>
                    <a:pt x="92389" y="80650"/>
                  </a:cubicBezTo>
                  <a:lnTo>
                    <a:pt x="44176" y="55994"/>
                  </a:lnTo>
                  <a:cubicBezTo>
                    <a:pt x="38424" y="53057"/>
                    <a:pt x="32183" y="51589"/>
                    <a:pt x="25881" y="51589"/>
                  </a:cubicBezTo>
                  <a:cubicBezTo>
                    <a:pt x="19579" y="51589"/>
                    <a:pt x="13338" y="53057"/>
                    <a:pt x="7587" y="55994"/>
                  </a:cubicBezTo>
                  <a:lnTo>
                    <a:pt x="6302" y="56606"/>
                  </a:lnTo>
                  <a:lnTo>
                    <a:pt x="0" y="59787"/>
                  </a:lnTo>
                  <a:lnTo>
                    <a:pt x="0" y="28706"/>
                  </a:lnTo>
                  <a:cubicBezTo>
                    <a:pt x="0" y="27116"/>
                    <a:pt x="122" y="25464"/>
                    <a:pt x="367" y="23934"/>
                  </a:cubicBezTo>
                  <a:cubicBezTo>
                    <a:pt x="428" y="23322"/>
                    <a:pt x="551" y="22711"/>
                    <a:pt x="673" y="22038"/>
                  </a:cubicBezTo>
                  <a:cubicBezTo>
                    <a:pt x="795" y="21426"/>
                    <a:pt x="918" y="20814"/>
                    <a:pt x="1101" y="20202"/>
                  </a:cubicBezTo>
                  <a:cubicBezTo>
                    <a:pt x="1285" y="19590"/>
                    <a:pt x="1469" y="18979"/>
                    <a:pt x="1652" y="18367"/>
                  </a:cubicBezTo>
                  <a:cubicBezTo>
                    <a:pt x="1836" y="17755"/>
                    <a:pt x="2080" y="17143"/>
                    <a:pt x="2325" y="16592"/>
                  </a:cubicBezTo>
                  <a:cubicBezTo>
                    <a:pt x="2937" y="15124"/>
                    <a:pt x="3610" y="13717"/>
                    <a:pt x="4405" y="12371"/>
                  </a:cubicBezTo>
                  <a:cubicBezTo>
                    <a:pt x="4711" y="11820"/>
                    <a:pt x="5017" y="11270"/>
                    <a:pt x="5384" y="10780"/>
                  </a:cubicBezTo>
                  <a:cubicBezTo>
                    <a:pt x="6058" y="9740"/>
                    <a:pt x="6853" y="8761"/>
                    <a:pt x="7648" y="7782"/>
                  </a:cubicBezTo>
                  <a:cubicBezTo>
                    <a:pt x="9300" y="5885"/>
                    <a:pt x="11136" y="4111"/>
                    <a:pt x="13216" y="2581"/>
                  </a:cubicBezTo>
                  <a:lnTo>
                    <a:pt x="13216" y="2581"/>
                  </a:lnTo>
                  <a:cubicBezTo>
                    <a:pt x="22088" y="-1273"/>
                    <a:pt x="32428" y="-784"/>
                    <a:pt x="40933" y="3866"/>
                  </a:cubicBezTo>
                  <a:lnTo>
                    <a:pt x="89146" y="30236"/>
                  </a:lnTo>
                  <a:cubicBezTo>
                    <a:pt x="99425" y="35865"/>
                    <a:pt x="105850" y="46694"/>
                    <a:pt x="105850" y="58564"/>
                  </a:cubicBezTo>
                  <a:lnTo>
                    <a:pt x="105972" y="58686"/>
                  </a:lnTo>
                  <a:close/>
                </a:path>
              </a:pathLst>
            </a:custGeom>
            <a:grpFill/>
            <a:ln w="0" cap="flat">
              <a:noFill/>
              <a:prstDash val="solid"/>
              <a:miter/>
            </a:ln>
          </p:spPr>
          <p:txBody>
            <a:bodyPr rtlCol="0" anchor="ctr"/>
            <a:lstStyle/>
            <a:p>
              <a:endParaRPr lang="en-US"/>
            </a:p>
          </p:txBody>
        </p:sp>
      </p:grpSp>
      <p:grpSp>
        <p:nvGrpSpPr>
          <p:cNvPr id="149" name="Graphic 3">
            <a:extLst>
              <a:ext uri="{FF2B5EF4-FFF2-40B4-BE49-F238E27FC236}">
                <a16:creationId xmlns:a16="http://schemas.microsoft.com/office/drawing/2014/main" id="{913A96B3-197D-0B71-616E-111B35718CA9}"/>
              </a:ext>
            </a:extLst>
          </p:cNvPr>
          <p:cNvGrpSpPr>
            <a:grpSpLocks noChangeAspect="1"/>
          </p:cNvGrpSpPr>
          <p:nvPr/>
        </p:nvGrpSpPr>
        <p:grpSpPr>
          <a:xfrm>
            <a:off x="4461766" y="5037718"/>
            <a:ext cx="419805" cy="411480"/>
            <a:chOff x="5497886" y="5487183"/>
            <a:chExt cx="162978" cy="159747"/>
          </a:xfrm>
          <a:solidFill>
            <a:schemeClr val="tx1"/>
          </a:solidFill>
        </p:grpSpPr>
        <p:sp>
          <p:nvSpPr>
            <p:cNvPr id="150" name="Freeform 149">
              <a:extLst>
                <a:ext uri="{FF2B5EF4-FFF2-40B4-BE49-F238E27FC236}">
                  <a16:creationId xmlns:a16="http://schemas.microsoft.com/office/drawing/2014/main" id="{BE67DAD2-2AB8-FD58-37E3-44E59C8E7D97}"/>
                </a:ext>
              </a:extLst>
            </p:cNvPr>
            <p:cNvSpPr/>
            <p:nvPr/>
          </p:nvSpPr>
          <p:spPr>
            <a:xfrm>
              <a:off x="5573182" y="5563906"/>
              <a:ext cx="12542" cy="12236"/>
            </a:xfrm>
            <a:custGeom>
              <a:avLst/>
              <a:gdLst>
                <a:gd name="connsiteX0" fmla="*/ 1224 w 12542"/>
                <a:gd name="connsiteY0" fmla="*/ 9789 h 12236"/>
                <a:gd name="connsiteX1" fmla="*/ 6241 w 12542"/>
                <a:gd name="connsiteY1" fmla="*/ 12237 h 12236"/>
                <a:gd name="connsiteX2" fmla="*/ 11319 w 12542"/>
                <a:gd name="connsiteY2" fmla="*/ 9789 h 12236"/>
                <a:gd name="connsiteX3" fmla="*/ 12543 w 12542"/>
                <a:gd name="connsiteY3" fmla="*/ 4344 h 12236"/>
                <a:gd name="connsiteX4" fmla="*/ 9117 w 12542"/>
                <a:gd name="connsiteY4" fmla="*/ 0 h 12236"/>
                <a:gd name="connsiteX5" fmla="*/ 3488 w 12542"/>
                <a:gd name="connsiteY5" fmla="*/ 0 h 12236"/>
                <a:gd name="connsiteX6" fmla="*/ 0 w 12542"/>
                <a:gd name="connsiteY6" fmla="*/ 4344 h 12236"/>
                <a:gd name="connsiteX7" fmla="*/ 1163 w 12542"/>
                <a:gd name="connsiteY7" fmla="*/ 9789 h 12236"/>
                <a:gd name="connsiteX8" fmla="*/ 1224 w 12542"/>
                <a:gd name="connsiteY8" fmla="*/ 9789 h 1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42" h="12236">
                  <a:moveTo>
                    <a:pt x="1224" y="9789"/>
                  </a:moveTo>
                  <a:lnTo>
                    <a:pt x="6241" y="12237"/>
                  </a:lnTo>
                  <a:lnTo>
                    <a:pt x="11319" y="9789"/>
                  </a:lnTo>
                  <a:lnTo>
                    <a:pt x="12543" y="4344"/>
                  </a:lnTo>
                  <a:lnTo>
                    <a:pt x="9117" y="0"/>
                  </a:lnTo>
                  <a:lnTo>
                    <a:pt x="3488" y="0"/>
                  </a:lnTo>
                  <a:lnTo>
                    <a:pt x="0" y="4344"/>
                  </a:lnTo>
                  <a:lnTo>
                    <a:pt x="1163" y="9789"/>
                  </a:lnTo>
                  <a:lnTo>
                    <a:pt x="1224" y="9789"/>
                  </a:lnTo>
                  <a:close/>
                </a:path>
              </a:pathLst>
            </a:custGeom>
            <a:grpFill/>
            <a:ln w="0" cap="flat">
              <a:noFill/>
              <a:prstDash val="solid"/>
              <a:miter/>
            </a:ln>
          </p:spPr>
          <p:txBody>
            <a:bodyPr rtlCol="0" anchor="ctr"/>
            <a:lstStyle/>
            <a:p>
              <a:endParaRPr lang="en-US"/>
            </a:p>
          </p:txBody>
        </p:sp>
        <p:grpSp>
          <p:nvGrpSpPr>
            <p:cNvPr id="151" name="Graphic 3">
              <a:extLst>
                <a:ext uri="{FF2B5EF4-FFF2-40B4-BE49-F238E27FC236}">
                  <a16:creationId xmlns:a16="http://schemas.microsoft.com/office/drawing/2014/main" id="{D2E704CE-1F60-769E-F0EE-C704AFA56805}"/>
                </a:ext>
              </a:extLst>
            </p:cNvPr>
            <p:cNvGrpSpPr/>
            <p:nvPr/>
          </p:nvGrpSpPr>
          <p:grpSpPr>
            <a:xfrm>
              <a:off x="5497886" y="5487183"/>
              <a:ext cx="162978" cy="159747"/>
              <a:chOff x="5497886" y="5487183"/>
              <a:chExt cx="162978" cy="159747"/>
            </a:xfrm>
            <a:grpFill/>
          </p:grpSpPr>
          <p:sp>
            <p:nvSpPr>
              <p:cNvPr id="152" name="Freeform 151">
                <a:extLst>
                  <a:ext uri="{FF2B5EF4-FFF2-40B4-BE49-F238E27FC236}">
                    <a16:creationId xmlns:a16="http://schemas.microsoft.com/office/drawing/2014/main" id="{D98B8148-7586-1D43-4866-AA7C6AF8E7BB}"/>
                  </a:ext>
                </a:extLst>
              </p:cNvPr>
              <p:cNvSpPr/>
              <p:nvPr/>
            </p:nvSpPr>
            <p:spPr>
              <a:xfrm>
                <a:off x="5543302" y="5550752"/>
                <a:ext cx="20105" cy="22760"/>
              </a:xfrm>
              <a:custGeom>
                <a:avLst/>
                <a:gdLst>
                  <a:gd name="connsiteX0" fmla="*/ 17888 w 20105"/>
                  <a:gd name="connsiteY0" fmla="*/ 17559 h 22760"/>
                  <a:gd name="connsiteX1" fmla="*/ 19357 w 20105"/>
                  <a:gd name="connsiteY1" fmla="*/ 16642 h 22760"/>
                  <a:gd name="connsiteX2" fmla="*/ 19051 w 20105"/>
                  <a:gd name="connsiteY2" fmla="*/ 12298 h 22760"/>
                  <a:gd name="connsiteX3" fmla="*/ 19051 w 20105"/>
                  <a:gd name="connsiteY3" fmla="*/ 12298 h 22760"/>
                  <a:gd name="connsiteX4" fmla="*/ 5345 w 20105"/>
                  <a:gd name="connsiteY4" fmla="*/ 0 h 22760"/>
                  <a:gd name="connsiteX5" fmla="*/ 206 w 20105"/>
                  <a:gd name="connsiteY5" fmla="*/ 22760 h 22760"/>
                  <a:gd name="connsiteX6" fmla="*/ 17827 w 20105"/>
                  <a:gd name="connsiteY6" fmla="*/ 17682 h 22760"/>
                  <a:gd name="connsiteX7" fmla="*/ 17827 w 20105"/>
                  <a:gd name="connsiteY7" fmla="*/ 17682 h 22760"/>
                  <a:gd name="connsiteX8" fmla="*/ 17827 w 20105"/>
                  <a:gd name="connsiteY8" fmla="*/ 17559 h 22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05" h="22760">
                    <a:moveTo>
                      <a:pt x="17888" y="17559"/>
                    </a:moveTo>
                    <a:cubicBezTo>
                      <a:pt x="18500" y="17376"/>
                      <a:pt x="18990" y="17070"/>
                      <a:pt x="19357" y="16642"/>
                    </a:cubicBezTo>
                    <a:cubicBezTo>
                      <a:pt x="20458" y="15357"/>
                      <a:pt x="20336" y="13399"/>
                      <a:pt x="19051" y="12298"/>
                    </a:cubicBezTo>
                    <a:lnTo>
                      <a:pt x="19051" y="12298"/>
                    </a:lnTo>
                    <a:lnTo>
                      <a:pt x="5345" y="0"/>
                    </a:lnTo>
                    <a:cubicBezTo>
                      <a:pt x="1185" y="6791"/>
                      <a:pt x="-651" y="14806"/>
                      <a:pt x="206" y="22760"/>
                    </a:cubicBezTo>
                    <a:lnTo>
                      <a:pt x="17827" y="17682"/>
                    </a:lnTo>
                    <a:lnTo>
                      <a:pt x="17827" y="17682"/>
                    </a:lnTo>
                    <a:lnTo>
                      <a:pt x="17827" y="17559"/>
                    </a:lnTo>
                    <a:close/>
                  </a:path>
                </a:pathLst>
              </a:custGeom>
              <a:grpFill/>
              <a:ln w="0" cap="flat">
                <a:noFill/>
                <a:prstDash val="solid"/>
                <a:miter/>
              </a:ln>
            </p:spPr>
            <p:txBody>
              <a:bodyPr rtlCol="0" anchor="ctr"/>
              <a:lstStyle/>
              <a:p>
                <a:endParaRPr lang="en-US"/>
              </a:p>
            </p:txBody>
          </p:sp>
          <p:sp>
            <p:nvSpPr>
              <p:cNvPr id="153" name="Freeform 152">
                <a:extLst>
                  <a:ext uri="{FF2B5EF4-FFF2-40B4-BE49-F238E27FC236}">
                    <a16:creationId xmlns:a16="http://schemas.microsoft.com/office/drawing/2014/main" id="{C5CE0021-0791-5D10-E42C-F3B407CE9386}"/>
                  </a:ext>
                </a:extLst>
              </p:cNvPr>
              <p:cNvSpPr/>
              <p:nvPr/>
            </p:nvSpPr>
            <p:spPr>
              <a:xfrm>
                <a:off x="5554154" y="5533805"/>
                <a:ext cx="20986" cy="21291"/>
              </a:xfrm>
              <a:custGeom>
                <a:avLst/>
                <a:gdLst>
                  <a:gd name="connsiteX0" fmla="*/ 16703 w 20986"/>
                  <a:gd name="connsiteY0" fmla="*/ 21230 h 21291"/>
                  <a:gd name="connsiteX1" fmla="*/ 19885 w 20986"/>
                  <a:gd name="connsiteY1" fmla="*/ 18294 h 21291"/>
                  <a:gd name="connsiteX2" fmla="*/ 19946 w 20986"/>
                  <a:gd name="connsiteY2" fmla="*/ 18294 h 21291"/>
                  <a:gd name="connsiteX3" fmla="*/ 20986 w 20986"/>
                  <a:gd name="connsiteY3" fmla="*/ 0 h 21291"/>
                  <a:gd name="connsiteX4" fmla="*/ 17315 w 20986"/>
                  <a:gd name="connsiteY4" fmla="*/ 612 h 21291"/>
                  <a:gd name="connsiteX5" fmla="*/ 0 w 20986"/>
                  <a:gd name="connsiteY5" fmla="*/ 10034 h 21291"/>
                  <a:gd name="connsiteX6" fmla="*/ 14990 w 20986"/>
                  <a:gd name="connsiteY6" fmla="*/ 20679 h 21291"/>
                  <a:gd name="connsiteX7" fmla="*/ 16642 w 20986"/>
                  <a:gd name="connsiteY7" fmla="*/ 21291 h 21291"/>
                  <a:gd name="connsiteX8" fmla="*/ 16642 w 20986"/>
                  <a:gd name="connsiteY8" fmla="*/ 21291 h 21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86" h="21291">
                    <a:moveTo>
                      <a:pt x="16703" y="21230"/>
                    </a:moveTo>
                    <a:cubicBezTo>
                      <a:pt x="18417" y="21291"/>
                      <a:pt x="19824" y="20006"/>
                      <a:pt x="19885" y="18294"/>
                    </a:cubicBezTo>
                    <a:lnTo>
                      <a:pt x="19946" y="18294"/>
                    </a:lnTo>
                    <a:lnTo>
                      <a:pt x="20986" y="0"/>
                    </a:lnTo>
                    <a:cubicBezTo>
                      <a:pt x="19763" y="122"/>
                      <a:pt x="18539" y="367"/>
                      <a:pt x="17315" y="612"/>
                    </a:cubicBezTo>
                    <a:cubicBezTo>
                      <a:pt x="10769" y="2080"/>
                      <a:pt x="4772" y="5323"/>
                      <a:pt x="0" y="10034"/>
                    </a:cubicBezTo>
                    <a:lnTo>
                      <a:pt x="14990" y="20679"/>
                    </a:lnTo>
                    <a:cubicBezTo>
                      <a:pt x="15480" y="21047"/>
                      <a:pt x="16092" y="21230"/>
                      <a:pt x="16642" y="21291"/>
                    </a:cubicBezTo>
                    <a:lnTo>
                      <a:pt x="16642" y="21291"/>
                    </a:lnTo>
                    <a:close/>
                  </a:path>
                </a:pathLst>
              </a:custGeom>
              <a:grpFill/>
              <a:ln w="0" cap="flat">
                <a:noFill/>
                <a:prstDash val="solid"/>
                <a:miter/>
              </a:ln>
            </p:spPr>
            <p:txBody>
              <a:bodyPr rtlCol="0" anchor="ctr"/>
              <a:lstStyle/>
              <a:p>
                <a:endParaRPr lang="en-US"/>
              </a:p>
            </p:txBody>
          </p:sp>
          <p:sp>
            <p:nvSpPr>
              <p:cNvPr id="154" name="Freeform 153">
                <a:extLst>
                  <a:ext uri="{FF2B5EF4-FFF2-40B4-BE49-F238E27FC236}">
                    <a16:creationId xmlns:a16="http://schemas.microsoft.com/office/drawing/2014/main" id="{FE059DA9-DDA7-AA88-0F04-7669AD7C5AC3}"/>
                  </a:ext>
                </a:extLst>
              </p:cNvPr>
              <p:cNvSpPr/>
              <p:nvPr/>
            </p:nvSpPr>
            <p:spPr>
              <a:xfrm>
                <a:off x="5545588" y="5578835"/>
                <a:ext cx="21659" cy="21168"/>
              </a:xfrm>
              <a:custGeom>
                <a:avLst/>
                <a:gdLst>
                  <a:gd name="connsiteX0" fmla="*/ 18600 w 21659"/>
                  <a:gd name="connsiteY0" fmla="*/ 0 h 21168"/>
                  <a:gd name="connsiteX1" fmla="*/ 17988 w 21659"/>
                  <a:gd name="connsiteY1" fmla="*/ 0 h 21168"/>
                  <a:gd name="connsiteX2" fmla="*/ 0 w 21659"/>
                  <a:gd name="connsiteY2" fmla="*/ 3059 h 21168"/>
                  <a:gd name="connsiteX3" fmla="*/ 14440 w 21659"/>
                  <a:gd name="connsiteY3" fmla="*/ 21169 h 21168"/>
                  <a:gd name="connsiteX4" fmla="*/ 21415 w 21659"/>
                  <a:gd name="connsiteY4" fmla="*/ 4344 h 21168"/>
                  <a:gd name="connsiteX5" fmla="*/ 21415 w 21659"/>
                  <a:gd name="connsiteY5" fmla="*/ 4344 h 21168"/>
                  <a:gd name="connsiteX6" fmla="*/ 21659 w 21659"/>
                  <a:gd name="connsiteY6" fmla="*/ 3120 h 21168"/>
                  <a:gd name="connsiteX7" fmla="*/ 18600 w 21659"/>
                  <a:gd name="connsiteY7" fmla="*/ 0 h 21168"/>
                  <a:gd name="connsiteX8" fmla="*/ 18539 w 21659"/>
                  <a:gd name="connsiteY8" fmla="*/ 0 h 21168"/>
                  <a:gd name="connsiteX9" fmla="*/ 18600 w 21659"/>
                  <a:gd name="connsiteY9" fmla="*/ 0 h 2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659" h="21168">
                    <a:moveTo>
                      <a:pt x="18600" y="0"/>
                    </a:moveTo>
                    <a:lnTo>
                      <a:pt x="17988" y="0"/>
                    </a:lnTo>
                    <a:lnTo>
                      <a:pt x="0" y="3059"/>
                    </a:lnTo>
                    <a:cubicBezTo>
                      <a:pt x="2692" y="10523"/>
                      <a:pt x="7770" y="16886"/>
                      <a:pt x="14440" y="21169"/>
                    </a:cubicBezTo>
                    <a:lnTo>
                      <a:pt x="21415" y="4344"/>
                    </a:lnTo>
                    <a:lnTo>
                      <a:pt x="21415" y="4344"/>
                    </a:lnTo>
                    <a:cubicBezTo>
                      <a:pt x="21598" y="3916"/>
                      <a:pt x="21659" y="3487"/>
                      <a:pt x="21659" y="3120"/>
                    </a:cubicBezTo>
                    <a:cubicBezTo>
                      <a:pt x="21659" y="1407"/>
                      <a:pt x="20313" y="0"/>
                      <a:pt x="18600" y="0"/>
                    </a:cubicBezTo>
                    <a:lnTo>
                      <a:pt x="18539" y="0"/>
                    </a:lnTo>
                    <a:lnTo>
                      <a:pt x="18600" y="0"/>
                    </a:lnTo>
                    <a:close/>
                  </a:path>
                </a:pathLst>
              </a:custGeom>
              <a:grpFill/>
              <a:ln w="0" cap="flat">
                <a:noFill/>
                <a:prstDash val="solid"/>
                <a:miter/>
              </a:ln>
            </p:spPr>
            <p:txBody>
              <a:bodyPr rtlCol="0" anchor="ctr"/>
              <a:lstStyle/>
              <a:p>
                <a:endParaRPr lang="en-US"/>
              </a:p>
            </p:txBody>
          </p:sp>
          <p:sp>
            <p:nvSpPr>
              <p:cNvPr id="155" name="Freeform 154">
                <a:extLst>
                  <a:ext uri="{FF2B5EF4-FFF2-40B4-BE49-F238E27FC236}">
                    <a16:creationId xmlns:a16="http://schemas.microsoft.com/office/drawing/2014/main" id="{A9A06DC2-8C38-B9E6-071B-FC90FBAA64C4}"/>
                  </a:ext>
                </a:extLst>
              </p:cNvPr>
              <p:cNvSpPr/>
              <p:nvPr/>
            </p:nvSpPr>
            <p:spPr>
              <a:xfrm>
                <a:off x="5583951" y="5533866"/>
                <a:ext cx="20863" cy="21286"/>
              </a:xfrm>
              <a:custGeom>
                <a:avLst/>
                <a:gdLst>
                  <a:gd name="connsiteX0" fmla="*/ 1652 w 20863"/>
                  <a:gd name="connsiteY0" fmla="*/ 20129 h 21286"/>
                  <a:gd name="connsiteX1" fmla="*/ 5996 w 20863"/>
                  <a:gd name="connsiteY1" fmla="*/ 20619 h 21286"/>
                  <a:gd name="connsiteX2" fmla="*/ 20864 w 20863"/>
                  <a:gd name="connsiteY2" fmla="*/ 10034 h 21286"/>
                  <a:gd name="connsiteX3" fmla="*/ 0 w 20863"/>
                  <a:gd name="connsiteY3" fmla="*/ 0 h 21286"/>
                  <a:gd name="connsiteX4" fmla="*/ 1040 w 20863"/>
                  <a:gd name="connsiteY4" fmla="*/ 18294 h 21286"/>
                  <a:gd name="connsiteX5" fmla="*/ 1713 w 20863"/>
                  <a:gd name="connsiteY5" fmla="*/ 20191 h 21286"/>
                  <a:gd name="connsiteX6" fmla="*/ 1713 w 20863"/>
                  <a:gd name="connsiteY6" fmla="*/ 20191 h 21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863" h="21286">
                    <a:moveTo>
                      <a:pt x="1652" y="20129"/>
                    </a:moveTo>
                    <a:cubicBezTo>
                      <a:pt x="2692" y="21475"/>
                      <a:pt x="4650" y="21659"/>
                      <a:pt x="5996" y="20619"/>
                    </a:cubicBezTo>
                    <a:lnTo>
                      <a:pt x="20864" y="10034"/>
                    </a:lnTo>
                    <a:cubicBezTo>
                      <a:pt x="15174" y="4467"/>
                      <a:pt x="7832" y="918"/>
                      <a:pt x="0" y="0"/>
                    </a:cubicBezTo>
                    <a:lnTo>
                      <a:pt x="1040" y="18294"/>
                    </a:lnTo>
                    <a:cubicBezTo>
                      <a:pt x="1040" y="18967"/>
                      <a:pt x="1285" y="19640"/>
                      <a:pt x="1713" y="20191"/>
                    </a:cubicBezTo>
                    <a:lnTo>
                      <a:pt x="1713" y="20191"/>
                    </a:lnTo>
                    <a:close/>
                  </a:path>
                </a:pathLst>
              </a:custGeom>
              <a:grpFill/>
              <a:ln w="0" cap="flat">
                <a:noFill/>
                <a:prstDash val="solid"/>
                <a:miter/>
              </a:ln>
            </p:spPr>
            <p:txBody>
              <a:bodyPr rtlCol="0" anchor="ctr"/>
              <a:lstStyle/>
              <a:p>
                <a:endParaRPr lang="en-US"/>
              </a:p>
            </p:txBody>
          </p:sp>
          <p:sp>
            <p:nvSpPr>
              <p:cNvPr id="156" name="Freeform 155">
                <a:extLst>
                  <a:ext uri="{FF2B5EF4-FFF2-40B4-BE49-F238E27FC236}">
                    <a16:creationId xmlns:a16="http://schemas.microsoft.com/office/drawing/2014/main" id="{69E35548-D2AE-CDB1-9F2B-BCB1042A0B26}"/>
                  </a:ext>
                </a:extLst>
              </p:cNvPr>
              <p:cNvSpPr/>
              <p:nvPr/>
            </p:nvSpPr>
            <p:spPr>
              <a:xfrm>
                <a:off x="5595659" y="5550691"/>
                <a:ext cx="20041" cy="22637"/>
              </a:xfrm>
              <a:custGeom>
                <a:avLst/>
                <a:gdLst>
                  <a:gd name="connsiteX0" fmla="*/ 14602 w 20041"/>
                  <a:gd name="connsiteY0" fmla="*/ 61 h 22637"/>
                  <a:gd name="connsiteX1" fmla="*/ 1019 w 20041"/>
                  <a:gd name="connsiteY1" fmla="*/ 12237 h 22637"/>
                  <a:gd name="connsiteX2" fmla="*/ 101 w 20041"/>
                  <a:gd name="connsiteY2" fmla="*/ 13705 h 22637"/>
                  <a:gd name="connsiteX3" fmla="*/ 2242 w 20041"/>
                  <a:gd name="connsiteY3" fmla="*/ 17499 h 22637"/>
                  <a:gd name="connsiteX4" fmla="*/ 2242 w 20041"/>
                  <a:gd name="connsiteY4" fmla="*/ 17499 h 22637"/>
                  <a:gd name="connsiteX5" fmla="*/ 19863 w 20041"/>
                  <a:gd name="connsiteY5" fmla="*/ 22638 h 22637"/>
                  <a:gd name="connsiteX6" fmla="*/ 14602 w 20041"/>
                  <a:gd name="connsiteY6" fmla="*/ 0 h 22637"/>
                  <a:gd name="connsiteX7" fmla="*/ 14602 w 20041"/>
                  <a:gd name="connsiteY7" fmla="*/ 0 h 22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041" h="22637">
                    <a:moveTo>
                      <a:pt x="14602" y="61"/>
                    </a:moveTo>
                    <a:lnTo>
                      <a:pt x="1019" y="12237"/>
                    </a:lnTo>
                    <a:cubicBezTo>
                      <a:pt x="590" y="12604"/>
                      <a:pt x="223" y="13154"/>
                      <a:pt x="101" y="13705"/>
                    </a:cubicBezTo>
                    <a:cubicBezTo>
                      <a:pt x="-328" y="15357"/>
                      <a:pt x="651" y="17070"/>
                      <a:pt x="2242" y="17499"/>
                    </a:cubicBezTo>
                    <a:lnTo>
                      <a:pt x="2242" y="17499"/>
                    </a:lnTo>
                    <a:lnTo>
                      <a:pt x="19863" y="22638"/>
                    </a:lnTo>
                    <a:cubicBezTo>
                      <a:pt x="20659" y="14684"/>
                      <a:pt x="18762" y="6792"/>
                      <a:pt x="14602" y="0"/>
                    </a:cubicBezTo>
                    <a:lnTo>
                      <a:pt x="14602" y="0"/>
                    </a:lnTo>
                    <a:close/>
                  </a:path>
                </a:pathLst>
              </a:custGeom>
              <a:grpFill/>
              <a:ln w="0" cap="flat">
                <a:noFill/>
                <a:prstDash val="solid"/>
                <a:miter/>
              </a:ln>
            </p:spPr>
            <p:txBody>
              <a:bodyPr rtlCol="0" anchor="ctr"/>
              <a:lstStyle/>
              <a:p>
                <a:endParaRPr lang="en-US"/>
              </a:p>
            </p:txBody>
          </p:sp>
          <p:sp>
            <p:nvSpPr>
              <p:cNvPr id="157" name="Freeform 156">
                <a:extLst>
                  <a:ext uri="{FF2B5EF4-FFF2-40B4-BE49-F238E27FC236}">
                    <a16:creationId xmlns:a16="http://schemas.microsoft.com/office/drawing/2014/main" id="{504DA645-54BC-0C0E-DF6C-85A79CB9961C}"/>
                  </a:ext>
                </a:extLst>
              </p:cNvPr>
              <p:cNvSpPr/>
              <p:nvPr/>
            </p:nvSpPr>
            <p:spPr>
              <a:xfrm>
                <a:off x="5497886" y="5487183"/>
                <a:ext cx="162978" cy="159747"/>
              </a:xfrm>
              <a:custGeom>
                <a:avLst/>
                <a:gdLst>
                  <a:gd name="connsiteX0" fmla="*/ 162668 w 162978"/>
                  <a:gd name="connsiteY0" fmla="*/ 94344 h 159747"/>
                  <a:gd name="connsiteX1" fmla="*/ 149758 w 162978"/>
                  <a:gd name="connsiteY1" fmla="*/ 37933 h 159747"/>
                  <a:gd name="connsiteX2" fmla="*/ 140825 w 162978"/>
                  <a:gd name="connsiteY2" fmla="*/ 26737 h 159747"/>
                  <a:gd name="connsiteX3" fmla="*/ 88696 w 162978"/>
                  <a:gd name="connsiteY3" fmla="*/ 1652 h 159747"/>
                  <a:gd name="connsiteX4" fmla="*/ 74379 w 162978"/>
                  <a:gd name="connsiteY4" fmla="*/ 1652 h 159747"/>
                  <a:gd name="connsiteX5" fmla="*/ 22249 w 162978"/>
                  <a:gd name="connsiteY5" fmla="*/ 26737 h 159747"/>
                  <a:gd name="connsiteX6" fmla="*/ 13316 w 162978"/>
                  <a:gd name="connsiteY6" fmla="*/ 37933 h 159747"/>
                  <a:gd name="connsiteX7" fmla="*/ 406 w 162978"/>
                  <a:gd name="connsiteY7" fmla="*/ 94344 h 159747"/>
                  <a:gd name="connsiteX8" fmla="*/ 3588 w 162978"/>
                  <a:gd name="connsiteY8" fmla="*/ 108293 h 159747"/>
                  <a:gd name="connsiteX9" fmla="*/ 39626 w 162978"/>
                  <a:gd name="connsiteY9" fmla="*/ 153568 h 159747"/>
                  <a:gd name="connsiteX10" fmla="*/ 52536 w 162978"/>
                  <a:gd name="connsiteY10" fmla="*/ 159748 h 159747"/>
                  <a:gd name="connsiteX11" fmla="*/ 110417 w 162978"/>
                  <a:gd name="connsiteY11" fmla="*/ 159748 h 159747"/>
                  <a:gd name="connsiteX12" fmla="*/ 123327 w 162978"/>
                  <a:gd name="connsiteY12" fmla="*/ 153568 h 159747"/>
                  <a:gd name="connsiteX13" fmla="*/ 159364 w 162978"/>
                  <a:gd name="connsiteY13" fmla="*/ 108293 h 159747"/>
                  <a:gd name="connsiteX14" fmla="*/ 162546 w 162978"/>
                  <a:gd name="connsiteY14" fmla="*/ 94344 h 159747"/>
                  <a:gd name="connsiteX15" fmla="*/ 162668 w 162978"/>
                  <a:gd name="connsiteY15" fmla="*/ 94344 h 159747"/>
                  <a:gd name="connsiteX16" fmla="*/ 162668 w 162978"/>
                  <a:gd name="connsiteY16" fmla="*/ 94344 h 159747"/>
                  <a:gd name="connsiteX17" fmla="*/ 142844 w 162978"/>
                  <a:gd name="connsiteY17" fmla="*/ 96791 h 159747"/>
                  <a:gd name="connsiteX18" fmla="*/ 138439 w 162978"/>
                  <a:gd name="connsiteY18" fmla="*/ 98994 h 159747"/>
                  <a:gd name="connsiteX19" fmla="*/ 138378 w 162978"/>
                  <a:gd name="connsiteY19" fmla="*/ 98994 h 159747"/>
                  <a:gd name="connsiteX20" fmla="*/ 137460 w 162978"/>
                  <a:gd name="connsiteY20" fmla="*/ 98810 h 159747"/>
                  <a:gd name="connsiteX21" fmla="*/ 134340 w 162978"/>
                  <a:gd name="connsiteY21" fmla="*/ 97586 h 159747"/>
                  <a:gd name="connsiteX22" fmla="*/ 128221 w 162978"/>
                  <a:gd name="connsiteY22" fmla="*/ 95812 h 159747"/>
                  <a:gd name="connsiteX23" fmla="*/ 126263 w 162978"/>
                  <a:gd name="connsiteY23" fmla="*/ 96546 h 159747"/>
                  <a:gd name="connsiteX24" fmla="*/ 124795 w 162978"/>
                  <a:gd name="connsiteY24" fmla="*/ 96240 h 159747"/>
                  <a:gd name="connsiteX25" fmla="*/ 104726 w 162978"/>
                  <a:gd name="connsiteY25" fmla="*/ 121509 h 159747"/>
                  <a:gd name="connsiteX26" fmla="*/ 105338 w 162978"/>
                  <a:gd name="connsiteY26" fmla="*/ 122916 h 159747"/>
                  <a:gd name="connsiteX27" fmla="*/ 104971 w 162978"/>
                  <a:gd name="connsiteY27" fmla="*/ 124996 h 159747"/>
                  <a:gd name="connsiteX28" fmla="*/ 108091 w 162978"/>
                  <a:gd name="connsiteY28" fmla="*/ 130502 h 159747"/>
                  <a:gd name="connsiteX29" fmla="*/ 109988 w 162978"/>
                  <a:gd name="connsiteY29" fmla="*/ 133317 h 159747"/>
                  <a:gd name="connsiteX30" fmla="*/ 110417 w 162978"/>
                  <a:gd name="connsiteY30" fmla="*/ 134235 h 159747"/>
                  <a:gd name="connsiteX31" fmla="*/ 110355 w 162978"/>
                  <a:gd name="connsiteY31" fmla="*/ 137906 h 159747"/>
                  <a:gd name="connsiteX32" fmla="*/ 108642 w 162978"/>
                  <a:gd name="connsiteY32" fmla="*/ 139252 h 159747"/>
                  <a:gd name="connsiteX33" fmla="*/ 104176 w 162978"/>
                  <a:gd name="connsiteY33" fmla="*/ 137172 h 159747"/>
                  <a:gd name="connsiteX34" fmla="*/ 103747 w 162978"/>
                  <a:gd name="connsiteY34" fmla="*/ 136254 h 159747"/>
                  <a:gd name="connsiteX35" fmla="*/ 102707 w 162978"/>
                  <a:gd name="connsiteY35" fmla="*/ 133072 h 159747"/>
                  <a:gd name="connsiteX36" fmla="*/ 100321 w 162978"/>
                  <a:gd name="connsiteY36" fmla="*/ 127199 h 159747"/>
                  <a:gd name="connsiteX37" fmla="*/ 98547 w 162978"/>
                  <a:gd name="connsiteY37" fmla="*/ 126097 h 159747"/>
                  <a:gd name="connsiteX38" fmla="*/ 97874 w 162978"/>
                  <a:gd name="connsiteY38" fmla="*/ 124751 h 159747"/>
                  <a:gd name="connsiteX39" fmla="*/ 65690 w 162978"/>
                  <a:gd name="connsiteY39" fmla="*/ 124690 h 159747"/>
                  <a:gd name="connsiteX40" fmla="*/ 64895 w 162978"/>
                  <a:gd name="connsiteY40" fmla="*/ 126097 h 159747"/>
                  <a:gd name="connsiteX41" fmla="*/ 63427 w 162978"/>
                  <a:gd name="connsiteY41" fmla="*/ 126832 h 159747"/>
                  <a:gd name="connsiteX42" fmla="*/ 60735 w 162978"/>
                  <a:gd name="connsiteY42" fmla="*/ 133072 h 159747"/>
                  <a:gd name="connsiteX43" fmla="*/ 59694 w 162978"/>
                  <a:gd name="connsiteY43" fmla="*/ 136254 h 159747"/>
                  <a:gd name="connsiteX44" fmla="*/ 59266 w 162978"/>
                  <a:gd name="connsiteY44" fmla="*/ 137172 h 159747"/>
                  <a:gd name="connsiteX45" fmla="*/ 56390 w 162978"/>
                  <a:gd name="connsiteY45" fmla="*/ 139435 h 159747"/>
                  <a:gd name="connsiteX46" fmla="*/ 54249 w 162978"/>
                  <a:gd name="connsiteY46" fmla="*/ 139007 h 159747"/>
                  <a:gd name="connsiteX47" fmla="*/ 53025 w 162978"/>
                  <a:gd name="connsiteY47" fmla="*/ 134174 h 159747"/>
                  <a:gd name="connsiteX48" fmla="*/ 53454 w 162978"/>
                  <a:gd name="connsiteY48" fmla="*/ 133256 h 159747"/>
                  <a:gd name="connsiteX49" fmla="*/ 55350 w 162978"/>
                  <a:gd name="connsiteY49" fmla="*/ 130441 h 159747"/>
                  <a:gd name="connsiteX50" fmla="*/ 58532 w 162978"/>
                  <a:gd name="connsiteY50" fmla="*/ 124751 h 159747"/>
                  <a:gd name="connsiteX51" fmla="*/ 58226 w 162978"/>
                  <a:gd name="connsiteY51" fmla="*/ 122793 h 159747"/>
                  <a:gd name="connsiteX52" fmla="*/ 58838 w 162978"/>
                  <a:gd name="connsiteY52" fmla="*/ 121448 h 159747"/>
                  <a:gd name="connsiteX53" fmla="*/ 38708 w 162978"/>
                  <a:gd name="connsiteY53" fmla="*/ 96302 h 159747"/>
                  <a:gd name="connsiteX54" fmla="*/ 37178 w 162978"/>
                  <a:gd name="connsiteY54" fmla="*/ 96607 h 159747"/>
                  <a:gd name="connsiteX55" fmla="*/ 35220 w 162978"/>
                  <a:gd name="connsiteY55" fmla="*/ 95934 h 159747"/>
                  <a:gd name="connsiteX56" fmla="*/ 29102 w 162978"/>
                  <a:gd name="connsiteY56" fmla="*/ 97709 h 159747"/>
                  <a:gd name="connsiteX57" fmla="*/ 25982 w 162978"/>
                  <a:gd name="connsiteY57" fmla="*/ 98871 h 159747"/>
                  <a:gd name="connsiteX58" fmla="*/ 25064 w 162978"/>
                  <a:gd name="connsiteY58" fmla="*/ 98994 h 159747"/>
                  <a:gd name="connsiteX59" fmla="*/ 25003 w 162978"/>
                  <a:gd name="connsiteY59" fmla="*/ 98994 h 159747"/>
                  <a:gd name="connsiteX60" fmla="*/ 21393 w 162978"/>
                  <a:gd name="connsiteY60" fmla="*/ 98137 h 159747"/>
                  <a:gd name="connsiteX61" fmla="*/ 20414 w 162978"/>
                  <a:gd name="connsiteY61" fmla="*/ 96179 h 159747"/>
                  <a:gd name="connsiteX62" fmla="*/ 23412 w 162978"/>
                  <a:gd name="connsiteY62" fmla="*/ 92263 h 159747"/>
                  <a:gd name="connsiteX63" fmla="*/ 23534 w 162978"/>
                  <a:gd name="connsiteY63" fmla="*/ 92263 h 159747"/>
                  <a:gd name="connsiteX64" fmla="*/ 24452 w 162978"/>
                  <a:gd name="connsiteY64" fmla="*/ 92019 h 159747"/>
                  <a:gd name="connsiteX65" fmla="*/ 27817 w 162978"/>
                  <a:gd name="connsiteY65" fmla="*/ 91713 h 159747"/>
                  <a:gd name="connsiteX66" fmla="*/ 34058 w 162978"/>
                  <a:gd name="connsiteY66" fmla="*/ 90673 h 159747"/>
                  <a:gd name="connsiteX67" fmla="*/ 35526 w 162978"/>
                  <a:gd name="connsiteY67" fmla="*/ 89204 h 159747"/>
                  <a:gd name="connsiteX68" fmla="*/ 36995 w 162978"/>
                  <a:gd name="connsiteY68" fmla="*/ 88776 h 159747"/>
                  <a:gd name="connsiteX69" fmla="*/ 44092 w 162978"/>
                  <a:gd name="connsiteY69" fmla="*/ 57328 h 159747"/>
                  <a:gd name="connsiteX70" fmla="*/ 42930 w 162978"/>
                  <a:gd name="connsiteY70" fmla="*/ 56288 h 159747"/>
                  <a:gd name="connsiteX71" fmla="*/ 42257 w 162978"/>
                  <a:gd name="connsiteY71" fmla="*/ 54269 h 159747"/>
                  <a:gd name="connsiteX72" fmla="*/ 37056 w 162978"/>
                  <a:gd name="connsiteY72" fmla="*/ 50659 h 159747"/>
                  <a:gd name="connsiteX73" fmla="*/ 34180 w 162978"/>
                  <a:gd name="connsiteY73" fmla="*/ 48946 h 159747"/>
                  <a:gd name="connsiteX74" fmla="*/ 33446 w 162978"/>
                  <a:gd name="connsiteY74" fmla="*/ 48395 h 159747"/>
                  <a:gd name="connsiteX75" fmla="*/ 32590 w 162978"/>
                  <a:gd name="connsiteY75" fmla="*/ 43256 h 159747"/>
                  <a:gd name="connsiteX76" fmla="*/ 35404 w 162978"/>
                  <a:gd name="connsiteY76" fmla="*/ 42033 h 159747"/>
                  <a:gd name="connsiteX77" fmla="*/ 37851 w 162978"/>
                  <a:gd name="connsiteY77" fmla="*/ 42950 h 159747"/>
                  <a:gd name="connsiteX78" fmla="*/ 38647 w 162978"/>
                  <a:gd name="connsiteY78" fmla="*/ 43562 h 159747"/>
                  <a:gd name="connsiteX79" fmla="*/ 40972 w 162978"/>
                  <a:gd name="connsiteY79" fmla="*/ 46009 h 159747"/>
                  <a:gd name="connsiteX80" fmla="*/ 45683 w 162978"/>
                  <a:gd name="connsiteY80" fmla="*/ 50231 h 159747"/>
                  <a:gd name="connsiteX81" fmla="*/ 47763 w 162978"/>
                  <a:gd name="connsiteY81" fmla="*/ 50415 h 159747"/>
                  <a:gd name="connsiteX82" fmla="*/ 48987 w 162978"/>
                  <a:gd name="connsiteY82" fmla="*/ 51332 h 159747"/>
                  <a:gd name="connsiteX83" fmla="*/ 71809 w 162978"/>
                  <a:gd name="connsiteY83" fmla="*/ 38300 h 159747"/>
                  <a:gd name="connsiteX84" fmla="*/ 78111 w 162978"/>
                  <a:gd name="connsiteY84" fmla="*/ 37321 h 159747"/>
                  <a:gd name="connsiteX85" fmla="*/ 78111 w 162978"/>
                  <a:gd name="connsiteY85" fmla="*/ 35853 h 159747"/>
                  <a:gd name="connsiteX86" fmla="*/ 79335 w 162978"/>
                  <a:gd name="connsiteY86" fmla="*/ 34018 h 159747"/>
                  <a:gd name="connsiteX87" fmla="*/ 78968 w 162978"/>
                  <a:gd name="connsiteY87" fmla="*/ 27654 h 159747"/>
                  <a:gd name="connsiteX88" fmla="*/ 78478 w 162978"/>
                  <a:gd name="connsiteY88" fmla="*/ 24351 h 159747"/>
                  <a:gd name="connsiteX89" fmla="*/ 78478 w 162978"/>
                  <a:gd name="connsiteY89" fmla="*/ 23372 h 159747"/>
                  <a:gd name="connsiteX90" fmla="*/ 81904 w 162978"/>
                  <a:gd name="connsiteY90" fmla="*/ 19517 h 159747"/>
                  <a:gd name="connsiteX91" fmla="*/ 81966 w 162978"/>
                  <a:gd name="connsiteY91" fmla="*/ 19517 h 159747"/>
                  <a:gd name="connsiteX92" fmla="*/ 85392 w 162978"/>
                  <a:gd name="connsiteY92" fmla="*/ 23433 h 159747"/>
                  <a:gd name="connsiteX93" fmla="*/ 85392 w 162978"/>
                  <a:gd name="connsiteY93" fmla="*/ 24473 h 159747"/>
                  <a:gd name="connsiteX94" fmla="*/ 84902 w 162978"/>
                  <a:gd name="connsiteY94" fmla="*/ 27777 h 159747"/>
                  <a:gd name="connsiteX95" fmla="*/ 84474 w 162978"/>
                  <a:gd name="connsiteY95" fmla="*/ 34140 h 159747"/>
                  <a:gd name="connsiteX96" fmla="*/ 85637 w 162978"/>
                  <a:gd name="connsiteY96" fmla="*/ 35853 h 159747"/>
                  <a:gd name="connsiteX97" fmla="*/ 85698 w 162978"/>
                  <a:gd name="connsiteY97" fmla="*/ 37444 h 159747"/>
                  <a:gd name="connsiteX98" fmla="*/ 114699 w 162978"/>
                  <a:gd name="connsiteY98" fmla="*/ 51455 h 159747"/>
                  <a:gd name="connsiteX99" fmla="*/ 116046 w 162978"/>
                  <a:gd name="connsiteY99" fmla="*/ 50537 h 159747"/>
                  <a:gd name="connsiteX100" fmla="*/ 118187 w 162978"/>
                  <a:gd name="connsiteY100" fmla="*/ 50292 h 159747"/>
                  <a:gd name="connsiteX101" fmla="*/ 122776 w 162978"/>
                  <a:gd name="connsiteY101" fmla="*/ 45948 h 159747"/>
                  <a:gd name="connsiteX102" fmla="*/ 125101 w 162978"/>
                  <a:gd name="connsiteY102" fmla="*/ 43501 h 159747"/>
                  <a:gd name="connsiteX103" fmla="*/ 125896 w 162978"/>
                  <a:gd name="connsiteY103" fmla="*/ 42889 h 159747"/>
                  <a:gd name="connsiteX104" fmla="*/ 129567 w 162978"/>
                  <a:gd name="connsiteY104" fmla="*/ 42033 h 159747"/>
                  <a:gd name="connsiteX105" fmla="*/ 131403 w 162978"/>
                  <a:gd name="connsiteY105" fmla="*/ 43501 h 159747"/>
                  <a:gd name="connsiteX106" fmla="*/ 130302 w 162978"/>
                  <a:gd name="connsiteY106" fmla="*/ 48334 h 159747"/>
                  <a:gd name="connsiteX107" fmla="*/ 129506 w 162978"/>
                  <a:gd name="connsiteY107" fmla="*/ 48946 h 159747"/>
                  <a:gd name="connsiteX108" fmla="*/ 126630 w 162978"/>
                  <a:gd name="connsiteY108" fmla="*/ 50659 h 159747"/>
                  <a:gd name="connsiteX109" fmla="*/ 121430 w 162978"/>
                  <a:gd name="connsiteY109" fmla="*/ 54330 h 159747"/>
                  <a:gd name="connsiteX110" fmla="*/ 120757 w 162978"/>
                  <a:gd name="connsiteY110" fmla="*/ 56288 h 159747"/>
                  <a:gd name="connsiteX111" fmla="*/ 119533 w 162978"/>
                  <a:gd name="connsiteY111" fmla="*/ 57450 h 159747"/>
                  <a:gd name="connsiteX112" fmla="*/ 126814 w 162978"/>
                  <a:gd name="connsiteY112" fmla="*/ 88837 h 159747"/>
                  <a:gd name="connsiteX113" fmla="*/ 128221 w 162978"/>
                  <a:gd name="connsiteY113" fmla="*/ 89265 h 159747"/>
                  <a:gd name="connsiteX114" fmla="*/ 129690 w 162978"/>
                  <a:gd name="connsiteY114" fmla="*/ 90734 h 159747"/>
                  <a:gd name="connsiteX115" fmla="*/ 135931 w 162978"/>
                  <a:gd name="connsiteY115" fmla="*/ 91774 h 159747"/>
                  <a:gd name="connsiteX116" fmla="*/ 139296 w 162978"/>
                  <a:gd name="connsiteY116" fmla="*/ 92080 h 159747"/>
                  <a:gd name="connsiteX117" fmla="*/ 140336 w 162978"/>
                  <a:gd name="connsiteY117" fmla="*/ 92325 h 159747"/>
                  <a:gd name="connsiteX118" fmla="*/ 143212 w 162978"/>
                  <a:gd name="connsiteY118" fmla="*/ 94650 h 159747"/>
                  <a:gd name="connsiteX119" fmla="*/ 143212 w 162978"/>
                  <a:gd name="connsiteY119" fmla="*/ 96852 h 159747"/>
                  <a:gd name="connsiteX120" fmla="*/ 142844 w 162978"/>
                  <a:gd name="connsiteY120" fmla="*/ 96852 h 159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162978" h="159747">
                    <a:moveTo>
                      <a:pt x="162668" y="94344"/>
                    </a:moveTo>
                    <a:lnTo>
                      <a:pt x="149758" y="37933"/>
                    </a:lnTo>
                    <a:cubicBezTo>
                      <a:pt x="148657" y="33039"/>
                      <a:pt x="145353" y="28939"/>
                      <a:pt x="140825" y="26737"/>
                    </a:cubicBezTo>
                    <a:lnTo>
                      <a:pt x="88696" y="1652"/>
                    </a:lnTo>
                    <a:cubicBezTo>
                      <a:pt x="84168" y="-551"/>
                      <a:pt x="78906" y="-551"/>
                      <a:pt x="74379" y="1652"/>
                    </a:cubicBezTo>
                    <a:lnTo>
                      <a:pt x="22249" y="26737"/>
                    </a:lnTo>
                    <a:cubicBezTo>
                      <a:pt x="17722" y="28939"/>
                      <a:pt x="14479" y="33039"/>
                      <a:pt x="13316" y="37933"/>
                    </a:cubicBezTo>
                    <a:lnTo>
                      <a:pt x="406" y="94344"/>
                    </a:lnTo>
                    <a:cubicBezTo>
                      <a:pt x="-695" y="99238"/>
                      <a:pt x="468" y="104378"/>
                      <a:pt x="3588" y="108293"/>
                    </a:cubicBezTo>
                    <a:lnTo>
                      <a:pt x="39626" y="153568"/>
                    </a:lnTo>
                    <a:cubicBezTo>
                      <a:pt x="42746" y="157484"/>
                      <a:pt x="47519" y="159748"/>
                      <a:pt x="52536" y="159748"/>
                    </a:cubicBezTo>
                    <a:lnTo>
                      <a:pt x="110417" y="159748"/>
                    </a:lnTo>
                    <a:cubicBezTo>
                      <a:pt x="115434" y="159748"/>
                      <a:pt x="120145" y="157423"/>
                      <a:pt x="123327" y="153568"/>
                    </a:cubicBezTo>
                    <a:lnTo>
                      <a:pt x="159364" y="108293"/>
                    </a:lnTo>
                    <a:cubicBezTo>
                      <a:pt x="162485" y="104378"/>
                      <a:pt x="163708" y="99238"/>
                      <a:pt x="162546" y="94344"/>
                    </a:cubicBezTo>
                    <a:lnTo>
                      <a:pt x="162668" y="94344"/>
                    </a:lnTo>
                    <a:lnTo>
                      <a:pt x="162668" y="94344"/>
                    </a:lnTo>
                    <a:close/>
                    <a:moveTo>
                      <a:pt x="142844" y="96791"/>
                    </a:moveTo>
                    <a:cubicBezTo>
                      <a:pt x="142233" y="98627"/>
                      <a:pt x="140275" y="99605"/>
                      <a:pt x="138439" y="98994"/>
                    </a:cubicBezTo>
                    <a:lnTo>
                      <a:pt x="138378" y="98994"/>
                    </a:lnTo>
                    <a:cubicBezTo>
                      <a:pt x="138378" y="98994"/>
                      <a:pt x="137705" y="98871"/>
                      <a:pt x="137460" y="98810"/>
                    </a:cubicBezTo>
                    <a:cubicBezTo>
                      <a:pt x="136359" y="98443"/>
                      <a:pt x="135319" y="98076"/>
                      <a:pt x="134340" y="97586"/>
                    </a:cubicBezTo>
                    <a:cubicBezTo>
                      <a:pt x="132382" y="96791"/>
                      <a:pt x="130363" y="96179"/>
                      <a:pt x="128221" y="95812"/>
                    </a:cubicBezTo>
                    <a:cubicBezTo>
                      <a:pt x="127487" y="95812"/>
                      <a:pt x="126814" y="96057"/>
                      <a:pt x="126263" y="96546"/>
                    </a:cubicBezTo>
                    <a:lnTo>
                      <a:pt x="124795" y="96240"/>
                    </a:lnTo>
                    <a:cubicBezTo>
                      <a:pt x="121430" y="106825"/>
                      <a:pt x="114332" y="115819"/>
                      <a:pt x="104726" y="121509"/>
                    </a:cubicBezTo>
                    <a:cubicBezTo>
                      <a:pt x="104910" y="121998"/>
                      <a:pt x="105093" y="122426"/>
                      <a:pt x="105338" y="122916"/>
                    </a:cubicBezTo>
                    <a:cubicBezTo>
                      <a:pt x="104971" y="123528"/>
                      <a:pt x="104788" y="124323"/>
                      <a:pt x="104971" y="124996"/>
                    </a:cubicBezTo>
                    <a:cubicBezTo>
                      <a:pt x="105828" y="126954"/>
                      <a:pt x="106868" y="128790"/>
                      <a:pt x="108091" y="130502"/>
                    </a:cubicBezTo>
                    <a:cubicBezTo>
                      <a:pt x="108765" y="131420"/>
                      <a:pt x="109376" y="132338"/>
                      <a:pt x="109988" y="133317"/>
                    </a:cubicBezTo>
                    <a:lnTo>
                      <a:pt x="110417" y="134235"/>
                    </a:lnTo>
                    <a:cubicBezTo>
                      <a:pt x="111090" y="135397"/>
                      <a:pt x="111028" y="136804"/>
                      <a:pt x="110355" y="137906"/>
                    </a:cubicBezTo>
                    <a:cubicBezTo>
                      <a:pt x="109927" y="138517"/>
                      <a:pt x="109315" y="139007"/>
                      <a:pt x="108642" y="139252"/>
                    </a:cubicBezTo>
                    <a:cubicBezTo>
                      <a:pt x="106807" y="139925"/>
                      <a:pt x="104788" y="139007"/>
                      <a:pt x="104176" y="137172"/>
                    </a:cubicBezTo>
                    <a:lnTo>
                      <a:pt x="103747" y="136254"/>
                    </a:lnTo>
                    <a:cubicBezTo>
                      <a:pt x="103319" y="135214"/>
                      <a:pt x="103013" y="134112"/>
                      <a:pt x="102707" y="133072"/>
                    </a:cubicBezTo>
                    <a:cubicBezTo>
                      <a:pt x="102095" y="131053"/>
                      <a:pt x="101300" y="129095"/>
                      <a:pt x="100321" y="127199"/>
                    </a:cubicBezTo>
                    <a:cubicBezTo>
                      <a:pt x="99893" y="126587"/>
                      <a:pt x="99220" y="126220"/>
                      <a:pt x="98547" y="126097"/>
                    </a:cubicBezTo>
                    <a:lnTo>
                      <a:pt x="97874" y="124751"/>
                    </a:lnTo>
                    <a:cubicBezTo>
                      <a:pt x="87472" y="128667"/>
                      <a:pt x="76031" y="128667"/>
                      <a:pt x="65690" y="124690"/>
                    </a:cubicBezTo>
                    <a:lnTo>
                      <a:pt x="64895" y="126097"/>
                    </a:lnTo>
                    <a:cubicBezTo>
                      <a:pt x="64344" y="126220"/>
                      <a:pt x="63794" y="126465"/>
                      <a:pt x="63427" y="126832"/>
                    </a:cubicBezTo>
                    <a:cubicBezTo>
                      <a:pt x="62203" y="128361"/>
                      <a:pt x="61652" y="130808"/>
                      <a:pt x="60735" y="133072"/>
                    </a:cubicBezTo>
                    <a:cubicBezTo>
                      <a:pt x="60429" y="134174"/>
                      <a:pt x="60123" y="135214"/>
                      <a:pt x="59694" y="136254"/>
                    </a:cubicBezTo>
                    <a:lnTo>
                      <a:pt x="59266" y="137172"/>
                    </a:lnTo>
                    <a:cubicBezTo>
                      <a:pt x="58838" y="138395"/>
                      <a:pt x="57675" y="139313"/>
                      <a:pt x="56390" y="139435"/>
                    </a:cubicBezTo>
                    <a:cubicBezTo>
                      <a:pt x="55656" y="139496"/>
                      <a:pt x="54922" y="139374"/>
                      <a:pt x="54249" y="139007"/>
                    </a:cubicBezTo>
                    <a:cubicBezTo>
                      <a:pt x="52597" y="138028"/>
                      <a:pt x="52046" y="135887"/>
                      <a:pt x="53025" y="134174"/>
                    </a:cubicBezTo>
                    <a:lnTo>
                      <a:pt x="53454" y="133256"/>
                    </a:lnTo>
                    <a:cubicBezTo>
                      <a:pt x="54004" y="132277"/>
                      <a:pt x="54616" y="131359"/>
                      <a:pt x="55350" y="130441"/>
                    </a:cubicBezTo>
                    <a:cubicBezTo>
                      <a:pt x="56574" y="128606"/>
                      <a:pt x="57675" y="126709"/>
                      <a:pt x="58532" y="124751"/>
                    </a:cubicBezTo>
                    <a:cubicBezTo>
                      <a:pt x="58654" y="124078"/>
                      <a:pt x="58532" y="123405"/>
                      <a:pt x="58226" y="122793"/>
                    </a:cubicBezTo>
                    <a:lnTo>
                      <a:pt x="58838" y="121448"/>
                    </a:lnTo>
                    <a:cubicBezTo>
                      <a:pt x="49293" y="115819"/>
                      <a:pt x="42134" y="106886"/>
                      <a:pt x="38708" y="96302"/>
                    </a:cubicBezTo>
                    <a:lnTo>
                      <a:pt x="37178" y="96607"/>
                    </a:lnTo>
                    <a:cubicBezTo>
                      <a:pt x="36567" y="96179"/>
                      <a:pt x="35893" y="95934"/>
                      <a:pt x="35220" y="95934"/>
                    </a:cubicBezTo>
                    <a:cubicBezTo>
                      <a:pt x="33140" y="96302"/>
                      <a:pt x="31121" y="96974"/>
                      <a:pt x="29102" y="97709"/>
                    </a:cubicBezTo>
                    <a:cubicBezTo>
                      <a:pt x="28062" y="98137"/>
                      <a:pt x="27022" y="98565"/>
                      <a:pt x="25982" y="98871"/>
                    </a:cubicBezTo>
                    <a:lnTo>
                      <a:pt x="25064" y="98994"/>
                    </a:lnTo>
                    <a:lnTo>
                      <a:pt x="25003" y="98994"/>
                    </a:lnTo>
                    <a:cubicBezTo>
                      <a:pt x="23779" y="99422"/>
                      <a:pt x="22372" y="99054"/>
                      <a:pt x="21393" y="98137"/>
                    </a:cubicBezTo>
                    <a:cubicBezTo>
                      <a:pt x="20842" y="97586"/>
                      <a:pt x="20536" y="96913"/>
                      <a:pt x="20414" y="96179"/>
                    </a:cubicBezTo>
                    <a:cubicBezTo>
                      <a:pt x="20169" y="94282"/>
                      <a:pt x="21515" y="92508"/>
                      <a:pt x="23412" y="92263"/>
                    </a:cubicBezTo>
                    <a:lnTo>
                      <a:pt x="23534" y="92263"/>
                    </a:lnTo>
                    <a:lnTo>
                      <a:pt x="24452" y="92019"/>
                    </a:lnTo>
                    <a:cubicBezTo>
                      <a:pt x="25553" y="91896"/>
                      <a:pt x="26655" y="91774"/>
                      <a:pt x="27817" y="91713"/>
                    </a:cubicBezTo>
                    <a:cubicBezTo>
                      <a:pt x="29959" y="91590"/>
                      <a:pt x="32039" y="91223"/>
                      <a:pt x="34058" y="90673"/>
                    </a:cubicBezTo>
                    <a:cubicBezTo>
                      <a:pt x="34670" y="90305"/>
                      <a:pt x="35159" y="89755"/>
                      <a:pt x="35526" y="89204"/>
                    </a:cubicBezTo>
                    <a:lnTo>
                      <a:pt x="36995" y="88776"/>
                    </a:lnTo>
                    <a:cubicBezTo>
                      <a:pt x="35404" y="77763"/>
                      <a:pt x="37913" y="66567"/>
                      <a:pt x="44092" y="57328"/>
                    </a:cubicBezTo>
                    <a:lnTo>
                      <a:pt x="42930" y="56288"/>
                    </a:lnTo>
                    <a:cubicBezTo>
                      <a:pt x="42930" y="55554"/>
                      <a:pt x="42624" y="54881"/>
                      <a:pt x="42257" y="54269"/>
                    </a:cubicBezTo>
                    <a:cubicBezTo>
                      <a:pt x="40605" y="52923"/>
                      <a:pt x="38892" y="51699"/>
                      <a:pt x="37056" y="50659"/>
                    </a:cubicBezTo>
                    <a:cubicBezTo>
                      <a:pt x="36016" y="50108"/>
                      <a:pt x="35098" y="49558"/>
                      <a:pt x="34180" y="48946"/>
                    </a:cubicBezTo>
                    <a:lnTo>
                      <a:pt x="33446" y="48395"/>
                    </a:lnTo>
                    <a:cubicBezTo>
                      <a:pt x="31794" y="47233"/>
                      <a:pt x="31366" y="44908"/>
                      <a:pt x="32590" y="43256"/>
                    </a:cubicBezTo>
                    <a:cubicBezTo>
                      <a:pt x="33263" y="42400"/>
                      <a:pt x="34303" y="41971"/>
                      <a:pt x="35404" y="42033"/>
                    </a:cubicBezTo>
                    <a:cubicBezTo>
                      <a:pt x="36261" y="42033"/>
                      <a:pt x="37117" y="42400"/>
                      <a:pt x="37851" y="42950"/>
                    </a:cubicBezTo>
                    <a:lnTo>
                      <a:pt x="38647" y="43562"/>
                    </a:lnTo>
                    <a:cubicBezTo>
                      <a:pt x="39442" y="44357"/>
                      <a:pt x="40238" y="45153"/>
                      <a:pt x="40972" y="46009"/>
                    </a:cubicBezTo>
                    <a:cubicBezTo>
                      <a:pt x="42379" y="47600"/>
                      <a:pt x="43970" y="49007"/>
                      <a:pt x="45683" y="50231"/>
                    </a:cubicBezTo>
                    <a:cubicBezTo>
                      <a:pt x="46295" y="50598"/>
                      <a:pt x="47090" y="50659"/>
                      <a:pt x="47763" y="50415"/>
                    </a:cubicBezTo>
                    <a:lnTo>
                      <a:pt x="48987" y="51332"/>
                    </a:lnTo>
                    <a:cubicBezTo>
                      <a:pt x="55106" y="44847"/>
                      <a:pt x="63060" y="40319"/>
                      <a:pt x="71809" y="38300"/>
                    </a:cubicBezTo>
                    <a:cubicBezTo>
                      <a:pt x="73889" y="37811"/>
                      <a:pt x="75970" y="37505"/>
                      <a:pt x="78111" y="37321"/>
                    </a:cubicBezTo>
                    <a:lnTo>
                      <a:pt x="78111" y="35853"/>
                    </a:lnTo>
                    <a:cubicBezTo>
                      <a:pt x="78723" y="35364"/>
                      <a:pt x="79151" y="34752"/>
                      <a:pt x="79335" y="34018"/>
                    </a:cubicBezTo>
                    <a:cubicBezTo>
                      <a:pt x="79457" y="31876"/>
                      <a:pt x="79335" y="29796"/>
                      <a:pt x="78968" y="27654"/>
                    </a:cubicBezTo>
                    <a:cubicBezTo>
                      <a:pt x="78784" y="26553"/>
                      <a:pt x="78600" y="25452"/>
                      <a:pt x="78478" y="24351"/>
                    </a:cubicBezTo>
                    <a:lnTo>
                      <a:pt x="78478" y="23372"/>
                    </a:lnTo>
                    <a:cubicBezTo>
                      <a:pt x="78356" y="21353"/>
                      <a:pt x="79885" y="19640"/>
                      <a:pt x="81904" y="19517"/>
                    </a:cubicBezTo>
                    <a:lnTo>
                      <a:pt x="81966" y="19517"/>
                    </a:lnTo>
                    <a:cubicBezTo>
                      <a:pt x="83985" y="19701"/>
                      <a:pt x="85514" y="21414"/>
                      <a:pt x="85392" y="23433"/>
                    </a:cubicBezTo>
                    <a:lnTo>
                      <a:pt x="85392" y="24473"/>
                    </a:lnTo>
                    <a:cubicBezTo>
                      <a:pt x="85270" y="25574"/>
                      <a:pt x="85147" y="26676"/>
                      <a:pt x="84902" y="27777"/>
                    </a:cubicBezTo>
                    <a:cubicBezTo>
                      <a:pt x="84535" y="29857"/>
                      <a:pt x="84413" y="31999"/>
                      <a:pt x="84474" y="34140"/>
                    </a:cubicBezTo>
                    <a:cubicBezTo>
                      <a:pt x="84597" y="34813"/>
                      <a:pt x="85025" y="35486"/>
                      <a:pt x="85637" y="35853"/>
                    </a:cubicBezTo>
                    <a:cubicBezTo>
                      <a:pt x="85637" y="36098"/>
                      <a:pt x="85698" y="36954"/>
                      <a:pt x="85698" y="37444"/>
                    </a:cubicBezTo>
                    <a:cubicBezTo>
                      <a:pt x="96711" y="38484"/>
                      <a:pt x="107051" y="43378"/>
                      <a:pt x="114699" y="51455"/>
                    </a:cubicBezTo>
                    <a:lnTo>
                      <a:pt x="116046" y="50537"/>
                    </a:lnTo>
                    <a:cubicBezTo>
                      <a:pt x="116719" y="50659"/>
                      <a:pt x="117514" y="50537"/>
                      <a:pt x="118187" y="50292"/>
                    </a:cubicBezTo>
                    <a:cubicBezTo>
                      <a:pt x="119839" y="49007"/>
                      <a:pt x="121369" y="47600"/>
                      <a:pt x="122776" y="45948"/>
                    </a:cubicBezTo>
                    <a:cubicBezTo>
                      <a:pt x="123510" y="45092"/>
                      <a:pt x="124244" y="44296"/>
                      <a:pt x="125101" y="43501"/>
                    </a:cubicBezTo>
                    <a:lnTo>
                      <a:pt x="125896" y="42889"/>
                    </a:lnTo>
                    <a:cubicBezTo>
                      <a:pt x="126814" y="41910"/>
                      <a:pt x="128282" y="41604"/>
                      <a:pt x="129567" y="42033"/>
                    </a:cubicBezTo>
                    <a:cubicBezTo>
                      <a:pt x="130363" y="42338"/>
                      <a:pt x="130975" y="42828"/>
                      <a:pt x="131403" y="43501"/>
                    </a:cubicBezTo>
                    <a:cubicBezTo>
                      <a:pt x="132443" y="45153"/>
                      <a:pt x="131954" y="47294"/>
                      <a:pt x="130302" y="48334"/>
                    </a:cubicBezTo>
                    <a:lnTo>
                      <a:pt x="129506" y="48946"/>
                    </a:lnTo>
                    <a:cubicBezTo>
                      <a:pt x="128588" y="49558"/>
                      <a:pt x="127609" y="50108"/>
                      <a:pt x="126630" y="50659"/>
                    </a:cubicBezTo>
                    <a:cubicBezTo>
                      <a:pt x="124795" y="51699"/>
                      <a:pt x="123021" y="52923"/>
                      <a:pt x="121430" y="54330"/>
                    </a:cubicBezTo>
                    <a:cubicBezTo>
                      <a:pt x="121001" y="54881"/>
                      <a:pt x="120757" y="55554"/>
                      <a:pt x="120757" y="56288"/>
                    </a:cubicBezTo>
                    <a:lnTo>
                      <a:pt x="119533" y="57450"/>
                    </a:lnTo>
                    <a:cubicBezTo>
                      <a:pt x="125713" y="66689"/>
                      <a:pt x="128282" y="77824"/>
                      <a:pt x="126814" y="88837"/>
                    </a:cubicBezTo>
                    <a:lnTo>
                      <a:pt x="128221" y="89265"/>
                    </a:lnTo>
                    <a:cubicBezTo>
                      <a:pt x="128588" y="89877"/>
                      <a:pt x="129078" y="90428"/>
                      <a:pt x="129690" y="90734"/>
                    </a:cubicBezTo>
                    <a:cubicBezTo>
                      <a:pt x="131770" y="91285"/>
                      <a:pt x="133850" y="91652"/>
                      <a:pt x="135931" y="91774"/>
                    </a:cubicBezTo>
                    <a:cubicBezTo>
                      <a:pt x="137032" y="91774"/>
                      <a:pt x="138133" y="91896"/>
                      <a:pt x="139296" y="92080"/>
                    </a:cubicBezTo>
                    <a:lnTo>
                      <a:pt x="140336" y="92325"/>
                    </a:lnTo>
                    <a:cubicBezTo>
                      <a:pt x="141682" y="92508"/>
                      <a:pt x="142783" y="93426"/>
                      <a:pt x="143212" y="94650"/>
                    </a:cubicBezTo>
                    <a:cubicBezTo>
                      <a:pt x="143456" y="95384"/>
                      <a:pt x="143456" y="96118"/>
                      <a:pt x="143212" y="96852"/>
                    </a:cubicBezTo>
                    <a:lnTo>
                      <a:pt x="142844" y="96852"/>
                    </a:lnTo>
                    <a:close/>
                  </a:path>
                </a:pathLst>
              </a:custGeom>
              <a:grpFill/>
              <a:ln w="0" cap="flat">
                <a:noFill/>
                <a:prstDash val="solid"/>
                <a:miter/>
              </a:ln>
            </p:spPr>
            <p:txBody>
              <a:bodyPr rtlCol="0" anchor="ctr"/>
              <a:lstStyle/>
              <a:p>
                <a:endParaRPr lang="en-US"/>
              </a:p>
            </p:txBody>
          </p:sp>
          <p:sp>
            <p:nvSpPr>
              <p:cNvPr id="158" name="Freeform 157">
                <a:extLst>
                  <a:ext uri="{FF2B5EF4-FFF2-40B4-BE49-F238E27FC236}">
                    <a16:creationId xmlns:a16="http://schemas.microsoft.com/office/drawing/2014/main" id="{40BE67E3-4BEF-9B2B-DC6A-8591042B91EB}"/>
                  </a:ext>
                </a:extLst>
              </p:cNvPr>
              <p:cNvSpPr/>
              <p:nvPr/>
            </p:nvSpPr>
            <p:spPr>
              <a:xfrm>
                <a:off x="5591717" y="5578774"/>
                <a:ext cx="21847" cy="21352"/>
              </a:xfrm>
              <a:custGeom>
                <a:avLst/>
                <a:gdLst>
                  <a:gd name="connsiteX0" fmla="*/ 2942 w 21847"/>
                  <a:gd name="connsiteY0" fmla="*/ 0 h 21352"/>
                  <a:gd name="connsiteX1" fmla="*/ 2942 w 21847"/>
                  <a:gd name="connsiteY1" fmla="*/ 0 h 21352"/>
                  <a:gd name="connsiteX2" fmla="*/ 1902 w 21847"/>
                  <a:gd name="connsiteY2" fmla="*/ 306 h 21352"/>
                  <a:gd name="connsiteX3" fmla="*/ 250 w 21847"/>
                  <a:gd name="connsiteY3" fmla="*/ 4344 h 21352"/>
                  <a:gd name="connsiteX4" fmla="*/ 7286 w 21847"/>
                  <a:gd name="connsiteY4" fmla="*/ 21353 h 21352"/>
                  <a:gd name="connsiteX5" fmla="*/ 21848 w 21847"/>
                  <a:gd name="connsiteY5" fmla="*/ 3059 h 21352"/>
                  <a:gd name="connsiteX6" fmla="*/ 3676 w 21847"/>
                  <a:gd name="connsiteY6" fmla="*/ 0 h 21352"/>
                  <a:gd name="connsiteX7" fmla="*/ 2942 w 21847"/>
                  <a:gd name="connsiteY7" fmla="*/ 0 h 21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47" h="21352">
                    <a:moveTo>
                      <a:pt x="2942" y="0"/>
                    </a:moveTo>
                    <a:lnTo>
                      <a:pt x="2942" y="0"/>
                    </a:lnTo>
                    <a:cubicBezTo>
                      <a:pt x="2575" y="61"/>
                      <a:pt x="2207" y="183"/>
                      <a:pt x="1902" y="306"/>
                    </a:cubicBezTo>
                    <a:cubicBezTo>
                      <a:pt x="311" y="979"/>
                      <a:pt x="-424" y="2753"/>
                      <a:pt x="250" y="4344"/>
                    </a:cubicBezTo>
                    <a:lnTo>
                      <a:pt x="7286" y="21353"/>
                    </a:lnTo>
                    <a:cubicBezTo>
                      <a:pt x="14016" y="17009"/>
                      <a:pt x="19156" y="10584"/>
                      <a:pt x="21848" y="3059"/>
                    </a:cubicBezTo>
                    <a:lnTo>
                      <a:pt x="3676" y="0"/>
                    </a:lnTo>
                    <a:lnTo>
                      <a:pt x="2942" y="0"/>
                    </a:lnTo>
                    <a:close/>
                  </a:path>
                </a:pathLst>
              </a:custGeom>
              <a:grpFill/>
              <a:ln w="0" cap="flat">
                <a:noFill/>
                <a:prstDash val="solid"/>
                <a:miter/>
              </a:ln>
            </p:spPr>
            <p:txBody>
              <a:bodyPr rtlCol="0" anchor="ctr"/>
              <a:lstStyle/>
              <a:p>
                <a:endParaRPr lang="en-US"/>
              </a:p>
            </p:txBody>
          </p:sp>
          <p:sp>
            <p:nvSpPr>
              <p:cNvPr id="159" name="Freeform 158">
                <a:extLst>
                  <a:ext uri="{FF2B5EF4-FFF2-40B4-BE49-F238E27FC236}">
                    <a16:creationId xmlns:a16="http://schemas.microsoft.com/office/drawing/2014/main" id="{04A4CFDD-7E3C-1F7F-720F-F3ED84037968}"/>
                  </a:ext>
                </a:extLst>
              </p:cNvPr>
              <p:cNvSpPr/>
              <p:nvPr/>
            </p:nvSpPr>
            <p:spPr>
              <a:xfrm>
                <a:off x="5567920" y="5586295"/>
                <a:ext cx="23189" cy="19537"/>
              </a:xfrm>
              <a:custGeom>
                <a:avLst/>
                <a:gdLst>
                  <a:gd name="connsiteX0" fmla="*/ 14317 w 23189"/>
                  <a:gd name="connsiteY0" fmla="*/ 1595 h 19537"/>
                  <a:gd name="connsiteX1" fmla="*/ 11503 w 23189"/>
                  <a:gd name="connsiteY1" fmla="*/ 4 h 19537"/>
                  <a:gd name="connsiteX2" fmla="*/ 8872 w 23189"/>
                  <a:gd name="connsiteY2" fmla="*/ 1595 h 19537"/>
                  <a:gd name="connsiteX3" fmla="*/ 0 w 23189"/>
                  <a:gd name="connsiteY3" fmla="*/ 17625 h 19537"/>
                  <a:gd name="connsiteX4" fmla="*/ 19640 w 23189"/>
                  <a:gd name="connsiteY4" fmla="*/ 18604 h 19537"/>
                  <a:gd name="connsiteX5" fmla="*/ 23189 w 23189"/>
                  <a:gd name="connsiteY5" fmla="*/ 17625 h 19537"/>
                  <a:gd name="connsiteX6" fmla="*/ 14317 w 23189"/>
                  <a:gd name="connsiteY6" fmla="*/ 1595 h 19537"/>
                  <a:gd name="connsiteX7" fmla="*/ 14256 w 23189"/>
                  <a:gd name="connsiteY7" fmla="*/ 1595 h 19537"/>
                  <a:gd name="connsiteX8" fmla="*/ 14317 w 23189"/>
                  <a:gd name="connsiteY8" fmla="*/ 1595 h 19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89" h="19537">
                    <a:moveTo>
                      <a:pt x="14317" y="1595"/>
                    </a:moveTo>
                    <a:cubicBezTo>
                      <a:pt x="13767" y="555"/>
                      <a:pt x="12665" y="-57"/>
                      <a:pt x="11503" y="4"/>
                    </a:cubicBezTo>
                    <a:cubicBezTo>
                      <a:pt x="10401" y="65"/>
                      <a:pt x="9422" y="677"/>
                      <a:pt x="8872" y="1595"/>
                    </a:cubicBezTo>
                    <a:lnTo>
                      <a:pt x="0" y="17625"/>
                    </a:lnTo>
                    <a:cubicBezTo>
                      <a:pt x="6363" y="19766"/>
                      <a:pt x="13155" y="20134"/>
                      <a:pt x="19640" y="18604"/>
                    </a:cubicBezTo>
                    <a:cubicBezTo>
                      <a:pt x="20803" y="18298"/>
                      <a:pt x="22026" y="17992"/>
                      <a:pt x="23189" y="17625"/>
                    </a:cubicBezTo>
                    <a:lnTo>
                      <a:pt x="14317" y="1595"/>
                    </a:lnTo>
                    <a:lnTo>
                      <a:pt x="14256" y="1595"/>
                    </a:lnTo>
                    <a:lnTo>
                      <a:pt x="14317" y="1595"/>
                    </a:lnTo>
                    <a:close/>
                  </a:path>
                </a:pathLst>
              </a:custGeom>
              <a:grpFill/>
              <a:ln w="0" cap="flat">
                <a:noFill/>
                <a:prstDash val="solid"/>
                <a:miter/>
              </a:ln>
            </p:spPr>
            <p:txBody>
              <a:bodyPr rtlCol="0" anchor="ctr"/>
              <a:lstStyle/>
              <a:p>
                <a:endParaRPr lang="en-US"/>
              </a:p>
            </p:txBody>
          </p:sp>
        </p:grpSp>
      </p:grpSp>
      <p:grpSp>
        <p:nvGrpSpPr>
          <p:cNvPr id="160" name="Group 159">
            <a:extLst>
              <a:ext uri="{FF2B5EF4-FFF2-40B4-BE49-F238E27FC236}">
                <a16:creationId xmlns:a16="http://schemas.microsoft.com/office/drawing/2014/main" id="{FFC4BA23-20EE-2D90-1EB8-C613B79D917F}"/>
              </a:ext>
            </a:extLst>
          </p:cNvPr>
          <p:cNvGrpSpPr/>
          <p:nvPr/>
        </p:nvGrpSpPr>
        <p:grpSpPr>
          <a:xfrm>
            <a:off x="6424307" y="5110870"/>
            <a:ext cx="1841199" cy="365760"/>
            <a:chOff x="6485038" y="5335347"/>
            <a:chExt cx="1841199" cy="365760"/>
          </a:xfrm>
          <a:solidFill>
            <a:schemeClr val="tx1"/>
          </a:solidFill>
        </p:grpSpPr>
        <p:grpSp>
          <p:nvGrpSpPr>
            <p:cNvPr id="161" name="Graphic 3">
              <a:extLst>
                <a:ext uri="{FF2B5EF4-FFF2-40B4-BE49-F238E27FC236}">
                  <a16:creationId xmlns:a16="http://schemas.microsoft.com/office/drawing/2014/main" id="{9B3BE454-6E9A-5154-CA52-70C848E0650E}"/>
                </a:ext>
              </a:extLst>
            </p:cNvPr>
            <p:cNvGrpSpPr>
              <a:grpSpLocks noChangeAspect="1"/>
            </p:cNvGrpSpPr>
            <p:nvPr/>
          </p:nvGrpSpPr>
          <p:grpSpPr>
            <a:xfrm>
              <a:off x="6485038" y="5335347"/>
              <a:ext cx="610959" cy="365760"/>
              <a:chOff x="5482225" y="4888484"/>
              <a:chExt cx="194354" cy="116353"/>
            </a:xfrm>
            <a:grpFill/>
          </p:grpSpPr>
          <p:sp>
            <p:nvSpPr>
              <p:cNvPr id="168" name="Freeform 167">
                <a:extLst>
                  <a:ext uri="{FF2B5EF4-FFF2-40B4-BE49-F238E27FC236}">
                    <a16:creationId xmlns:a16="http://schemas.microsoft.com/office/drawing/2014/main" id="{3586930C-F068-0C55-2AD6-BA45B0018D39}"/>
                  </a:ext>
                </a:extLst>
              </p:cNvPr>
              <p:cNvSpPr/>
              <p:nvPr/>
            </p:nvSpPr>
            <p:spPr>
              <a:xfrm>
                <a:off x="5482225" y="4964643"/>
                <a:ext cx="176522" cy="40194"/>
              </a:xfrm>
              <a:custGeom>
                <a:avLst/>
                <a:gdLst>
                  <a:gd name="connsiteX0" fmla="*/ 96158 w 176522"/>
                  <a:gd name="connsiteY0" fmla="*/ 40115 h 40194"/>
                  <a:gd name="connsiteX1" fmla="*/ 5972 w 176522"/>
                  <a:gd name="connsiteY1" fmla="*/ 7444 h 40194"/>
                  <a:gd name="connsiteX2" fmla="*/ 1260 w 176522"/>
                  <a:gd name="connsiteY2" fmla="*/ 3283 h 40194"/>
                  <a:gd name="connsiteX3" fmla="*/ 343 w 176522"/>
                  <a:gd name="connsiteY3" fmla="*/ 591 h 40194"/>
                  <a:gd name="connsiteX4" fmla="*/ 3218 w 176522"/>
                  <a:gd name="connsiteY4" fmla="*/ 714 h 40194"/>
                  <a:gd name="connsiteX5" fmla="*/ 41214 w 176522"/>
                  <a:gd name="connsiteY5" fmla="*/ 17539 h 40194"/>
                  <a:gd name="connsiteX6" fmla="*/ 72846 w 176522"/>
                  <a:gd name="connsiteY6" fmla="*/ 24636 h 40194"/>
                  <a:gd name="connsiteX7" fmla="*/ 101359 w 176522"/>
                  <a:gd name="connsiteY7" fmla="*/ 26472 h 40194"/>
                  <a:gd name="connsiteX8" fmla="*/ 170314 w 176522"/>
                  <a:gd name="connsiteY8" fmla="*/ 11910 h 40194"/>
                  <a:gd name="connsiteX9" fmla="*/ 172516 w 176522"/>
                  <a:gd name="connsiteY9" fmla="*/ 10992 h 40194"/>
                  <a:gd name="connsiteX10" fmla="*/ 174597 w 176522"/>
                  <a:gd name="connsiteY10" fmla="*/ 10870 h 40194"/>
                  <a:gd name="connsiteX11" fmla="*/ 176249 w 176522"/>
                  <a:gd name="connsiteY11" fmla="*/ 12094 h 40194"/>
                  <a:gd name="connsiteX12" fmla="*/ 176371 w 176522"/>
                  <a:gd name="connsiteY12" fmla="*/ 14174 h 40194"/>
                  <a:gd name="connsiteX13" fmla="*/ 175025 w 176522"/>
                  <a:gd name="connsiteY13" fmla="*/ 15765 h 40194"/>
                  <a:gd name="connsiteX14" fmla="*/ 159545 w 176522"/>
                  <a:gd name="connsiteY14" fmla="*/ 25309 h 40194"/>
                  <a:gd name="connsiteX15" fmla="*/ 117878 w 176522"/>
                  <a:gd name="connsiteY15" fmla="*/ 38586 h 40194"/>
                  <a:gd name="connsiteX16" fmla="*/ 96035 w 176522"/>
                  <a:gd name="connsiteY16" fmla="*/ 40177 h 40194"/>
                  <a:gd name="connsiteX17" fmla="*/ 96158 w 176522"/>
                  <a:gd name="connsiteY17" fmla="*/ 40177 h 40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6522" h="40194">
                    <a:moveTo>
                      <a:pt x="96158" y="40115"/>
                    </a:moveTo>
                    <a:cubicBezTo>
                      <a:pt x="63179" y="40299"/>
                      <a:pt x="31180" y="28674"/>
                      <a:pt x="5972" y="7444"/>
                    </a:cubicBezTo>
                    <a:cubicBezTo>
                      <a:pt x="4381" y="6098"/>
                      <a:pt x="2851" y="4691"/>
                      <a:pt x="1260" y="3283"/>
                    </a:cubicBezTo>
                    <a:cubicBezTo>
                      <a:pt x="404" y="2549"/>
                      <a:pt x="-514" y="1632"/>
                      <a:pt x="343" y="591"/>
                    </a:cubicBezTo>
                    <a:cubicBezTo>
                      <a:pt x="1199" y="-510"/>
                      <a:pt x="2300" y="163"/>
                      <a:pt x="3218" y="714"/>
                    </a:cubicBezTo>
                    <a:cubicBezTo>
                      <a:pt x="15210" y="7750"/>
                      <a:pt x="27998" y="13440"/>
                      <a:pt x="41214" y="17539"/>
                    </a:cubicBezTo>
                    <a:cubicBezTo>
                      <a:pt x="51554" y="20782"/>
                      <a:pt x="62139" y="23168"/>
                      <a:pt x="72846" y="24636"/>
                    </a:cubicBezTo>
                    <a:cubicBezTo>
                      <a:pt x="82269" y="25982"/>
                      <a:pt x="91814" y="26594"/>
                      <a:pt x="101359" y="26472"/>
                    </a:cubicBezTo>
                    <a:cubicBezTo>
                      <a:pt x="125037" y="25982"/>
                      <a:pt x="148471" y="21026"/>
                      <a:pt x="170314" y="11910"/>
                    </a:cubicBezTo>
                    <a:cubicBezTo>
                      <a:pt x="171048" y="11604"/>
                      <a:pt x="171782" y="11298"/>
                      <a:pt x="172516" y="10992"/>
                    </a:cubicBezTo>
                    <a:cubicBezTo>
                      <a:pt x="173128" y="10687"/>
                      <a:pt x="173862" y="10625"/>
                      <a:pt x="174597" y="10870"/>
                    </a:cubicBezTo>
                    <a:cubicBezTo>
                      <a:pt x="175331" y="11115"/>
                      <a:pt x="175820" y="11482"/>
                      <a:pt x="176249" y="12094"/>
                    </a:cubicBezTo>
                    <a:cubicBezTo>
                      <a:pt x="176555" y="12767"/>
                      <a:pt x="176616" y="13501"/>
                      <a:pt x="176371" y="14174"/>
                    </a:cubicBezTo>
                    <a:cubicBezTo>
                      <a:pt x="176187" y="14847"/>
                      <a:pt x="175698" y="15398"/>
                      <a:pt x="175025" y="15765"/>
                    </a:cubicBezTo>
                    <a:cubicBezTo>
                      <a:pt x="169885" y="19007"/>
                      <a:pt x="164929" y="22495"/>
                      <a:pt x="159545" y="25309"/>
                    </a:cubicBezTo>
                    <a:cubicBezTo>
                      <a:pt x="146513" y="31978"/>
                      <a:pt x="132440" y="36506"/>
                      <a:pt x="117878" y="38586"/>
                    </a:cubicBezTo>
                    <a:cubicBezTo>
                      <a:pt x="110659" y="39810"/>
                      <a:pt x="103378" y="40299"/>
                      <a:pt x="96035" y="40177"/>
                    </a:cubicBezTo>
                    <a:lnTo>
                      <a:pt x="96158" y="40177"/>
                    </a:lnTo>
                    <a:close/>
                  </a:path>
                </a:pathLst>
              </a:custGeom>
              <a:grpFill/>
              <a:ln w="0" cap="flat">
                <a:noFill/>
                <a:prstDash val="solid"/>
                <a:miter/>
              </a:ln>
            </p:spPr>
            <p:txBody>
              <a:bodyPr rtlCol="0" anchor="ctr"/>
              <a:lstStyle/>
              <a:p>
                <a:endParaRPr lang="en-US"/>
              </a:p>
            </p:txBody>
          </p:sp>
          <p:sp>
            <p:nvSpPr>
              <p:cNvPr id="169" name="Freeform 168">
                <a:extLst>
                  <a:ext uri="{FF2B5EF4-FFF2-40B4-BE49-F238E27FC236}">
                    <a16:creationId xmlns:a16="http://schemas.microsoft.com/office/drawing/2014/main" id="{F1907225-513E-690B-92F6-BCB824D523CA}"/>
                  </a:ext>
                </a:extLst>
              </p:cNvPr>
              <p:cNvSpPr/>
              <p:nvPr/>
            </p:nvSpPr>
            <p:spPr>
              <a:xfrm>
                <a:off x="5542786" y="4890286"/>
                <a:ext cx="78282" cy="57205"/>
              </a:xfrm>
              <a:custGeom>
                <a:avLst/>
                <a:gdLst>
                  <a:gd name="connsiteX0" fmla="*/ 55910 w 78282"/>
                  <a:gd name="connsiteY0" fmla="*/ 45704 h 57205"/>
                  <a:gd name="connsiteX1" fmla="*/ 58297 w 78282"/>
                  <a:gd name="connsiteY1" fmla="*/ 36771 h 57205"/>
                  <a:gd name="connsiteX2" fmla="*/ 66740 w 78282"/>
                  <a:gd name="connsiteY2" fmla="*/ 4100 h 57205"/>
                  <a:gd name="connsiteX3" fmla="*/ 72063 w 78282"/>
                  <a:gd name="connsiteY3" fmla="*/ 0 h 57205"/>
                  <a:gd name="connsiteX4" fmla="*/ 76407 w 78282"/>
                  <a:gd name="connsiteY4" fmla="*/ 0 h 57205"/>
                  <a:gd name="connsiteX5" fmla="*/ 78243 w 78282"/>
                  <a:gd name="connsiteY5" fmla="*/ 2142 h 57205"/>
                  <a:gd name="connsiteX6" fmla="*/ 77815 w 78282"/>
                  <a:gd name="connsiteY6" fmla="*/ 3855 h 57205"/>
                  <a:gd name="connsiteX7" fmla="*/ 62212 w 78282"/>
                  <a:gd name="connsiteY7" fmla="*/ 53719 h 57205"/>
                  <a:gd name="connsiteX8" fmla="*/ 57624 w 78282"/>
                  <a:gd name="connsiteY8" fmla="*/ 57145 h 57205"/>
                  <a:gd name="connsiteX9" fmla="*/ 53096 w 78282"/>
                  <a:gd name="connsiteY9" fmla="*/ 57145 h 57205"/>
                  <a:gd name="connsiteX10" fmla="*/ 48997 w 78282"/>
                  <a:gd name="connsiteY10" fmla="*/ 53841 h 57205"/>
                  <a:gd name="connsiteX11" fmla="*/ 40002 w 78282"/>
                  <a:gd name="connsiteY11" fmla="*/ 16825 h 57205"/>
                  <a:gd name="connsiteX12" fmla="*/ 38718 w 78282"/>
                  <a:gd name="connsiteY12" fmla="*/ 12849 h 57205"/>
                  <a:gd name="connsiteX13" fmla="*/ 34802 w 78282"/>
                  <a:gd name="connsiteY13" fmla="*/ 29123 h 57205"/>
                  <a:gd name="connsiteX14" fmla="*/ 28928 w 78282"/>
                  <a:gd name="connsiteY14" fmla="*/ 53657 h 57205"/>
                  <a:gd name="connsiteX15" fmla="*/ 24461 w 78282"/>
                  <a:gd name="connsiteY15" fmla="*/ 57206 h 57205"/>
                  <a:gd name="connsiteX16" fmla="*/ 20423 w 78282"/>
                  <a:gd name="connsiteY16" fmla="*/ 57206 h 57205"/>
                  <a:gd name="connsiteX17" fmla="*/ 15529 w 78282"/>
                  <a:gd name="connsiteY17" fmla="*/ 53535 h 57205"/>
                  <a:gd name="connsiteX18" fmla="*/ 2313 w 78282"/>
                  <a:gd name="connsiteY18" fmla="*/ 9973 h 57205"/>
                  <a:gd name="connsiteX19" fmla="*/ 232 w 78282"/>
                  <a:gd name="connsiteY19" fmla="*/ 2876 h 57205"/>
                  <a:gd name="connsiteX20" fmla="*/ 2435 w 78282"/>
                  <a:gd name="connsiteY20" fmla="*/ 0 h 57205"/>
                  <a:gd name="connsiteX21" fmla="*/ 7085 w 78282"/>
                  <a:gd name="connsiteY21" fmla="*/ 0 h 57205"/>
                  <a:gd name="connsiteX22" fmla="*/ 11796 w 78282"/>
                  <a:gd name="connsiteY22" fmla="*/ 3794 h 57205"/>
                  <a:gd name="connsiteX23" fmla="*/ 16691 w 78282"/>
                  <a:gd name="connsiteY23" fmla="*/ 23127 h 57205"/>
                  <a:gd name="connsiteX24" fmla="*/ 22626 w 78282"/>
                  <a:gd name="connsiteY24" fmla="*/ 45153 h 57205"/>
                  <a:gd name="connsiteX25" fmla="*/ 23115 w 78282"/>
                  <a:gd name="connsiteY25" fmla="*/ 43317 h 57205"/>
                  <a:gd name="connsiteX26" fmla="*/ 32477 w 78282"/>
                  <a:gd name="connsiteY26" fmla="*/ 3732 h 57205"/>
                  <a:gd name="connsiteX27" fmla="*/ 37066 w 78282"/>
                  <a:gd name="connsiteY27" fmla="*/ 61 h 57205"/>
                  <a:gd name="connsiteX28" fmla="*/ 41716 w 78282"/>
                  <a:gd name="connsiteY28" fmla="*/ 61 h 57205"/>
                  <a:gd name="connsiteX29" fmla="*/ 45325 w 78282"/>
                  <a:gd name="connsiteY29" fmla="*/ 2998 h 57205"/>
                  <a:gd name="connsiteX30" fmla="*/ 48874 w 78282"/>
                  <a:gd name="connsiteY30" fmla="*/ 17866 h 57205"/>
                  <a:gd name="connsiteX31" fmla="*/ 55421 w 78282"/>
                  <a:gd name="connsiteY31" fmla="*/ 45704 h 57205"/>
                  <a:gd name="connsiteX32" fmla="*/ 55788 w 78282"/>
                  <a:gd name="connsiteY32" fmla="*/ 45826 h 57205"/>
                  <a:gd name="connsiteX33" fmla="*/ 55910 w 78282"/>
                  <a:gd name="connsiteY33" fmla="*/ 45826 h 57205"/>
                  <a:gd name="connsiteX34" fmla="*/ 55910 w 78282"/>
                  <a:gd name="connsiteY34" fmla="*/ 45704 h 57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78282" h="57205">
                    <a:moveTo>
                      <a:pt x="55910" y="45704"/>
                    </a:moveTo>
                    <a:cubicBezTo>
                      <a:pt x="56706" y="42706"/>
                      <a:pt x="57501" y="39769"/>
                      <a:pt x="58297" y="36771"/>
                    </a:cubicBezTo>
                    <a:cubicBezTo>
                      <a:pt x="61111" y="25881"/>
                      <a:pt x="63926" y="14990"/>
                      <a:pt x="66740" y="4100"/>
                    </a:cubicBezTo>
                    <a:cubicBezTo>
                      <a:pt x="67719" y="428"/>
                      <a:pt x="68209" y="0"/>
                      <a:pt x="72063" y="0"/>
                    </a:cubicBezTo>
                    <a:lnTo>
                      <a:pt x="76407" y="0"/>
                    </a:lnTo>
                    <a:cubicBezTo>
                      <a:pt x="77998" y="0"/>
                      <a:pt x="78426" y="612"/>
                      <a:pt x="78243" y="2142"/>
                    </a:cubicBezTo>
                    <a:cubicBezTo>
                      <a:pt x="78182" y="2753"/>
                      <a:pt x="78059" y="3304"/>
                      <a:pt x="77815" y="3855"/>
                    </a:cubicBezTo>
                    <a:cubicBezTo>
                      <a:pt x="72614" y="20435"/>
                      <a:pt x="67413" y="37077"/>
                      <a:pt x="62212" y="53719"/>
                    </a:cubicBezTo>
                    <a:cubicBezTo>
                      <a:pt x="61295" y="56655"/>
                      <a:pt x="60683" y="57145"/>
                      <a:pt x="57624" y="57145"/>
                    </a:cubicBezTo>
                    <a:lnTo>
                      <a:pt x="53096" y="57145"/>
                    </a:lnTo>
                    <a:cubicBezTo>
                      <a:pt x="50343" y="57145"/>
                      <a:pt x="49670" y="56533"/>
                      <a:pt x="48997" y="53841"/>
                    </a:cubicBezTo>
                    <a:cubicBezTo>
                      <a:pt x="45937" y="41482"/>
                      <a:pt x="43000" y="29184"/>
                      <a:pt x="40002" y="16825"/>
                    </a:cubicBezTo>
                    <a:cubicBezTo>
                      <a:pt x="39696" y="15479"/>
                      <a:pt x="39268" y="14133"/>
                      <a:pt x="38718" y="12849"/>
                    </a:cubicBezTo>
                    <a:cubicBezTo>
                      <a:pt x="37433" y="18294"/>
                      <a:pt x="36087" y="23678"/>
                      <a:pt x="34802" y="29123"/>
                    </a:cubicBezTo>
                    <a:cubicBezTo>
                      <a:pt x="32844" y="37322"/>
                      <a:pt x="30886" y="45459"/>
                      <a:pt x="28928" y="53657"/>
                    </a:cubicBezTo>
                    <a:cubicBezTo>
                      <a:pt x="28255" y="56594"/>
                      <a:pt x="27521" y="57145"/>
                      <a:pt x="24461" y="57206"/>
                    </a:cubicBezTo>
                    <a:lnTo>
                      <a:pt x="20423" y="57206"/>
                    </a:lnTo>
                    <a:cubicBezTo>
                      <a:pt x="17058" y="57206"/>
                      <a:pt x="16507" y="56778"/>
                      <a:pt x="15529" y="53535"/>
                    </a:cubicBezTo>
                    <a:cubicBezTo>
                      <a:pt x="11123" y="39035"/>
                      <a:pt x="6718" y="24473"/>
                      <a:pt x="2313" y="9973"/>
                    </a:cubicBezTo>
                    <a:cubicBezTo>
                      <a:pt x="1578" y="7587"/>
                      <a:pt x="844" y="5262"/>
                      <a:pt x="232" y="2876"/>
                    </a:cubicBezTo>
                    <a:cubicBezTo>
                      <a:pt x="-380" y="673"/>
                      <a:pt x="171" y="0"/>
                      <a:pt x="2435" y="0"/>
                    </a:cubicBezTo>
                    <a:lnTo>
                      <a:pt x="7085" y="0"/>
                    </a:lnTo>
                    <a:cubicBezTo>
                      <a:pt x="10328" y="0"/>
                      <a:pt x="11001" y="551"/>
                      <a:pt x="11796" y="3794"/>
                    </a:cubicBezTo>
                    <a:cubicBezTo>
                      <a:pt x="13448" y="10218"/>
                      <a:pt x="15039" y="16703"/>
                      <a:pt x="16691" y="23127"/>
                    </a:cubicBezTo>
                    <a:cubicBezTo>
                      <a:pt x="18588" y="30408"/>
                      <a:pt x="20423" y="37750"/>
                      <a:pt x="22626" y="45153"/>
                    </a:cubicBezTo>
                    <a:cubicBezTo>
                      <a:pt x="22809" y="44541"/>
                      <a:pt x="22993" y="43929"/>
                      <a:pt x="23115" y="43317"/>
                    </a:cubicBezTo>
                    <a:cubicBezTo>
                      <a:pt x="26236" y="30102"/>
                      <a:pt x="29356" y="16948"/>
                      <a:pt x="32477" y="3732"/>
                    </a:cubicBezTo>
                    <a:cubicBezTo>
                      <a:pt x="33272" y="551"/>
                      <a:pt x="33823" y="61"/>
                      <a:pt x="37066" y="61"/>
                    </a:cubicBezTo>
                    <a:lnTo>
                      <a:pt x="41716" y="61"/>
                    </a:lnTo>
                    <a:cubicBezTo>
                      <a:pt x="44041" y="184"/>
                      <a:pt x="44775" y="673"/>
                      <a:pt x="45325" y="2998"/>
                    </a:cubicBezTo>
                    <a:cubicBezTo>
                      <a:pt x="46549" y="7954"/>
                      <a:pt x="47712" y="12910"/>
                      <a:pt x="48874" y="17866"/>
                    </a:cubicBezTo>
                    <a:cubicBezTo>
                      <a:pt x="51077" y="27104"/>
                      <a:pt x="53279" y="36404"/>
                      <a:pt x="55421" y="45704"/>
                    </a:cubicBezTo>
                    <a:lnTo>
                      <a:pt x="55788" y="45826"/>
                    </a:lnTo>
                    <a:lnTo>
                      <a:pt x="55910" y="45826"/>
                    </a:lnTo>
                    <a:lnTo>
                      <a:pt x="55910" y="45704"/>
                    </a:lnTo>
                    <a:close/>
                  </a:path>
                </a:pathLst>
              </a:custGeom>
              <a:grpFill/>
              <a:ln w="0" cap="flat">
                <a:noFill/>
                <a:prstDash val="solid"/>
                <a:miter/>
              </a:ln>
            </p:spPr>
            <p:txBody>
              <a:bodyPr rtlCol="0" anchor="ctr"/>
              <a:lstStyle/>
              <a:p>
                <a:endParaRPr lang="en-US"/>
              </a:p>
            </p:txBody>
          </p:sp>
          <p:sp>
            <p:nvSpPr>
              <p:cNvPr id="170" name="Freeform 169">
                <a:extLst>
                  <a:ext uri="{FF2B5EF4-FFF2-40B4-BE49-F238E27FC236}">
                    <a16:creationId xmlns:a16="http://schemas.microsoft.com/office/drawing/2014/main" id="{A371C948-29B2-B8C7-8955-2973F16833A0}"/>
                  </a:ext>
                </a:extLst>
              </p:cNvPr>
              <p:cNvSpPr/>
              <p:nvPr/>
            </p:nvSpPr>
            <p:spPr>
              <a:xfrm>
                <a:off x="5489734" y="4888709"/>
                <a:ext cx="49966" cy="60229"/>
              </a:xfrm>
              <a:custGeom>
                <a:avLst/>
                <a:gdLst>
                  <a:gd name="connsiteX0" fmla="*/ 36765 w 49966"/>
                  <a:gd name="connsiteY0" fmla="*/ 51196 h 60229"/>
                  <a:gd name="connsiteX1" fmla="*/ 34073 w 49966"/>
                  <a:gd name="connsiteY1" fmla="*/ 54010 h 60229"/>
                  <a:gd name="connsiteX2" fmla="*/ 24100 w 49966"/>
                  <a:gd name="connsiteY2" fmla="*/ 59455 h 60229"/>
                  <a:gd name="connsiteX3" fmla="*/ 12780 w 49966"/>
                  <a:gd name="connsiteY3" fmla="*/ 59578 h 60229"/>
                  <a:gd name="connsiteX4" fmla="*/ 7090 w 49966"/>
                  <a:gd name="connsiteY4" fmla="*/ 57253 h 60229"/>
                  <a:gd name="connsiteX5" fmla="*/ 2685 w 49966"/>
                  <a:gd name="connsiteY5" fmla="*/ 52909 h 60229"/>
                  <a:gd name="connsiteX6" fmla="*/ 299 w 49966"/>
                  <a:gd name="connsiteY6" fmla="*/ 47219 h 60229"/>
                  <a:gd name="connsiteX7" fmla="*/ 299 w 49966"/>
                  <a:gd name="connsiteY7" fmla="*/ 41039 h 60229"/>
                  <a:gd name="connsiteX8" fmla="*/ 5683 w 49966"/>
                  <a:gd name="connsiteY8" fmla="*/ 30271 h 60229"/>
                  <a:gd name="connsiteX9" fmla="*/ 16757 w 49966"/>
                  <a:gd name="connsiteY9" fmla="*/ 25376 h 60229"/>
                  <a:gd name="connsiteX10" fmla="*/ 34134 w 49966"/>
                  <a:gd name="connsiteY10" fmla="*/ 26478 h 60229"/>
                  <a:gd name="connsiteX11" fmla="*/ 36092 w 49966"/>
                  <a:gd name="connsiteY11" fmla="*/ 26845 h 60229"/>
                  <a:gd name="connsiteX12" fmla="*/ 34256 w 49966"/>
                  <a:gd name="connsiteY12" fmla="*/ 13385 h 60229"/>
                  <a:gd name="connsiteX13" fmla="*/ 30463 w 49966"/>
                  <a:gd name="connsiteY13" fmla="*/ 9959 h 60229"/>
                  <a:gd name="connsiteX14" fmla="*/ 25507 w 49966"/>
                  <a:gd name="connsiteY14" fmla="*/ 8857 h 60229"/>
                  <a:gd name="connsiteX15" fmla="*/ 8253 w 49966"/>
                  <a:gd name="connsiteY15" fmla="*/ 11916 h 60229"/>
                  <a:gd name="connsiteX16" fmla="*/ 3909 w 49966"/>
                  <a:gd name="connsiteY16" fmla="*/ 9041 h 60229"/>
                  <a:gd name="connsiteX17" fmla="*/ 4704 w 49966"/>
                  <a:gd name="connsiteY17" fmla="*/ 5553 h 60229"/>
                  <a:gd name="connsiteX18" fmla="*/ 7580 w 49966"/>
                  <a:gd name="connsiteY18" fmla="*/ 3473 h 60229"/>
                  <a:gd name="connsiteX19" fmla="*/ 31381 w 49966"/>
                  <a:gd name="connsiteY19" fmla="*/ 536 h 60229"/>
                  <a:gd name="connsiteX20" fmla="*/ 42088 w 49966"/>
                  <a:gd name="connsiteY20" fmla="*/ 5982 h 60229"/>
                  <a:gd name="connsiteX21" fmla="*/ 46432 w 49966"/>
                  <a:gd name="connsiteY21" fmla="*/ 17178 h 60229"/>
                  <a:gd name="connsiteX22" fmla="*/ 46677 w 49966"/>
                  <a:gd name="connsiteY22" fmla="*/ 40550 h 60229"/>
                  <a:gd name="connsiteX23" fmla="*/ 49430 w 49966"/>
                  <a:gd name="connsiteY23" fmla="*/ 52297 h 60229"/>
                  <a:gd name="connsiteX24" fmla="*/ 48573 w 49966"/>
                  <a:gd name="connsiteY24" fmla="*/ 55846 h 60229"/>
                  <a:gd name="connsiteX25" fmla="*/ 44719 w 49966"/>
                  <a:gd name="connsiteY25" fmla="*/ 58415 h 60229"/>
                  <a:gd name="connsiteX26" fmla="*/ 43801 w 49966"/>
                  <a:gd name="connsiteY26" fmla="*/ 58905 h 60229"/>
                  <a:gd name="connsiteX27" fmla="*/ 42761 w 49966"/>
                  <a:gd name="connsiteY27" fmla="*/ 58966 h 60229"/>
                  <a:gd name="connsiteX28" fmla="*/ 41782 w 49966"/>
                  <a:gd name="connsiteY28" fmla="*/ 58599 h 60229"/>
                  <a:gd name="connsiteX29" fmla="*/ 40987 w 49966"/>
                  <a:gd name="connsiteY29" fmla="*/ 57926 h 60229"/>
                  <a:gd name="connsiteX30" fmla="*/ 37805 w 49966"/>
                  <a:gd name="connsiteY30" fmla="*/ 53276 h 60229"/>
                  <a:gd name="connsiteX31" fmla="*/ 36642 w 49966"/>
                  <a:gd name="connsiteY31" fmla="*/ 51318 h 60229"/>
                  <a:gd name="connsiteX32" fmla="*/ 36765 w 49966"/>
                  <a:gd name="connsiteY32" fmla="*/ 51196 h 60229"/>
                  <a:gd name="connsiteX33" fmla="*/ 36765 w 49966"/>
                  <a:gd name="connsiteY33" fmla="*/ 51196 h 60229"/>
                  <a:gd name="connsiteX34" fmla="*/ 24956 w 49966"/>
                  <a:gd name="connsiteY34" fmla="*/ 32290 h 60229"/>
                  <a:gd name="connsiteX35" fmla="*/ 24956 w 49966"/>
                  <a:gd name="connsiteY35" fmla="*/ 32413 h 60229"/>
                  <a:gd name="connsiteX36" fmla="*/ 20734 w 49966"/>
                  <a:gd name="connsiteY36" fmla="*/ 32718 h 60229"/>
                  <a:gd name="connsiteX37" fmla="*/ 16329 w 49966"/>
                  <a:gd name="connsiteY37" fmla="*/ 33881 h 60229"/>
                  <a:gd name="connsiteX38" fmla="*/ 12903 w 49966"/>
                  <a:gd name="connsiteY38" fmla="*/ 36940 h 60229"/>
                  <a:gd name="connsiteX39" fmla="*/ 11251 w 49966"/>
                  <a:gd name="connsiteY39" fmla="*/ 41223 h 60229"/>
                  <a:gd name="connsiteX40" fmla="*/ 11679 w 49966"/>
                  <a:gd name="connsiteY40" fmla="*/ 45812 h 60229"/>
                  <a:gd name="connsiteX41" fmla="*/ 13637 w 49966"/>
                  <a:gd name="connsiteY41" fmla="*/ 49544 h 60229"/>
                  <a:gd name="connsiteX42" fmla="*/ 17369 w 49966"/>
                  <a:gd name="connsiteY42" fmla="*/ 51440 h 60229"/>
                  <a:gd name="connsiteX43" fmla="*/ 24773 w 49966"/>
                  <a:gd name="connsiteY43" fmla="*/ 51440 h 60229"/>
                  <a:gd name="connsiteX44" fmla="*/ 31503 w 49966"/>
                  <a:gd name="connsiteY44" fmla="*/ 48259 h 60229"/>
                  <a:gd name="connsiteX45" fmla="*/ 34501 w 49966"/>
                  <a:gd name="connsiteY45" fmla="*/ 44894 h 60229"/>
                  <a:gd name="connsiteX46" fmla="*/ 35847 w 49966"/>
                  <a:gd name="connsiteY46" fmla="*/ 40611 h 60229"/>
                  <a:gd name="connsiteX47" fmla="*/ 36214 w 49966"/>
                  <a:gd name="connsiteY47" fmla="*/ 35472 h 60229"/>
                  <a:gd name="connsiteX48" fmla="*/ 34746 w 49966"/>
                  <a:gd name="connsiteY48" fmla="*/ 33697 h 60229"/>
                  <a:gd name="connsiteX49" fmla="*/ 24895 w 49966"/>
                  <a:gd name="connsiteY49" fmla="*/ 32351 h 60229"/>
                  <a:gd name="connsiteX50" fmla="*/ 24895 w 49966"/>
                  <a:gd name="connsiteY50" fmla="*/ 32351 h 60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9966" h="60229">
                    <a:moveTo>
                      <a:pt x="36765" y="51196"/>
                    </a:moveTo>
                    <a:cubicBezTo>
                      <a:pt x="35786" y="52236"/>
                      <a:pt x="34990" y="53154"/>
                      <a:pt x="34073" y="54010"/>
                    </a:cubicBezTo>
                    <a:cubicBezTo>
                      <a:pt x="31258" y="56641"/>
                      <a:pt x="27832" y="58476"/>
                      <a:pt x="24100" y="59455"/>
                    </a:cubicBezTo>
                    <a:cubicBezTo>
                      <a:pt x="20367" y="60434"/>
                      <a:pt x="16513" y="60495"/>
                      <a:pt x="12780" y="59578"/>
                    </a:cubicBezTo>
                    <a:cubicBezTo>
                      <a:pt x="10700" y="59211"/>
                      <a:pt x="8803" y="58415"/>
                      <a:pt x="7090" y="57253"/>
                    </a:cubicBezTo>
                    <a:cubicBezTo>
                      <a:pt x="5377" y="56090"/>
                      <a:pt x="3847" y="54622"/>
                      <a:pt x="2685" y="52909"/>
                    </a:cubicBezTo>
                    <a:cubicBezTo>
                      <a:pt x="1522" y="51196"/>
                      <a:pt x="727" y="49238"/>
                      <a:pt x="299" y="47219"/>
                    </a:cubicBezTo>
                    <a:cubicBezTo>
                      <a:pt x="-130" y="45139"/>
                      <a:pt x="-68" y="43058"/>
                      <a:pt x="299" y="41039"/>
                    </a:cubicBezTo>
                    <a:cubicBezTo>
                      <a:pt x="788" y="36940"/>
                      <a:pt x="2685" y="33086"/>
                      <a:pt x="5683" y="30271"/>
                    </a:cubicBezTo>
                    <a:cubicBezTo>
                      <a:pt x="8681" y="27396"/>
                      <a:pt x="12597" y="25682"/>
                      <a:pt x="16757" y="25376"/>
                    </a:cubicBezTo>
                    <a:cubicBezTo>
                      <a:pt x="22570" y="24765"/>
                      <a:pt x="28444" y="25132"/>
                      <a:pt x="34134" y="26478"/>
                    </a:cubicBezTo>
                    <a:lnTo>
                      <a:pt x="36092" y="26845"/>
                    </a:lnTo>
                    <a:cubicBezTo>
                      <a:pt x="36704" y="22256"/>
                      <a:pt x="36092" y="17667"/>
                      <a:pt x="34256" y="13385"/>
                    </a:cubicBezTo>
                    <a:cubicBezTo>
                      <a:pt x="33277" y="11977"/>
                      <a:pt x="31992" y="10754"/>
                      <a:pt x="30463" y="9959"/>
                    </a:cubicBezTo>
                    <a:cubicBezTo>
                      <a:pt x="28933" y="9163"/>
                      <a:pt x="27220" y="8796"/>
                      <a:pt x="25507" y="8857"/>
                    </a:cubicBezTo>
                    <a:cubicBezTo>
                      <a:pt x="19572" y="8429"/>
                      <a:pt x="13698" y="9469"/>
                      <a:pt x="8253" y="11916"/>
                    </a:cubicBezTo>
                    <a:cubicBezTo>
                      <a:pt x="4337" y="13507"/>
                      <a:pt x="4153" y="13201"/>
                      <a:pt x="3909" y="9041"/>
                    </a:cubicBezTo>
                    <a:cubicBezTo>
                      <a:pt x="3725" y="7817"/>
                      <a:pt x="4031" y="6593"/>
                      <a:pt x="4704" y="5553"/>
                    </a:cubicBezTo>
                    <a:cubicBezTo>
                      <a:pt x="5377" y="4513"/>
                      <a:pt x="6417" y="3779"/>
                      <a:pt x="7580" y="3473"/>
                    </a:cubicBezTo>
                    <a:cubicBezTo>
                      <a:pt x="15044" y="292"/>
                      <a:pt x="23304" y="-748"/>
                      <a:pt x="31381" y="536"/>
                    </a:cubicBezTo>
                    <a:cubicBezTo>
                      <a:pt x="35480" y="965"/>
                      <a:pt x="39335" y="2861"/>
                      <a:pt x="42088" y="5982"/>
                    </a:cubicBezTo>
                    <a:cubicBezTo>
                      <a:pt x="44902" y="9041"/>
                      <a:pt x="46432" y="13079"/>
                      <a:pt x="46432" y="17178"/>
                    </a:cubicBezTo>
                    <a:cubicBezTo>
                      <a:pt x="46799" y="24948"/>
                      <a:pt x="46738" y="32718"/>
                      <a:pt x="46677" y="40550"/>
                    </a:cubicBezTo>
                    <a:cubicBezTo>
                      <a:pt x="46493" y="44649"/>
                      <a:pt x="47472" y="48687"/>
                      <a:pt x="49430" y="52297"/>
                    </a:cubicBezTo>
                    <a:cubicBezTo>
                      <a:pt x="50348" y="53949"/>
                      <a:pt x="50103" y="54744"/>
                      <a:pt x="48573" y="55846"/>
                    </a:cubicBezTo>
                    <a:cubicBezTo>
                      <a:pt x="47289" y="56763"/>
                      <a:pt x="46004" y="57559"/>
                      <a:pt x="44719" y="58415"/>
                    </a:cubicBezTo>
                    <a:cubicBezTo>
                      <a:pt x="44413" y="58599"/>
                      <a:pt x="44107" y="58782"/>
                      <a:pt x="43801" y="58905"/>
                    </a:cubicBezTo>
                    <a:cubicBezTo>
                      <a:pt x="43434" y="59027"/>
                      <a:pt x="43128" y="59027"/>
                      <a:pt x="42761" y="58966"/>
                    </a:cubicBezTo>
                    <a:cubicBezTo>
                      <a:pt x="42394" y="58905"/>
                      <a:pt x="42088" y="58782"/>
                      <a:pt x="41782" y="58599"/>
                    </a:cubicBezTo>
                    <a:cubicBezTo>
                      <a:pt x="41476" y="58415"/>
                      <a:pt x="41231" y="58170"/>
                      <a:pt x="40987" y="57926"/>
                    </a:cubicBezTo>
                    <a:cubicBezTo>
                      <a:pt x="39824" y="56457"/>
                      <a:pt x="38845" y="54867"/>
                      <a:pt x="37805" y="53276"/>
                    </a:cubicBezTo>
                    <a:cubicBezTo>
                      <a:pt x="37438" y="52725"/>
                      <a:pt x="37132" y="52113"/>
                      <a:pt x="36642" y="51318"/>
                    </a:cubicBezTo>
                    <a:lnTo>
                      <a:pt x="36765" y="51196"/>
                    </a:lnTo>
                    <a:lnTo>
                      <a:pt x="36765" y="51196"/>
                    </a:lnTo>
                    <a:close/>
                    <a:moveTo>
                      <a:pt x="24956" y="32290"/>
                    </a:moveTo>
                    <a:lnTo>
                      <a:pt x="24956" y="32413"/>
                    </a:lnTo>
                    <a:cubicBezTo>
                      <a:pt x="23549" y="32535"/>
                      <a:pt x="22142" y="32535"/>
                      <a:pt x="20734" y="32718"/>
                    </a:cubicBezTo>
                    <a:cubicBezTo>
                      <a:pt x="19205" y="32718"/>
                      <a:pt x="17675" y="33147"/>
                      <a:pt x="16329" y="33881"/>
                    </a:cubicBezTo>
                    <a:cubicBezTo>
                      <a:pt x="14983" y="34615"/>
                      <a:pt x="13759" y="35655"/>
                      <a:pt x="12903" y="36940"/>
                    </a:cubicBezTo>
                    <a:cubicBezTo>
                      <a:pt x="12046" y="38225"/>
                      <a:pt x="11434" y="39693"/>
                      <a:pt x="11251" y="41223"/>
                    </a:cubicBezTo>
                    <a:cubicBezTo>
                      <a:pt x="11067" y="42753"/>
                      <a:pt x="11251" y="44343"/>
                      <a:pt x="11679" y="45812"/>
                    </a:cubicBezTo>
                    <a:cubicBezTo>
                      <a:pt x="11985" y="47219"/>
                      <a:pt x="12658" y="48504"/>
                      <a:pt x="13637" y="49544"/>
                    </a:cubicBezTo>
                    <a:cubicBezTo>
                      <a:pt x="14616" y="50584"/>
                      <a:pt x="15962" y="51196"/>
                      <a:pt x="17369" y="51440"/>
                    </a:cubicBezTo>
                    <a:cubicBezTo>
                      <a:pt x="19817" y="51991"/>
                      <a:pt x="22325" y="51991"/>
                      <a:pt x="24773" y="51440"/>
                    </a:cubicBezTo>
                    <a:cubicBezTo>
                      <a:pt x="27220" y="50890"/>
                      <a:pt x="29484" y="49788"/>
                      <a:pt x="31503" y="48259"/>
                    </a:cubicBezTo>
                    <a:cubicBezTo>
                      <a:pt x="32727" y="47341"/>
                      <a:pt x="33706" y="46240"/>
                      <a:pt x="34501" y="44894"/>
                    </a:cubicBezTo>
                    <a:cubicBezTo>
                      <a:pt x="35296" y="43548"/>
                      <a:pt x="35725" y="42140"/>
                      <a:pt x="35847" y="40611"/>
                    </a:cubicBezTo>
                    <a:cubicBezTo>
                      <a:pt x="36031" y="38898"/>
                      <a:pt x="36031" y="37185"/>
                      <a:pt x="36214" y="35472"/>
                    </a:cubicBezTo>
                    <a:cubicBezTo>
                      <a:pt x="36337" y="34309"/>
                      <a:pt x="35847" y="33820"/>
                      <a:pt x="34746" y="33697"/>
                    </a:cubicBezTo>
                    <a:cubicBezTo>
                      <a:pt x="31503" y="33269"/>
                      <a:pt x="28138" y="32780"/>
                      <a:pt x="24895" y="32351"/>
                    </a:cubicBezTo>
                    <a:lnTo>
                      <a:pt x="24895" y="32351"/>
                    </a:lnTo>
                    <a:close/>
                  </a:path>
                </a:pathLst>
              </a:custGeom>
              <a:grpFill/>
              <a:ln w="0" cap="flat">
                <a:noFill/>
                <a:prstDash val="solid"/>
                <a:miter/>
              </a:ln>
            </p:spPr>
            <p:txBody>
              <a:bodyPr rtlCol="0" anchor="ctr"/>
              <a:lstStyle/>
              <a:p>
                <a:endParaRPr lang="en-US"/>
              </a:p>
            </p:txBody>
          </p:sp>
          <p:sp>
            <p:nvSpPr>
              <p:cNvPr id="171" name="Freeform 170">
                <a:extLst>
                  <a:ext uri="{FF2B5EF4-FFF2-40B4-BE49-F238E27FC236}">
                    <a16:creationId xmlns:a16="http://schemas.microsoft.com/office/drawing/2014/main" id="{25CC76FA-2EA7-B2B4-79A4-4C99D7E9D890}"/>
                  </a:ext>
                </a:extLst>
              </p:cNvPr>
              <p:cNvSpPr/>
              <p:nvPr/>
            </p:nvSpPr>
            <p:spPr>
              <a:xfrm>
                <a:off x="5625251" y="4888484"/>
                <a:ext cx="43089" cy="60676"/>
              </a:xfrm>
              <a:custGeom>
                <a:avLst/>
                <a:gdLst>
                  <a:gd name="connsiteX0" fmla="*/ 19946 w 43089"/>
                  <a:gd name="connsiteY0" fmla="*/ 60598 h 60676"/>
                  <a:gd name="connsiteX1" fmla="*/ 4222 w 43089"/>
                  <a:gd name="connsiteY1" fmla="*/ 57539 h 60676"/>
                  <a:gd name="connsiteX2" fmla="*/ 2019 w 43089"/>
                  <a:gd name="connsiteY2" fmla="*/ 56193 h 60676"/>
                  <a:gd name="connsiteX3" fmla="*/ 551 w 43089"/>
                  <a:gd name="connsiteY3" fmla="*/ 54113 h 60676"/>
                  <a:gd name="connsiteX4" fmla="*/ 0 w 43089"/>
                  <a:gd name="connsiteY4" fmla="*/ 51604 h 60676"/>
                  <a:gd name="connsiteX5" fmla="*/ 489 w 43089"/>
                  <a:gd name="connsiteY5" fmla="*/ 49096 h 60676"/>
                  <a:gd name="connsiteX6" fmla="*/ 795 w 43089"/>
                  <a:gd name="connsiteY6" fmla="*/ 48545 h 60676"/>
                  <a:gd name="connsiteX7" fmla="*/ 1346 w 43089"/>
                  <a:gd name="connsiteY7" fmla="*/ 48178 h 60676"/>
                  <a:gd name="connsiteX8" fmla="*/ 1958 w 43089"/>
                  <a:gd name="connsiteY8" fmla="*/ 48055 h 60676"/>
                  <a:gd name="connsiteX9" fmla="*/ 2570 w 43089"/>
                  <a:gd name="connsiteY9" fmla="*/ 48178 h 60676"/>
                  <a:gd name="connsiteX10" fmla="*/ 5874 w 43089"/>
                  <a:gd name="connsiteY10" fmla="*/ 49463 h 60676"/>
                  <a:gd name="connsiteX11" fmla="*/ 25453 w 43089"/>
                  <a:gd name="connsiteY11" fmla="*/ 51298 h 60676"/>
                  <a:gd name="connsiteX12" fmla="*/ 29613 w 43089"/>
                  <a:gd name="connsiteY12" fmla="*/ 49463 h 60676"/>
                  <a:gd name="connsiteX13" fmla="*/ 32061 w 43089"/>
                  <a:gd name="connsiteY13" fmla="*/ 45608 h 60676"/>
                  <a:gd name="connsiteX14" fmla="*/ 31938 w 43089"/>
                  <a:gd name="connsiteY14" fmla="*/ 41325 h 60676"/>
                  <a:gd name="connsiteX15" fmla="*/ 29124 w 43089"/>
                  <a:gd name="connsiteY15" fmla="*/ 38083 h 60676"/>
                  <a:gd name="connsiteX16" fmla="*/ 23128 w 43089"/>
                  <a:gd name="connsiteY16" fmla="*/ 35452 h 60676"/>
                  <a:gd name="connsiteX17" fmla="*/ 13032 w 43089"/>
                  <a:gd name="connsiteY17" fmla="*/ 32209 h 60676"/>
                  <a:gd name="connsiteX18" fmla="*/ 4161 w 43089"/>
                  <a:gd name="connsiteY18" fmla="*/ 26091 h 60676"/>
                  <a:gd name="connsiteX19" fmla="*/ 1530 w 43089"/>
                  <a:gd name="connsiteY19" fmla="*/ 20585 h 60676"/>
                  <a:gd name="connsiteX20" fmla="*/ 1285 w 43089"/>
                  <a:gd name="connsiteY20" fmla="*/ 14466 h 60676"/>
                  <a:gd name="connsiteX21" fmla="*/ 3488 w 43089"/>
                  <a:gd name="connsiteY21" fmla="*/ 8776 h 60676"/>
                  <a:gd name="connsiteX22" fmla="*/ 7770 w 43089"/>
                  <a:gd name="connsiteY22" fmla="*/ 4371 h 60676"/>
                  <a:gd name="connsiteX23" fmla="*/ 24780 w 43089"/>
                  <a:gd name="connsiteY23" fmla="*/ 211 h 60676"/>
                  <a:gd name="connsiteX24" fmla="*/ 36221 w 43089"/>
                  <a:gd name="connsiteY24" fmla="*/ 2781 h 60676"/>
                  <a:gd name="connsiteX25" fmla="*/ 38363 w 43089"/>
                  <a:gd name="connsiteY25" fmla="*/ 4065 h 60676"/>
                  <a:gd name="connsiteX26" fmla="*/ 39770 w 43089"/>
                  <a:gd name="connsiteY26" fmla="*/ 6145 h 60676"/>
                  <a:gd name="connsiteX27" fmla="*/ 40198 w 43089"/>
                  <a:gd name="connsiteY27" fmla="*/ 8593 h 60676"/>
                  <a:gd name="connsiteX28" fmla="*/ 39648 w 43089"/>
                  <a:gd name="connsiteY28" fmla="*/ 10979 h 60676"/>
                  <a:gd name="connsiteX29" fmla="*/ 37200 w 43089"/>
                  <a:gd name="connsiteY29" fmla="*/ 11652 h 60676"/>
                  <a:gd name="connsiteX30" fmla="*/ 29430 w 43089"/>
                  <a:gd name="connsiteY30" fmla="*/ 9205 h 60676"/>
                  <a:gd name="connsiteX31" fmla="*/ 17438 w 43089"/>
                  <a:gd name="connsiteY31" fmla="*/ 9327 h 60676"/>
                  <a:gd name="connsiteX32" fmla="*/ 13216 w 43089"/>
                  <a:gd name="connsiteY32" fmla="*/ 11774 h 60676"/>
                  <a:gd name="connsiteX33" fmla="*/ 11809 w 43089"/>
                  <a:gd name="connsiteY33" fmla="*/ 16424 h 60676"/>
                  <a:gd name="connsiteX34" fmla="*/ 12665 w 43089"/>
                  <a:gd name="connsiteY34" fmla="*/ 19545 h 60676"/>
                  <a:gd name="connsiteX35" fmla="*/ 14990 w 43089"/>
                  <a:gd name="connsiteY35" fmla="*/ 21747 h 60676"/>
                  <a:gd name="connsiteX36" fmla="*/ 21292 w 43089"/>
                  <a:gd name="connsiteY36" fmla="*/ 24500 h 60676"/>
                  <a:gd name="connsiteX37" fmla="*/ 32734 w 43089"/>
                  <a:gd name="connsiteY37" fmla="*/ 28355 h 60676"/>
                  <a:gd name="connsiteX38" fmla="*/ 39892 w 43089"/>
                  <a:gd name="connsiteY38" fmla="*/ 33249 h 60676"/>
                  <a:gd name="connsiteX39" fmla="*/ 43013 w 43089"/>
                  <a:gd name="connsiteY39" fmla="*/ 41387 h 60676"/>
                  <a:gd name="connsiteX40" fmla="*/ 41300 w 43089"/>
                  <a:gd name="connsiteY40" fmla="*/ 50380 h 60676"/>
                  <a:gd name="connsiteX41" fmla="*/ 34936 w 43089"/>
                  <a:gd name="connsiteY41" fmla="*/ 56988 h 60676"/>
                  <a:gd name="connsiteX42" fmla="*/ 20130 w 43089"/>
                  <a:gd name="connsiteY42" fmla="*/ 60659 h 60676"/>
                  <a:gd name="connsiteX43" fmla="*/ 19946 w 43089"/>
                  <a:gd name="connsiteY43" fmla="*/ 60659 h 60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3089" h="60676">
                    <a:moveTo>
                      <a:pt x="19946" y="60598"/>
                    </a:moveTo>
                    <a:cubicBezTo>
                      <a:pt x="14562" y="60598"/>
                      <a:pt x="9239" y="59497"/>
                      <a:pt x="4222" y="57539"/>
                    </a:cubicBezTo>
                    <a:cubicBezTo>
                      <a:pt x="3426" y="57233"/>
                      <a:pt x="2631" y="56744"/>
                      <a:pt x="2019" y="56193"/>
                    </a:cubicBezTo>
                    <a:cubicBezTo>
                      <a:pt x="1407" y="55642"/>
                      <a:pt x="918" y="54908"/>
                      <a:pt x="551" y="54113"/>
                    </a:cubicBezTo>
                    <a:cubicBezTo>
                      <a:pt x="184" y="53317"/>
                      <a:pt x="0" y="52461"/>
                      <a:pt x="0" y="51604"/>
                    </a:cubicBezTo>
                    <a:cubicBezTo>
                      <a:pt x="0" y="50747"/>
                      <a:pt x="184" y="49891"/>
                      <a:pt x="489" y="49096"/>
                    </a:cubicBezTo>
                    <a:cubicBezTo>
                      <a:pt x="551" y="48912"/>
                      <a:pt x="673" y="48667"/>
                      <a:pt x="795" y="48545"/>
                    </a:cubicBezTo>
                    <a:cubicBezTo>
                      <a:pt x="918" y="48362"/>
                      <a:pt x="1101" y="48239"/>
                      <a:pt x="1346" y="48178"/>
                    </a:cubicBezTo>
                    <a:cubicBezTo>
                      <a:pt x="1530" y="48055"/>
                      <a:pt x="1774" y="48055"/>
                      <a:pt x="1958" y="48055"/>
                    </a:cubicBezTo>
                    <a:cubicBezTo>
                      <a:pt x="2141" y="48055"/>
                      <a:pt x="2386" y="48117"/>
                      <a:pt x="2570" y="48178"/>
                    </a:cubicBezTo>
                    <a:cubicBezTo>
                      <a:pt x="3671" y="48545"/>
                      <a:pt x="4772" y="49035"/>
                      <a:pt x="5874" y="49463"/>
                    </a:cubicBezTo>
                    <a:cubicBezTo>
                      <a:pt x="12053" y="52032"/>
                      <a:pt x="18906" y="52644"/>
                      <a:pt x="25453" y="51298"/>
                    </a:cubicBezTo>
                    <a:cubicBezTo>
                      <a:pt x="26982" y="51115"/>
                      <a:pt x="28451" y="50442"/>
                      <a:pt x="29613" y="49463"/>
                    </a:cubicBezTo>
                    <a:cubicBezTo>
                      <a:pt x="30776" y="48423"/>
                      <a:pt x="31633" y="47138"/>
                      <a:pt x="32061" y="45608"/>
                    </a:cubicBezTo>
                    <a:cubicBezTo>
                      <a:pt x="32489" y="44201"/>
                      <a:pt x="32489" y="42672"/>
                      <a:pt x="31938" y="41325"/>
                    </a:cubicBezTo>
                    <a:cubicBezTo>
                      <a:pt x="31388" y="39980"/>
                      <a:pt x="30409" y="38817"/>
                      <a:pt x="29124" y="38083"/>
                    </a:cubicBezTo>
                    <a:cubicBezTo>
                      <a:pt x="27227" y="37043"/>
                      <a:pt x="25208" y="36186"/>
                      <a:pt x="23128" y="35452"/>
                    </a:cubicBezTo>
                    <a:cubicBezTo>
                      <a:pt x="19763" y="34289"/>
                      <a:pt x="16398" y="33372"/>
                      <a:pt x="13032" y="32209"/>
                    </a:cubicBezTo>
                    <a:cubicBezTo>
                      <a:pt x="9545" y="31108"/>
                      <a:pt x="6424" y="28966"/>
                      <a:pt x="4161" y="26091"/>
                    </a:cubicBezTo>
                    <a:cubicBezTo>
                      <a:pt x="2937" y="24439"/>
                      <a:pt x="2019" y="22604"/>
                      <a:pt x="1530" y="20585"/>
                    </a:cubicBezTo>
                    <a:cubicBezTo>
                      <a:pt x="1040" y="18627"/>
                      <a:pt x="918" y="16485"/>
                      <a:pt x="1285" y="14466"/>
                    </a:cubicBezTo>
                    <a:cubicBezTo>
                      <a:pt x="1652" y="12447"/>
                      <a:pt x="2386" y="10490"/>
                      <a:pt x="3488" y="8776"/>
                    </a:cubicBezTo>
                    <a:cubicBezTo>
                      <a:pt x="4589" y="7063"/>
                      <a:pt x="6057" y="5534"/>
                      <a:pt x="7770" y="4371"/>
                    </a:cubicBezTo>
                    <a:cubicBezTo>
                      <a:pt x="12726" y="884"/>
                      <a:pt x="18784" y="-584"/>
                      <a:pt x="24780" y="211"/>
                    </a:cubicBezTo>
                    <a:cubicBezTo>
                      <a:pt x="28634" y="700"/>
                      <a:pt x="32489" y="1557"/>
                      <a:pt x="36221" y="2781"/>
                    </a:cubicBezTo>
                    <a:cubicBezTo>
                      <a:pt x="37017" y="3086"/>
                      <a:pt x="37690" y="3515"/>
                      <a:pt x="38363" y="4065"/>
                    </a:cubicBezTo>
                    <a:cubicBezTo>
                      <a:pt x="38975" y="4677"/>
                      <a:pt x="39464" y="5289"/>
                      <a:pt x="39770" y="6145"/>
                    </a:cubicBezTo>
                    <a:cubicBezTo>
                      <a:pt x="40076" y="6941"/>
                      <a:pt x="40260" y="7736"/>
                      <a:pt x="40198" y="8593"/>
                    </a:cubicBezTo>
                    <a:cubicBezTo>
                      <a:pt x="40198" y="9449"/>
                      <a:pt x="40015" y="10245"/>
                      <a:pt x="39648" y="10979"/>
                    </a:cubicBezTo>
                    <a:cubicBezTo>
                      <a:pt x="39158" y="12203"/>
                      <a:pt x="38240" y="12019"/>
                      <a:pt x="37200" y="11652"/>
                    </a:cubicBezTo>
                    <a:cubicBezTo>
                      <a:pt x="34631" y="10734"/>
                      <a:pt x="32061" y="9878"/>
                      <a:pt x="29430" y="9205"/>
                    </a:cubicBezTo>
                    <a:cubicBezTo>
                      <a:pt x="25514" y="8287"/>
                      <a:pt x="21415" y="8348"/>
                      <a:pt x="17438" y="9327"/>
                    </a:cubicBezTo>
                    <a:cubicBezTo>
                      <a:pt x="15786" y="9572"/>
                      <a:pt x="14256" y="10428"/>
                      <a:pt x="13216" y="11774"/>
                    </a:cubicBezTo>
                    <a:cubicBezTo>
                      <a:pt x="12176" y="13120"/>
                      <a:pt x="11625" y="14772"/>
                      <a:pt x="11809" y="16424"/>
                    </a:cubicBezTo>
                    <a:cubicBezTo>
                      <a:pt x="11809" y="17525"/>
                      <a:pt x="12115" y="18566"/>
                      <a:pt x="12665" y="19545"/>
                    </a:cubicBezTo>
                    <a:cubicBezTo>
                      <a:pt x="13216" y="20523"/>
                      <a:pt x="14011" y="21258"/>
                      <a:pt x="14990" y="21747"/>
                    </a:cubicBezTo>
                    <a:cubicBezTo>
                      <a:pt x="17009" y="22848"/>
                      <a:pt x="19151" y="23705"/>
                      <a:pt x="21292" y="24500"/>
                    </a:cubicBezTo>
                    <a:cubicBezTo>
                      <a:pt x="25086" y="25846"/>
                      <a:pt x="28940" y="26948"/>
                      <a:pt x="32734" y="28355"/>
                    </a:cubicBezTo>
                    <a:cubicBezTo>
                      <a:pt x="35548" y="29211"/>
                      <a:pt x="38057" y="30924"/>
                      <a:pt x="39892" y="33249"/>
                    </a:cubicBezTo>
                    <a:cubicBezTo>
                      <a:pt x="41728" y="35574"/>
                      <a:pt x="42829" y="38389"/>
                      <a:pt x="43013" y="41387"/>
                    </a:cubicBezTo>
                    <a:cubicBezTo>
                      <a:pt x="43319" y="44507"/>
                      <a:pt x="42707" y="47627"/>
                      <a:pt x="41300" y="50380"/>
                    </a:cubicBezTo>
                    <a:cubicBezTo>
                      <a:pt x="39892" y="53134"/>
                      <a:pt x="37629" y="55459"/>
                      <a:pt x="34936" y="56988"/>
                    </a:cubicBezTo>
                    <a:cubicBezTo>
                      <a:pt x="30470" y="59558"/>
                      <a:pt x="25330" y="60843"/>
                      <a:pt x="20130" y="60659"/>
                    </a:cubicBezTo>
                    <a:lnTo>
                      <a:pt x="19946" y="60659"/>
                    </a:lnTo>
                    <a:close/>
                  </a:path>
                </a:pathLst>
              </a:custGeom>
              <a:grpFill/>
              <a:ln w="0" cap="flat">
                <a:noFill/>
                <a:prstDash val="solid"/>
                <a:miter/>
              </a:ln>
            </p:spPr>
            <p:txBody>
              <a:bodyPr rtlCol="0" anchor="ctr"/>
              <a:lstStyle/>
              <a:p>
                <a:endParaRPr lang="en-US"/>
              </a:p>
            </p:txBody>
          </p:sp>
          <p:sp>
            <p:nvSpPr>
              <p:cNvPr id="172" name="Freeform 171">
                <a:extLst>
                  <a:ext uri="{FF2B5EF4-FFF2-40B4-BE49-F238E27FC236}">
                    <a16:creationId xmlns:a16="http://schemas.microsoft.com/office/drawing/2014/main" id="{055E11DE-ADC5-24A5-3AF9-413BAC2A24E2}"/>
                  </a:ext>
                </a:extLst>
              </p:cNvPr>
              <p:cNvSpPr/>
              <p:nvPr/>
            </p:nvSpPr>
            <p:spPr>
              <a:xfrm>
                <a:off x="5640669" y="4961616"/>
                <a:ext cx="35910" cy="35066"/>
              </a:xfrm>
              <a:custGeom>
                <a:avLst/>
                <a:gdLst>
                  <a:gd name="connsiteX0" fmla="*/ 15969 w 35910"/>
                  <a:gd name="connsiteY0" fmla="*/ 6861 h 35066"/>
                  <a:gd name="connsiteX1" fmla="*/ 1897 w 35910"/>
                  <a:gd name="connsiteY1" fmla="*/ 8146 h 35066"/>
                  <a:gd name="connsiteX2" fmla="*/ 0 w 35910"/>
                  <a:gd name="connsiteY2" fmla="*/ 7779 h 35066"/>
                  <a:gd name="connsiteX3" fmla="*/ 918 w 35910"/>
                  <a:gd name="connsiteY3" fmla="*/ 5943 h 35066"/>
                  <a:gd name="connsiteX4" fmla="*/ 12726 w 35910"/>
                  <a:gd name="connsiteY4" fmla="*/ 1049 h 35066"/>
                  <a:gd name="connsiteX5" fmla="*/ 30959 w 35910"/>
                  <a:gd name="connsiteY5" fmla="*/ 926 h 35066"/>
                  <a:gd name="connsiteX6" fmla="*/ 35793 w 35910"/>
                  <a:gd name="connsiteY6" fmla="*/ 8146 h 35066"/>
                  <a:gd name="connsiteX7" fmla="*/ 28023 w 35910"/>
                  <a:gd name="connsiteY7" fmla="*/ 29315 h 35066"/>
                  <a:gd name="connsiteX8" fmla="*/ 23373 w 35910"/>
                  <a:gd name="connsiteY8" fmla="*/ 34393 h 35066"/>
                  <a:gd name="connsiteX9" fmla="*/ 21231 w 35910"/>
                  <a:gd name="connsiteY9" fmla="*/ 35066 h 35066"/>
                  <a:gd name="connsiteX10" fmla="*/ 21353 w 35910"/>
                  <a:gd name="connsiteY10" fmla="*/ 32925 h 35066"/>
                  <a:gd name="connsiteX11" fmla="*/ 26860 w 35910"/>
                  <a:gd name="connsiteY11" fmla="*/ 16345 h 35066"/>
                  <a:gd name="connsiteX12" fmla="*/ 27350 w 35910"/>
                  <a:gd name="connsiteY12" fmla="*/ 13652 h 35066"/>
                  <a:gd name="connsiteX13" fmla="*/ 22271 w 35910"/>
                  <a:gd name="connsiteY13" fmla="*/ 7412 h 35066"/>
                  <a:gd name="connsiteX14" fmla="*/ 16030 w 35910"/>
                  <a:gd name="connsiteY14" fmla="*/ 6861 h 35066"/>
                  <a:gd name="connsiteX15" fmla="*/ 15969 w 35910"/>
                  <a:gd name="connsiteY15" fmla="*/ 6861 h 35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910" h="35066">
                    <a:moveTo>
                      <a:pt x="15969" y="6861"/>
                    </a:moveTo>
                    <a:cubicBezTo>
                      <a:pt x="11625" y="7290"/>
                      <a:pt x="6730" y="7718"/>
                      <a:pt x="1897" y="8146"/>
                    </a:cubicBezTo>
                    <a:cubicBezTo>
                      <a:pt x="1224" y="8146"/>
                      <a:pt x="612" y="7963"/>
                      <a:pt x="0" y="7779"/>
                    </a:cubicBezTo>
                    <a:cubicBezTo>
                      <a:pt x="306" y="7167"/>
                      <a:pt x="428" y="6310"/>
                      <a:pt x="918" y="5943"/>
                    </a:cubicBezTo>
                    <a:cubicBezTo>
                      <a:pt x="4466" y="3496"/>
                      <a:pt x="8505" y="1844"/>
                      <a:pt x="12726" y="1049"/>
                    </a:cubicBezTo>
                    <a:cubicBezTo>
                      <a:pt x="18723" y="-297"/>
                      <a:pt x="24902" y="-358"/>
                      <a:pt x="30959" y="926"/>
                    </a:cubicBezTo>
                    <a:cubicBezTo>
                      <a:pt x="34998" y="1844"/>
                      <a:pt x="36344" y="1844"/>
                      <a:pt x="35793" y="8146"/>
                    </a:cubicBezTo>
                    <a:cubicBezTo>
                      <a:pt x="35181" y="15794"/>
                      <a:pt x="32428" y="23075"/>
                      <a:pt x="28023" y="29315"/>
                    </a:cubicBezTo>
                    <a:cubicBezTo>
                      <a:pt x="26615" y="31151"/>
                      <a:pt x="25086" y="32803"/>
                      <a:pt x="23373" y="34393"/>
                    </a:cubicBezTo>
                    <a:cubicBezTo>
                      <a:pt x="22883" y="34822"/>
                      <a:pt x="21965" y="34822"/>
                      <a:pt x="21231" y="35066"/>
                    </a:cubicBezTo>
                    <a:cubicBezTo>
                      <a:pt x="21170" y="34393"/>
                      <a:pt x="21231" y="33659"/>
                      <a:pt x="21353" y="32925"/>
                    </a:cubicBezTo>
                    <a:cubicBezTo>
                      <a:pt x="23189" y="27419"/>
                      <a:pt x="25025" y="21851"/>
                      <a:pt x="26860" y="16345"/>
                    </a:cubicBezTo>
                    <a:cubicBezTo>
                      <a:pt x="27105" y="15488"/>
                      <a:pt x="27288" y="14570"/>
                      <a:pt x="27350" y="13652"/>
                    </a:cubicBezTo>
                    <a:cubicBezTo>
                      <a:pt x="27900" y="9798"/>
                      <a:pt x="26371" y="7901"/>
                      <a:pt x="22271" y="7412"/>
                    </a:cubicBezTo>
                    <a:cubicBezTo>
                      <a:pt x="20375" y="7167"/>
                      <a:pt x="18417" y="7045"/>
                      <a:pt x="16030" y="6861"/>
                    </a:cubicBezTo>
                    <a:lnTo>
                      <a:pt x="15969" y="6861"/>
                    </a:lnTo>
                    <a:close/>
                  </a:path>
                </a:pathLst>
              </a:custGeom>
              <a:grpFill/>
              <a:ln w="0" cap="flat">
                <a:noFill/>
                <a:prstDash val="solid"/>
                <a:miter/>
              </a:ln>
            </p:spPr>
            <p:txBody>
              <a:bodyPr rtlCol="0" anchor="ctr"/>
              <a:lstStyle/>
              <a:p>
                <a:endParaRPr lang="en-US"/>
              </a:p>
            </p:txBody>
          </p:sp>
        </p:grpSp>
        <p:grpSp>
          <p:nvGrpSpPr>
            <p:cNvPr id="162" name="Graphic 3">
              <a:extLst>
                <a:ext uri="{FF2B5EF4-FFF2-40B4-BE49-F238E27FC236}">
                  <a16:creationId xmlns:a16="http://schemas.microsoft.com/office/drawing/2014/main" id="{07841B93-653D-BC1B-047F-DA5A5AFC289C}"/>
                </a:ext>
              </a:extLst>
            </p:cNvPr>
            <p:cNvGrpSpPr>
              <a:grpSpLocks noChangeAspect="1"/>
            </p:cNvGrpSpPr>
            <p:nvPr/>
          </p:nvGrpSpPr>
          <p:grpSpPr>
            <a:xfrm>
              <a:off x="7871725" y="5335347"/>
              <a:ext cx="454512" cy="365760"/>
              <a:chOff x="5488743" y="5280447"/>
              <a:chExt cx="181479" cy="146042"/>
            </a:xfrm>
            <a:grpFill/>
          </p:grpSpPr>
          <p:sp>
            <p:nvSpPr>
              <p:cNvPr id="164" name="Freeform 163">
                <a:extLst>
                  <a:ext uri="{FF2B5EF4-FFF2-40B4-BE49-F238E27FC236}">
                    <a16:creationId xmlns:a16="http://schemas.microsoft.com/office/drawing/2014/main" id="{1F57A589-36C9-1E92-755B-C5D9C2418FD9}"/>
                  </a:ext>
                </a:extLst>
              </p:cNvPr>
              <p:cNvSpPr/>
              <p:nvPr/>
            </p:nvSpPr>
            <p:spPr>
              <a:xfrm>
                <a:off x="5516219" y="5280447"/>
                <a:ext cx="101444" cy="37749"/>
              </a:xfrm>
              <a:custGeom>
                <a:avLst/>
                <a:gdLst>
                  <a:gd name="connsiteX0" fmla="*/ 101444 w 101444"/>
                  <a:gd name="connsiteY0" fmla="*/ 11441 h 37749"/>
                  <a:gd name="connsiteX1" fmla="*/ 80458 w 101444"/>
                  <a:gd name="connsiteY1" fmla="*/ 32488 h 37749"/>
                  <a:gd name="connsiteX2" fmla="*/ 78378 w 101444"/>
                  <a:gd name="connsiteY2" fmla="*/ 34568 h 37749"/>
                  <a:gd name="connsiteX3" fmla="*/ 62959 w 101444"/>
                  <a:gd name="connsiteY3" fmla="*/ 31325 h 37749"/>
                  <a:gd name="connsiteX4" fmla="*/ 43564 w 101444"/>
                  <a:gd name="connsiteY4" fmla="*/ 36465 h 37749"/>
                  <a:gd name="connsiteX5" fmla="*/ 23556 w 101444"/>
                  <a:gd name="connsiteY5" fmla="*/ 33039 h 37749"/>
                  <a:gd name="connsiteX6" fmla="*/ 23250 w 101444"/>
                  <a:gd name="connsiteY6" fmla="*/ 33039 h 37749"/>
                  <a:gd name="connsiteX7" fmla="*/ 0 w 101444"/>
                  <a:gd name="connsiteY7" fmla="*/ 37750 h 37749"/>
                  <a:gd name="connsiteX8" fmla="*/ 9484 w 101444"/>
                  <a:gd name="connsiteY8" fmla="*/ 23923 h 37749"/>
                  <a:gd name="connsiteX9" fmla="*/ 62714 w 101444"/>
                  <a:gd name="connsiteY9" fmla="*/ 0 h 37749"/>
                  <a:gd name="connsiteX10" fmla="*/ 101383 w 101444"/>
                  <a:gd name="connsiteY10" fmla="*/ 11564 h 37749"/>
                  <a:gd name="connsiteX11" fmla="*/ 101444 w 101444"/>
                  <a:gd name="connsiteY11" fmla="*/ 11564 h 37749"/>
                  <a:gd name="connsiteX12" fmla="*/ 101444 w 101444"/>
                  <a:gd name="connsiteY12" fmla="*/ 11441 h 37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1444" h="37749">
                    <a:moveTo>
                      <a:pt x="101444" y="11441"/>
                    </a:moveTo>
                    <a:lnTo>
                      <a:pt x="80458" y="32488"/>
                    </a:lnTo>
                    <a:lnTo>
                      <a:pt x="78378" y="34568"/>
                    </a:lnTo>
                    <a:cubicBezTo>
                      <a:pt x="73483" y="32365"/>
                      <a:pt x="68160" y="31325"/>
                      <a:pt x="62959" y="31325"/>
                    </a:cubicBezTo>
                    <a:cubicBezTo>
                      <a:pt x="56290" y="31325"/>
                      <a:pt x="49498" y="32978"/>
                      <a:pt x="43564" y="36465"/>
                    </a:cubicBezTo>
                    <a:cubicBezTo>
                      <a:pt x="37200" y="34140"/>
                      <a:pt x="30409" y="33039"/>
                      <a:pt x="23556" y="33039"/>
                    </a:cubicBezTo>
                    <a:lnTo>
                      <a:pt x="23250" y="33039"/>
                    </a:lnTo>
                    <a:cubicBezTo>
                      <a:pt x="15051" y="33039"/>
                      <a:pt x="7220" y="34690"/>
                      <a:pt x="0" y="37750"/>
                    </a:cubicBezTo>
                    <a:cubicBezTo>
                      <a:pt x="2631" y="32855"/>
                      <a:pt x="5751" y="28205"/>
                      <a:pt x="9484" y="23923"/>
                    </a:cubicBezTo>
                    <a:cubicBezTo>
                      <a:pt x="23556" y="8076"/>
                      <a:pt x="43135" y="0"/>
                      <a:pt x="62714" y="0"/>
                    </a:cubicBezTo>
                    <a:cubicBezTo>
                      <a:pt x="76175" y="0"/>
                      <a:pt x="89574" y="3732"/>
                      <a:pt x="101383" y="11564"/>
                    </a:cubicBezTo>
                    <a:lnTo>
                      <a:pt x="101444" y="11564"/>
                    </a:lnTo>
                    <a:lnTo>
                      <a:pt x="101444" y="11441"/>
                    </a:lnTo>
                    <a:close/>
                  </a:path>
                </a:pathLst>
              </a:custGeom>
              <a:grpFill/>
              <a:ln w="0" cap="flat">
                <a:noFill/>
                <a:prstDash val="solid"/>
                <a:miter/>
              </a:ln>
            </p:spPr>
            <p:txBody>
              <a:bodyPr rtlCol="0" anchor="ctr"/>
              <a:lstStyle/>
              <a:p>
                <a:endParaRPr lang="en-US"/>
              </a:p>
            </p:txBody>
          </p:sp>
          <p:sp>
            <p:nvSpPr>
              <p:cNvPr id="165" name="Freeform 164">
                <a:extLst>
                  <a:ext uri="{FF2B5EF4-FFF2-40B4-BE49-F238E27FC236}">
                    <a16:creationId xmlns:a16="http://schemas.microsoft.com/office/drawing/2014/main" id="{8D52B682-8589-2788-FF8B-68AE6C5AB3D3}"/>
                  </a:ext>
                </a:extLst>
              </p:cNvPr>
              <p:cNvSpPr/>
              <p:nvPr/>
            </p:nvSpPr>
            <p:spPr>
              <a:xfrm>
                <a:off x="5589457" y="5298190"/>
                <a:ext cx="80765" cy="128299"/>
              </a:xfrm>
              <a:custGeom>
                <a:avLst/>
                <a:gdLst>
                  <a:gd name="connsiteX0" fmla="*/ 80703 w 80765"/>
                  <a:gd name="connsiteY0" fmla="*/ 77396 h 128299"/>
                  <a:gd name="connsiteX1" fmla="*/ 57942 w 80765"/>
                  <a:gd name="connsiteY1" fmla="*/ 119612 h 128299"/>
                  <a:gd name="connsiteX2" fmla="*/ 49315 w 80765"/>
                  <a:gd name="connsiteY2" fmla="*/ 124323 h 128299"/>
                  <a:gd name="connsiteX3" fmla="*/ 39770 w 80765"/>
                  <a:gd name="connsiteY3" fmla="*/ 127260 h 128299"/>
                  <a:gd name="connsiteX4" fmla="*/ 29491 w 80765"/>
                  <a:gd name="connsiteY4" fmla="*/ 128300 h 128299"/>
                  <a:gd name="connsiteX5" fmla="*/ 0 w 80765"/>
                  <a:gd name="connsiteY5" fmla="*/ 128300 h 128299"/>
                  <a:gd name="connsiteX6" fmla="*/ 0 w 80765"/>
                  <a:gd name="connsiteY6" fmla="*/ 96730 h 128299"/>
                  <a:gd name="connsiteX7" fmla="*/ 29063 w 80765"/>
                  <a:gd name="connsiteY7" fmla="*/ 96730 h 128299"/>
                  <a:gd name="connsiteX8" fmla="*/ 48764 w 80765"/>
                  <a:gd name="connsiteY8" fmla="*/ 77029 h 128299"/>
                  <a:gd name="connsiteX9" fmla="*/ 29063 w 80765"/>
                  <a:gd name="connsiteY9" fmla="*/ 57328 h 128299"/>
                  <a:gd name="connsiteX10" fmla="*/ 29063 w 80765"/>
                  <a:gd name="connsiteY10" fmla="*/ 53351 h 128299"/>
                  <a:gd name="connsiteX11" fmla="*/ 23617 w 80765"/>
                  <a:gd name="connsiteY11" fmla="*/ 32794 h 128299"/>
                  <a:gd name="connsiteX12" fmla="*/ 14746 w 80765"/>
                  <a:gd name="connsiteY12" fmla="*/ 22393 h 128299"/>
                  <a:gd name="connsiteX13" fmla="*/ 14562 w 80765"/>
                  <a:gd name="connsiteY13" fmla="*/ 22209 h 128299"/>
                  <a:gd name="connsiteX14" fmla="*/ 36466 w 80765"/>
                  <a:gd name="connsiteY14" fmla="*/ 306 h 128299"/>
                  <a:gd name="connsiteX15" fmla="*/ 36772 w 80765"/>
                  <a:gd name="connsiteY15" fmla="*/ 0 h 128299"/>
                  <a:gd name="connsiteX16" fmla="*/ 45827 w 80765"/>
                  <a:gd name="connsiteY16" fmla="*/ 9789 h 128299"/>
                  <a:gd name="connsiteX17" fmla="*/ 58126 w 80765"/>
                  <a:gd name="connsiteY17" fmla="*/ 34568 h 128299"/>
                  <a:gd name="connsiteX18" fmla="*/ 80764 w 80765"/>
                  <a:gd name="connsiteY18" fmla="*/ 77396 h 128299"/>
                  <a:gd name="connsiteX19" fmla="*/ 80764 w 80765"/>
                  <a:gd name="connsiteY19" fmla="*/ 77396 h 128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0765" h="128299">
                    <a:moveTo>
                      <a:pt x="80703" y="77396"/>
                    </a:moveTo>
                    <a:cubicBezTo>
                      <a:pt x="80580" y="95016"/>
                      <a:pt x="71525" y="110557"/>
                      <a:pt x="57942" y="119612"/>
                    </a:cubicBezTo>
                    <a:cubicBezTo>
                      <a:pt x="55250" y="121386"/>
                      <a:pt x="52313" y="122977"/>
                      <a:pt x="49315" y="124323"/>
                    </a:cubicBezTo>
                    <a:cubicBezTo>
                      <a:pt x="46194" y="125546"/>
                      <a:pt x="42952" y="126648"/>
                      <a:pt x="39770" y="127260"/>
                    </a:cubicBezTo>
                    <a:cubicBezTo>
                      <a:pt x="36405" y="127994"/>
                      <a:pt x="32979" y="128300"/>
                      <a:pt x="29491" y="128300"/>
                    </a:cubicBezTo>
                    <a:lnTo>
                      <a:pt x="0" y="128300"/>
                    </a:lnTo>
                    <a:lnTo>
                      <a:pt x="0" y="96730"/>
                    </a:lnTo>
                    <a:lnTo>
                      <a:pt x="29063" y="96730"/>
                    </a:lnTo>
                    <a:cubicBezTo>
                      <a:pt x="39892" y="96730"/>
                      <a:pt x="48764" y="87981"/>
                      <a:pt x="48764" y="77029"/>
                    </a:cubicBezTo>
                    <a:cubicBezTo>
                      <a:pt x="48764" y="66077"/>
                      <a:pt x="39892" y="57328"/>
                      <a:pt x="29063" y="57328"/>
                    </a:cubicBezTo>
                    <a:lnTo>
                      <a:pt x="29063" y="53351"/>
                    </a:lnTo>
                    <a:cubicBezTo>
                      <a:pt x="29185" y="46070"/>
                      <a:pt x="27288" y="38973"/>
                      <a:pt x="23617" y="32794"/>
                    </a:cubicBezTo>
                    <a:cubicBezTo>
                      <a:pt x="21292" y="28817"/>
                      <a:pt x="18417" y="25268"/>
                      <a:pt x="14746" y="22393"/>
                    </a:cubicBezTo>
                    <a:cubicBezTo>
                      <a:pt x="14746" y="22393"/>
                      <a:pt x="14684" y="22331"/>
                      <a:pt x="14562" y="22209"/>
                    </a:cubicBezTo>
                    <a:lnTo>
                      <a:pt x="36466" y="306"/>
                    </a:lnTo>
                    <a:lnTo>
                      <a:pt x="36772" y="0"/>
                    </a:lnTo>
                    <a:cubicBezTo>
                      <a:pt x="40137" y="2937"/>
                      <a:pt x="43135" y="6240"/>
                      <a:pt x="45827" y="9789"/>
                    </a:cubicBezTo>
                    <a:cubicBezTo>
                      <a:pt x="51579" y="17070"/>
                      <a:pt x="55739" y="25513"/>
                      <a:pt x="58126" y="34568"/>
                    </a:cubicBezTo>
                    <a:cubicBezTo>
                      <a:pt x="72382" y="44112"/>
                      <a:pt x="80886" y="60203"/>
                      <a:pt x="80764" y="77396"/>
                    </a:cubicBezTo>
                    <a:lnTo>
                      <a:pt x="80764" y="77396"/>
                    </a:lnTo>
                    <a:close/>
                  </a:path>
                </a:pathLst>
              </a:custGeom>
              <a:grpFill/>
              <a:ln w="0" cap="flat">
                <a:noFill/>
                <a:prstDash val="solid"/>
                <a:miter/>
              </a:ln>
            </p:spPr>
            <p:txBody>
              <a:bodyPr rtlCol="0" anchor="ctr"/>
              <a:lstStyle/>
              <a:p>
                <a:endParaRPr lang="en-US"/>
              </a:p>
            </p:txBody>
          </p:sp>
          <p:sp>
            <p:nvSpPr>
              <p:cNvPr id="166" name="Freeform 165">
                <a:extLst>
                  <a:ext uri="{FF2B5EF4-FFF2-40B4-BE49-F238E27FC236}">
                    <a16:creationId xmlns:a16="http://schemas.microsoft.com/office/drawing/2014/main" id="{9F3457D1-A803-3C0C-9C9C-677C096F7FC2}"/>
                  </a:ext>
                </a:extLst>
              </p:cNvPr>
              <p:cNvSpPr/>
              <p:nvPr/>
            </p:nvSpPr>
            <p:spPr>
              <a:xfrm>
                <a:off x="5517810" y="5394614"/>
                <a:ext cx="61184" cy="31570"/>
              </a:xfrm>
              <a:custGeom>
                <a:avLst/>
                <a:gdLst>
                  <a:gd name="connsiteX0" fmla="*/ 61185 w 61184"/>
                  <a:gd name="connsiteY0" fmla="*/ 0 h 31570"/>
                  <a:gd name="connsiteX1" fmla="*/ 61185 w 61184"/>
                  <a:gd name="connsiteY1" fmla="*/ 31570 h 31570"/>
                  <a:gd name="connsiteX2" fmla="*/ 21476 w 61184"/>
                  <a:gd name="connsiteY2" fmla="*/ 31570 h 31570"/>
                  <a:gd name="connsiteX3" fmla="*/ 8138 w 61184"/>
                  <a:gd name="connsiteY3" fmla="*/ 29796 h 31570"/>
                  <a:gd name="connsiteX4" fmla="*/ 5323 w 61184"/>
                  <a:gd name="connsiteY4" fmla="*/ 28878 h 31570"/>
                  <a:gd name="connsiteX5" fmla="*/ 1468 w 61184"/>
                  <a:gd name="connsiteY5" fmla="*/ 27410 h 31570"/>
                  <a:gd name="connsiteX6" fmla="*/ 0 w 61184"/>
                  <a:gd name="connsiteY6" fmla="*/ 26676 h 31570"/>
                  <a:gd name="connsiteX7" fmla="*/ 21048 w 61184"/>
                  <a:gd name="connsiteY7" fmla="*/ 5629 h 31570"/>
                  <a:gd name="connsiteX8" fmla="*/ 26677 w 61184"/>
                  <a:gd name="connsiteY8" fmla="*/ 0 h 31570"/>
                  <a:gd name="connsiteX9" fmla="*/ 61185 w 61184"/>
                  <a:gd name="connsiteY9" fmla="*/ 0 h 31570"/>
                  <a:gd name="connsiteX10" fmla="*/ 61185 w 61184"/>
                  <a:gd name="connsiteY10" fmla="*/ 0 h 31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184" h="31570">
                    <a:moveTo>
                      <a:pt x="61185" y="0"/>
                    </a:moveTo>
                    <a:lnTo>
                      <a:pt x="61185" y="31570"/>
                    </a:lnTo>
                    <a:lnTo>
                      <a:pt x="21476" y="31570"/>
                    </a:lnTo>
                    <a:cubicBezTo>
                      <a:pt x="16887" y="31570"/>
                      <a:pt x="12421" y="30958"/>
                      <a:pt x="8138" y="29796"/>
                    </a:cubicBezTo>
                    <a:cubicBezTo>
                      <a:pt x="7220" y="29490"/>
                      <a:pt x="6241" y="29184"/>
                      <a:pt x="5323" y="28878"/>
                    </a:cubicBezTo>
                    <a:cubicBezTo>
                      <a:pt x="4099" y="28450"/>
                      <a:pt x="2692" y="28021"/>
                      <a:pt x="1468" y="27410"/>
                    </a:cubicBezTo>
                    <a:cubicBezTo>
                      <a:pt x="1040" y="27226"/>
                      <a:pt x="551" y="26981"/>
                      <a:pt x="0" y="26676"/>
                    </a:cubicBezTo>
                    <a:lnTo>
                      <a:pt x="21048" y="5629"/>
                    </a:lnTo>
                    <a:lnTo>
                      <a:pt x="26677" y="0"/>
                    </a:lnTo>
                    <a:lnTo>
                      <a:pt x="61185" y="0"/>
                    </a:lnTo>
                    <a:lnTo>
                      <a:pt x="61185" y="0"/>
                    </a:lnTo>
                    <a:close/>
                  </a:path>
                </a:pathLst>
              </a:custGeom>
              <a:grpFill/>
              <a:ln w="0" cap="flat">
                <a:noFill/>
                <a:prstDash val="solid"/>
                <a:miter/>
              </a:ln>
            </p:spPr>
            <p:txBody>
              <a:bodyPr rtlCol="0" anchor="ctr"/>
              <a:lstStyle/>
              <a:p>
                <a:endParaRPr lang="en-US"/>
              </a:p>
            </p:txBody>
          </p:sp>
          <p:sp>
            <p:nvSpPr>
              <p:cNvPr id="167" name="Freeform 166">
                <a:extLst>
                  <a:ext uri="{FF2B5EF4-FFF2-40B4-BE49-F238E27FC236}">
                    <a16:creationId xmlns:a16="http://schemas.microsoft.com/office/drawing/2014/main" id="{ECFEC861-720A-DB5E-9A45-D898D2624512}"/>
                  </a:ext>
                </a:extLst>
              </p:cNvPr>
              <p:cNvSpPr/>
              <p:nvPr/>
            </p:nvSpPr>
            <p:spPr>
              <a:xfrm>
                <a:off x="5488743" y="5323826"/>
                <a:ext cx="91720" cy="91896"/>
              </a:xfrm>
              <a:custGeom>
                <a:avLst/>
                <a:gdLst>
                  <a:gd name="connsiteX0" fmla="*/ 72325 w 91720"/>
                  <a:gd name="connsiteY0" fmla="*/ 4711 h 91896"/>
                  <a:gd name="connsiteX1" fmla="*/ 62780 w 91720"/>
                  <a:gd name="connsiteY1" fmla="*/ 1346 h 91896"/>
                  <a:gd name="connsiteX2" fmla="*/ 60822 w 91720"/>
                  <a:gd name="connsiteY2" fmla="*/ 1040 h 91896"/>
                  <a:gd name="connsiteX3" fmla="*/ 60516 w 91720"/>
                  <a:gd name="connsiteY3" fmla="*/ 1223 h 91896"/>
                  <a:gd name="connsiteX4" fmla="*/ 60700 w 91720"/>
                  <a:gd name="connsiteY4" fmla="*/ 918 h 91896"/>
                  <a:gd name="connsiteX5" fmla="*/ 51155 w 91720"/>
                  <a:gd name="connsiteY5" fmla="*/ 0 h 91896"/>
                  <a:gd name="connsiteX6" fmla="*/ 50971 w 91720"/>
                  <a:gd name="connsiteY6" fmla="*/ 0 h 91896"/>
                  <a:gd name="connsiteX7" fmla="*/ 23071 w 91720"/>
                  <a:gd name="connsiteY7" fmla="*/ 8443 h 91896"/>
                  <a:gd name="connsiteX8" fmla="*/ 22949 w 91720"/>
                  <a:gd name="connsiteY8" fmla="*/ 8565 h 91896"/>
                  <a:gd name="connsiteX9" fmla="*/ 6490 w 91720"/>
                  <a:gd name="connsiteY9" fmla="*/ 26370 h 91896"/>
                  <a:gd name="connsiteX10" fmla="*/ 4 w 91720"/>
                  <a:gd name="connsiteY10" fmla="*/ 51577 h 91896"/>
                  <a:gd name="connsiteX11" fmla="*/ 11324 w 91720"/>
                  <a:gd name="connsiteY11" fmla="*/ 83453 h 91896"/>
                  <a:gd name="connsiteX12" fmla="*/ 19951 w 91720"/>
                  <a:gd name="connsiteY12" fmla="*/ 91896 h 91896"/>
                  <a:gd name="connsiteX13" fmla="*/ 42773 w 91720"/>
                  <a:gd name="connsiteY13" fmla="*/ 68953 h 91896"/>
                  <a:gd name="connsiteX14" fmla="*/ 33840 w 91720"/>
                  <a:gd name="connsiteY14" fmla="*/ 60816 h 91896"/>
                  <a:gd name="connsiteX15" fmla="*/ 32983 w 91720"/>
                  <a:gd name="connsiteY15" fmla="*/ 42889 h 91896"/>
                  <a:gd name="connsiteX16" fmla="*/ 36103 w 91720"/>
                  <a:gd name="connsiteY16" fmla="*/ 37994 h 91896"/>
                  <a:gd name="connsiteX17" fmla="*/ 46015 w 91720"/>
                  <a:gd name="connsiteY17" fmla="*/ 31937 h 91896"/>
                  <a:gd name="connsiteX18" fmla="*/ 57029 w 91720"/>
                  <a:gd name="connsiteY18" fmla="*/ 32243 h 91896"/>
                  <a:gd name="connsiteX19" fmla="*/ 58986 w 91720"/>
                  <a:gd name="connsiteY19" fmla="*/ 32977 h 91896"/>
                  <a:gd name="connsiteX20" fmla="*/ 68776 w 91720"/>
                  <a:gd name="connsiteY20" fmla="*/ 42889 h 91896"/>
                  <a:gd name="connsiteX21" fmla="*/ 91720 w 91720"/>
                  <a:gd name="connsiteY21" fmla="*/ 20068 h 91896"/>
                  <a:gd name="connsiteX22" fmla="*/ 72325 w 91720"/>
                  <a:gd name="connsiteY22" fmla="*/ 4650 h 91896"/>
                  <a:gd name="connsiteX23" fmla="*/ 72325 w 91720"/>
                  <a:gd name="connsiteY23" fmla="*/ 4772 h 91896"/>
                  <a:gd name="connsiteX24" fmla="*/ 72325 w 91720"/>
                  <a:gd name="connsiteY24" fmla="*/ 4772 h 91896"/>
                  <a:gd name="connsiteX25" fmla="*/ 25029 w 91720"/>
                  <a:gd name="connsiteY25" fmla="*/ 8137 h 91896"/>
                  <a:gd name="connsiteX26" fmla="*/ 26191 w 91720"/>
                  <a:gd name="connsiteY26" fmla="*/ 8321 h 91896"/>
                  <a:gd name="connsiteX27" fmla="*/ 23499 w 91720"/>
                  <a:gd name="connsiteY27" fmla="*/ 8321 h 91896"/>
                  <a:gd name="connsiteX28" fmla="*/ 25090 w 91720"/>
                  <a:gd name="connsiteY28" fmla="*/ 8137 h 91896"/>
                  <a:gd name="connsiteX29" fmla="*/ 25029 w 91720"/>
                  <a:gd name="connsiteY29" fmla="*/ 8137 h 91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91720" h="91896">
                    <a:moveTo>
                      <a:pt x="72325" y="4711"/>
                    </a:moveTo>
                    <a:cubicBezTo>
                      <a:pt x="69266" y="3242"/>
                      <a:pt x="66084" y="2080"/>
                      <a:pt x="62780" y="1346"/>
                    </a:cubicBezTo>
                    <a:cubicBezTo>
                      <a:pt x="62168" y="1223"/>
                      <a:pt x="61556" y="1040"/>
                      <a:pt x="60822" y="1040"/>
                    </a:cubicBezTo>
                    <a:cubicBezTo>
                      <a:pt x="60700" y="1040"/>
                      <a:pt x="60638" y="1162"/>
                      <a:pt x="60516" y="1223"/>
                    </a:cubicBezTo>
                    <a:cubicBezTo>
                      <a:pt x="60516" y="1101"/>
                      <a:pt x="60638" y="1040"/>
                      <a:pt x="60700" y="918"/>
                    </a:cubicBezTo>
                    <a:cubicBezTo>
                      <a:pt x="57579" y="306"/>
                      <a:pt x="54336" y="0"/>
                      <a:pt x="51155" y="0"/>
                    </a:cubicBezTo>
                    <a:lnTo>
                      <a:pt x="50971" y="0"/>
                    </a:lnTo>
                    <a:cubicBezTo>
                      <a:pt x="40692" y="0"/>
                      <a:pt x="31086" y="3120"/>
                      <a:pt x="23071" y="8443"/>
                    </a:cubicBezTo>
                    <a:lnTo>
                      <a:pt x="22949" y="8565"/>
                    </a:lnTo>
                    <a:cubicBezTo>
                      <a:pt x="16096" y="13032"/>
                      <a:pt x="10467" y="19211"/>
                      <a:pt x="6490" y="26370"/>
                    </a:cubicBezTo>
                    <a:cubicBezTo>
                      <a:pt x="2329" y="33773"/>
                      <a:pt x="-118" y="42400"/>
                      <a:pt x="4" y="51577"/>
                    </a:cubicBezTo>
                    <a:cubicBezTo>
                      <a:pt x="127" y="63263"/>
                      <a:pt x="4104" y="74520"/>
                      <a:pt x="11324" y="83453"/>
                    </a:cubicBezTo>
                    <a:cubicBezTo>
                      <a:pt x="13832" y="86573"/>
                      <a:pt x="16769" y="89388"/>
                      <a:pt x="19951" y="91896"/>
                    </a:cubicBezTo>
                    <a:lnTo>
                      <a:pt x="42773" y="68953"/>
                    </a:lnTo>
                    <a:cubicBezTo>
                      <a:pt x="38796" y="67178"/>
                      <a:pt x="35797" y="64242"/>
                      <a:pt x="33840" y="60816"/>
                    </a:cubicBezTo>
                    <a:cubicBezTo>
                      <a:pt x="30780" y="55493"/>
                      <a:pt x="30291" y="48824"/>
                      <a:pt x="32983" y="42889"/>
                    </a:cubicBezTo>
                    <a:cubicBezTo>
                      <a:pt x="33840" y="40992"/>
                      <a:pt x="34880" y="39462"/>
                      <a:pt x="36103" y="37994"/>
                    </a:cubicBezTo>
                    <a:cubicBezTo>
                      <a:pt x="38734" y="34935"/>
                      <a:pt x="42283" y="32855"/>
                      <a:pt x="46015" y="31937"/>
                    </a:cubicBezTo>
                    <a:cubicBezTo>
                      <a:pt x="49564" y="31020"/>
                      <a:pt x="53419" y="31020"/>
                      <a:pt x="57029" y="32243"/>
                    </a:cubicBezTo>
                    <a:cubicBezTo>
                      <a:pt x="57640" y="32427"/>
                      <a:pt x="58375" y="32671"/>
                      <a:pt x="58986" y="32977"/>
                    </a:cubicBezTo>
                    <a:cubicBezTo>
                      <a:pt x="63392" y="34935"/>
                      <a:pt x="66757" y="38484"/>
                      <a:pt x="68776" y="42889"/>
                    </a:cubicBezTo>
                    <a:lnTo>
                      <a:pt x="91720" y="20068"/>
                    </a:lnTo>
                    <a:cubicBezTo>
                      <a:pt x="86520" y="13277"/>
                      <a:pt x="79850" y="8015"/>
                      <a:pt x="72325" y="4650"/>
                    </a:cubicBezTo>
                    <a:lnTo>
                      <a:pt x="72325" y="4772"/>
                    </a:lnTo>
                    <a:lnTo>
                      <a:pt x="72325" y="4772"/>
                    </a:lnTo>
                    <a:close/>
                    <a:moveTo>
                      <a:pt x="25029" y="8137"/>
                    </a:moveTo>
                    <a:cubicBezTo>
                      <a:pt x="25029" y="8137"/>
                      <a:pt x="25763" y="8137"/>
                      <a:pt x="26191" y="8321"/>
                    </a:cubicBezTo>
                    <a:cubicBezTo>
                      <a:pt x="25335" y="8137"/>
                      <a:pt x="24417" y="8198"/>
                      <a:pt x="23499" y="8321"/>
                    </a:cubicBezTo>
                    <a:cubicBezTo>
                      <a:pt x="24050" y="8198"/>
                      <a:pt x="24539" y="8137"/>
                      <a:pt x="25090" y="8137"/>
                    </a:cubicBezTo>
                    <a:lnTo>
                      <a:pt x="25029" y="8137"/>
                    </a:lnTo>
                    <a:close/>
                  </a:path>
                </a:pathLst>
              </a:custGeom>
              <a:grpFill/>
              <a:ln w="0" cap="flat">
                <a:noFill/>
                <a:prstDash val="solid"/>
                <a:miter/>
              </a:ln>
            </p:spPr>
            <p:txBody>
              <a:bodyPr rtlCol="0" anchor="ctr"/>
              <a:lstStyle/>
              <a:p>
                <a:endParaRPr lang="en-US"/>
              </a:p>
            </p:txBody>
          </p:sp>
        </p:grpSp>
        <p:sp>
          <p:nvSpPr>
            <p:cNvPr id="163" name="Freeform 162">
              <a:extLst>
                <a:ext uri="{FF2B5EF4-FFF2-40B4-BE49-F238E27FC236}">
                  <a16:creationId xmlns:a16="http://schemas.microsoft.com/office/drawing/2014/main" id="{5376386D-9317-7F2C-BC95-E0C351215648}"/>
                </a:ext>
              </a:extLst>
            </p:cNvPr>
            <p:cNvSpPr>
              <a:spLocks noChangeAspect="1"/>
            </p:cNvSpPr>
            <p:nvPr/>
          </p:nvSpPr>
          <p:spPr>
            <a:xfrm>
              <a:off x="7290101" y="5335347"/>
              <a:ext cx="405808" cy="365760"/>
            </a:xfrm>
            <a:custGeom>
              <a:avLst/>
              <a:gdLst>
                <a:gd name="connsiteX0" fmla="*/ 97590 w 154430"/>
                <a:gd name="connsiteY0" fmla="*/ 132216 h 139190"/>
                <a:gd name="connsiteX1" fmla="*/ 94347 w 154430"/>
                <a:gd name="connsiteY1" fmla="*/ 138823 h 139190"/>
                <a:gd name="connsiteX2" fmla="*/ 92695 w 154430"/>
                <a:gd name="connsiteY2" fmla="*/ 139129 h 139190"/>
                <a:gd name="connsiteX3" fmla="*/ 91165 w 154430"/>
                <a:gd name="connsiteY3" fmla="*/ 139129 h 139190"/>
                <a:gd name="connsiteX4" fmla="*/ 87555 w 154430"/>
                <a:gd name="connsiteY4" fmla="*/ 137722 h 139190"/>
                <a:gd name="connsiteX5" fmla="*/ 41789 w 154430"/>
                <a:gd name="connsiteY5" fmla="*/ 95017 h 139190"/>
                <a:gd name="connsiteX6" fmla="*/ 41361 w 154430"/>
                <a:gd name="connsiteY6" fmla="*/ 93976 h 139190"/>
                <a:gd name="connsiteX7" fmla="*/ 42768 w 154430"/>
                <a:gd name="connsiteY7" fmla="*/ 92631 h 139190"/>
                <a:gd name="connsiteX8" fmla="*/ 84251 w 154430"/>
                <a:gd name="connsiteY8" fmla="*/ 92631 h 139190"/>
                <a:gd name="connsiteX9" fmla="*/ 97590 w 154430"/>
                <a:gd name="connsiteY9" fmla="*/ 132277 h 139190"/>
                <a:gd name="connsiteX10" fmla="*/ 97590 w 154430"/>
                <a:gd name="connsiteY10" fmla="*/ 132277 h 139190"/>
                <a:gd name="connsiteX11" fmla="*/ 149230 w 154430"/>
                <a:gd name="connsiteY11" fmla="*/ 139129 h 139190"/>
                <a:gd name="connsiteX12" fmla="*/ 154430 w 154430"/>
                <a:gd name="connsiteY12" fmla="*/ 133929 h 139190"/>
                <a:gd name="connsiteX13" fmla="*/ 154124 w 154430"/>
                <a:gd name="connsiteY13" fmla="*/ 132277 h 139190"/>
                <a:gd name="connsiteX14" fmla="*/ 110683 w 154430"/>
                <a:gd name="connsiteY14" fmla="*/ 3549 h 139190"/>
                <a:gd name="connsiteX15" fmla="*/ 105727 w 154430"/>
                <a:gd name="connsiteY15" fmla="*/ 0 h 139190"/>
                <a:gd name="connsiteX16" fmla="*/ 63081 w 154430"/>
                <a:gd name="connsiteY16" fmla="*/ 0 h 139190"/>
                <a:gd name="connsiteX17" fmla="*/ 64244 w 154430"/>
                <a:gd name="connsiteY17" fmla="*/ 2325 h 139190"/>
                <a:gd name="connsiteX18" fmla="*/ 107685 w 154430"/>
                <a:gd name="connsiteY18" fmla="*/ 131053 h 139190"/>
                <a:gd name="connsiteX19" fmla="*/ 106523 w 154430"/>
                <a:gd name="connsiteY19" fmla="*/ 139190 h 139190"/>
                <a:gd name="connsiteX20" fmla="*/ 149230 w 154430"/>
                <a:gd name="connsiteY20" fmla="*/ 139190 h 139190"/>
                <a:gd name="connsiteX21" fmla="*/ 54210 w 154430"/>
                <a:gd name="connsiteY21" fmla="*/ 3549 h 139190"/>
                <a:gd name="connsiteX22" fmla="*/ 49254 w 154430"/>
                <a:gd name="connsiteY22" fmla="*/ 0 h 139190"/>
                <a:gd name="connsiteX23" fmla="*/ 48703 w 154430"/>
                <a:gd name="connsiteY23" fmla="*/ 0 h 139190"/>
                <a:gd name="connsiteX24" fmla="*/ 43747 w 154430"/>
                <a:gd name="connsiteY24" fmla="*/ 3549 h 139190"/>
                <a:gd name="connsiteX25" fmla="*/ 306 w 154430"/>
                <a:gd name="connsiteY25" fmla="*/ 132277 h 139190"/>
                <a:gd name="connsiteX26" fmla="*/ 0 w 154430"/>
                <a:gd name="connsiteY26" fmla="*/ 133929 h 139190"/>
                <a:gd name="connsiteX27" fmla="*/ 5201 w 154430"/>
                <a:gd name="connsiteY27" fmla="*/ 139129 h 139190"/>
                <a:gd name="connsiteX28" fmla="*/ 40137 w 154430"/>
                <a:gd name="connsiteY28" fmla="*/ 139129 h 139190"/>
                <a:gd name="connsiteX29" fmla="*/ 45093 w 154430"/>
                <a:gd name="connsiteY29" fmla="*/ 135581 h 139190"/>
                <a:gd name="connsiteX30" fmla="*/ 50906 w 154430"/>
                <a:gd name="connsiteY30" fmla="*/ 118388 h 139190"/>
                <a:gd name="connsiteX31" fmla="*/ 34386 w 154430"/>
                <a:gd name="connsiteY31" fmla="*/ 102970 h 139190"/>
                <a:gd name="connsiteX32" fmla="*/ 30470 w 154430"/>
                <a:gd name="connsiteY32" fmla="*/ 94038 h 139190"/>
                <a:gd name="connsiteX33" fmla="*/ 42646 w 154430"/>
                <a:gd name="connsiteY33" fmla="*/ 81862 h 139190"/>
                <a:gd name="connsiteX34" fmla="*/ 63204 w 154430"/>
                <a:gd name="connsiteY34" fmla="*/ 81862 h 139190"/>
                <a:gd name="connsiteX35" fmla="*/ 71831 w 154430"/>
                <a:gd name="connsiteY35" fmla="*/ 56227 h 139190"/>
                <a:gd name="connsiteX36" fmla="*/ 54087 w 154430"/>
                <a:gd name="connsiteY36" fmla="*/ 3610 h 139190"/>
                <a:gd name="connsiteX37" fmla="*/ 54210 w 154430"/>
                <a:gd name="connsiteY37" fmla="*/ 3610 h 139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4430" h="139190">
                  <a:moveTo>
                    <a:pt x="97590" y="132216"/>
                  </a:moveTo>
                  <a:cubicBezTo>
                    <a:pt x="98507" y="134908"/>
                    <a:pt x="97039" y="137906"/>
                    <a:pt x="94347" y="138823"/>
                  </a:cubicBezTo>
                  <a:cubicBezTo>
                    <a:pt x="93796" y="139007"/>
                    <a:pt x="93246" y="139129"/>
                    <a:pt x="92695" y="139129"/>
                  </a:cubicBezTo>
                  <a:lnTo>
                    <a:pt x="91165" y="139129"/>
                  </a:lnTo>
                  <a:cubicBezTo>
                    <a:pt x="89819" y="139129"/>
                    <a:pt x="88534" y="138640"/>
                    <a:pt x="87555" y="137722"/>
                  </a:cubicBezTo>
                  <a:lnTo>
                    <a:pt x="41789" y="95017"/>
                  </a:lnTo>
                  <a:cubicBezTo>
                    <a:pt x="41789" y="95017"/>
                    <a:pt x="41361" y="94405"/>
                    <a:pt x="41361" y="93976"/>
                  </a:cubicBezTo>
                  <a:cubicBezTo>
                    <a:pt x="41361" y="93181"/>
                    <a:pt x="41973" y="92631"/>
                    <a:pt x="42768" y="92631"/>
                  </a:cubicBezTo>
                  <a:lnTo>
                    <a:pt x="84251" y="92631"/>
                  </a:lnTo>
                  <a:lnTo>
                    <a:pt x="97590" y="132277"/>
                  </a:lnTo>
                  <a:lnTo>
                    <a:pt x="97590" y="132277"/>
                  </a:lnTo>
                  <a:close/>
                  <a:moveTo>
                    <a:pt x="149230" y="139129"/>
                  </a:moveTo>
                  <a:cubicBezTo>
                    <a:pt x="152105" y="139129"/>
                    <a:pt x="154430" y="136804"/>
                    <a:pt x="154430" y="133929"/>
                  </a:cubicBezTo>
                  <a:cubicBezTo>
                    <a:pt x="154430" y="133378"/>
                    <a:pt x="154308" y="132766"/>
                    <a:pt x="154124" y="132277"/>
                  </a:cubicBezTo>
                  <a:lnTo>
                    <a:pt x="110683" y="3549"/>
                  </a:lnTo>
                  <a:cubicBezTo>
                    <a:pt x="109949" y="1407"/>
                    <a:pt x="107991" y="0"/>
                    <a:pt x="105727" y="0"/>
                  </a:cubicBezTo>
                  <a:lnTo>
                    <a:pt x="63081" y="0"/>
                  </a:lnTo>
                  <a:cubicBezTo>
                    <a:pt x="63571" y="673"/>
                    <a:pt x="63999" y="1468"/>
                    <a:pt x="64244" y="2325"/>
                  </a:cubicBezTo>
                  <a:lnTo>
                    <a:pt x="107685" y="131053"/>
                  </a:lnTo>
                  <a:cubicBezTo>
                    <a:pt x="108664" y="133929"/>
                    <a:pt x="108113" y="136927"/>
                    <a:pt x="106523" y="139190"/>
                  </a:cubicBezTo>
                  <a:lnTo>
                    <a:pt x="149230" y="139190"/>
                  </a:lnTo>
                  <a:close/>
                  <a:moveTo>
                    <a:pt x="54210" y="3549"/>
                  </a:moveTo>
                  <a:cubicBezTo>
                    <a:pt x="53475" y="1407"/>
                    <a:pt x="51518" y="0"/>
                    <a:pt x="49254" y="0"/>
                  </a:cubicBezTo>
                  <a:lnTo>
                    <a:pt x="48703" y="0"/>
                  </a:lnTo>
                  <a:cubicBezTo>
                    <a:pt x="46439" y="0"/>
                    <a:pt x="44481" y="1407"/>
                    <a:pt x="43747" y="3549"/>
                  </a:cubicBezTo>
                  <a:lnTo>
                    <a:pt x="306" y="132277"/>
                  </a:lnTo>
                  <a:cubicBezTo>
                    <a:pt x="122" y="132828"/>
                    <a:pt x="0" y="133378"/>
                    <a:pt x="0" y="133929"/>
                  </a:cubicBezTo>
                  <a:cubicBezTo>
                    <a:pt x="0" y="136804"/>
                    <a:pt x="2325" y="139129"/>
                    <a:pt x="5201" y="139129"/>
                  </a:cubicBezTo>
                  <a:lnTo>
                    <a:pt x="40137" y="139129"/>
                  </a:lnTo>
                  <a:cubicBezTo>
                    <a:pt x="42401" y="139129"/>
                    <a:pt x="44359" y="137722"/>
                    <a:pt x="45093" y="135581"/>
                  </a:cubicBezTo>
                  <a:lnTo>
                    <a:pt x="50906" y="118388"/>
                  </a:lnTo>
                  <a:lnTo>
                    <a:pt x="34386" y="102970"/>
                  </a:lnTo>
                  <a:cubicBezTo>
                    <a:pt x="31938" y="100645"/>
                    <a:pt x="30470" y="97464"/>
                    <a:pt x="30470" y="94038"/>
                  </a:cubicBezTo>
                  <a:cubicBezTo>
                    <a:pt x="30470" y="87308"/>
                    <a:pt x="35915" y="81862"/>
                    <a:pt x="42646" y="81862"/>
                  </a:cubicBezTo>
                  <a:lnTo>
                    <a:pt x="63204" y="81862"/>
                  </a:lnTo>
                  <a:lnTo>
                    <a:pt x="71831" y="56227"/>
                  </a:lnTo>
                  <a:lnTo>
                    <a:pt x="54087" y="3610"/>
                  </a:lnTo>
                  <a:lnTo>
                    <a:pt x="54210" y="3610"/>
                  </a:lnTo>
                  <a:close/>
                </a:path>
              </a:pathLst>
            </a:custGeom>
            <a:grpFill/>
            <a:ln w="0" cap="flat">
              <a:noFill/>
              <a:prstDash val="solid"/>
              <a:miter/>
            </a:ln>
          </p:spPr>
          <p:txBody>
            <a:bodyPr rtlCol="0" anchor="ctr"/>
            <a:lstStyle/>
            <a:p>
              <a:endParaRPr lang="en-US"/>
            </a:p>
          </p:txBody>
        </p:sp>
      </p:grpSp>
      <p:grpSp>
        <p:nvGrpSpPr>
          <p:cNvPr id="173" name="Group 172">
            <a:extLst>
              <a:ext uri="{FF2B5EF4-FFF2-40B4-BE49-F238E27FC236}">
                <a16:creationId xmlns:a16="http://schemas.microsoft.com/office/drawing/2014/main" id="{E3A87300-FBAE-6001-9B5A-9D51A72A5DE8}"/>
              </a:ext>
            </a:extLst>
          </p:cNvPr>
          <p:cNvGrpSpPr/>
          <p:nvPr/>
        </p:nvGrpSpPr>
        <p:grpSpPr>
          <a:xfrm>
            <a:off x="4051346" y="1669174"/>
            <a:ext cx="6300530" cy="941618"/>
            <a:chOff x="4112077" y="1960557"/>
            <a:chExt cx="6300530" cy="941618"/>
          </a:xfrm>
        </p:grpSpPr>
        <p:sp>
          <p:nvSpPr>
            <p:cNvPr id="174" name="TextBox 173">
              <a:extLst>
                <a:ext uri="{FF2B5EF4-FFF2-40B4-BE49-F238E27FC236}">
                  <a16:creationId xmlns:a16="http://schemas.microsoft.com/office/drawing/2014/main" id="{9A41D609-9582-C297-9F59-42B2B4622142}"/>
                </a:ext>
              </a:extLst>
            </p:cNvPr>
            <p:cNvSpPr txBox="1"/>
            <p:nvPr/>
          </p:nvSpPr>
          <p:spPr>
            <a:xfrm>
              <a:off x="4112077" y="1960557"/>
              <a:ext cx="984613" cy="92333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i="0" u="none" strike="noStrike" kern="1200" cap="none" spc="0" normalizeH="0" baseline="30000" noProof="0">
                  <a:ln>
                    <a:noFill/>
                  </a:ln>
                  <a:solidFill>
                    <a:schemeClr val="accent2"/>
                  </a:solidFill>
                  <a:effectLst/>
                  <a:uLnTx/>
                  <a:uFillTx/>
                  <a:latin typeface="ES Build Full Bauhaus" pitchFamily="2" charset="77"/>
                  <a:ea typeface="ES Build Full Bauhaus" pitchFamily="2" charset="77"/>
                  <a:cs typeface="+mn-cs"/>
                </a:rPr>
                <a:t>#</a:t>
              </a:r>
              <a:r>
                <a:rPr kumimoji="0" lang="en-US" sz="5400" b="1" i="0" u="none" strike="noStrike" kern="1200" cap="none" spc="0" normalizeH="0" baseline="0" noProof="0">
                  <a:ln>
                    <a:noFill/>
                  </a:ln>
                  <a:solidFill>
                    <a:schemeClr val="accent2"/>
                  </a:solidFill>
                  <a:effectLst/>
                  <a:uLnTx/>
                  <a:uFillTx/>
                  <a:latin typeface="ES Build Full Bauhaus" pitchFamily="2" charset="77"/>
                  <a:ea typeface="ES Build Full Bauhaus" pitchFamily="2" charset="77"/>
                  <a:cs typeface="+mn-cs"/>
                </a:rPr>
                <a:t>1</a:t>
              </a:r>
            </a:p>
          </p:txBody>
        </p:sp>
        <p:sp>
          <p:nvSpPr>
            <p:cNvPr id="175" name="TextBox 174">
              <a:extLst>
                <a:ext uri="{FF2B5EF4-FFF2-40B4-BE49-F238E27FC236}">
                  <a16:creationId xmlns:a16="http://schemas.microsoft.com/office/drawing/2014/main" id="{ED3E487F-0CB2-3A68-9E59-1FF60156DAE7}"/>
                </a:ext>
              </a:extLst>
            </p:cNvPr>
            <p:cNvSpPr txBox="1"/>
            <p:nvPr/>
          </p:nvSpPr>
          <p:spPr>
            <a:xfrm>
              <a:off x="6770035" y="1960557"/>
              <a:ext cx="984613" cy="92333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i="0" u="none" strike="noStrike" kern="1200" cap="none" spc="0" normalizeH="0" baseline="30000" noProof="0">
                  <a:ln>
                    <a:noFill/>
                  </a:ln>
                  <a:solidFill>
                    <a:schemeClr val="accent2"/>
                  </a:solidFill>
                  <a:effectLst/>
                  <a:uLnTx/>
                  <a:uFillTx/>
                  <a:latin typeface="ES Build Full Bauhaus" pitchFamily="2" charset="77"/>
                  <a:ea typeface="ES Build Full Bauhaus" pitchFamily="2" charset="77"/>
                  <a:cs typeface="+mn-cs"/>
                </a:rPr>
                <a:t>#</a:t>
              </a:r>
              <a:r>
                <a:rPr kumimoji="0" lang="en-US" sz="5400" b="1" i="0" u="none" strike="noStrike" kern="1200" cap="none" spc="0" normalizeH="0" baseline="0" noProof="0">
                  <a:ln>
                    <a:noFill/>
                  </a:ln>
                  <a:solidFill>
                    <a:schemeClr val="accent2"/>
                  </a:solidFill>
                  <a:effectLst/>
                  <a:uLnTx/>
                  <a:uFillTx/>
                  <a:latin typeface="ES Build Full Bauhaus" pitchFamily="2" charset="77"/>
                  <a:ea typeface="ES Build Full Bauhaus" pitchFamily="2" charset="77"/>
                  <a:cs typeface="+mn-cs"/>
                </a:rPr>
                <a:t>1</a:t>
              </a:r>
            </a:p>
          </p:txBody>
        </p:sp>
        <p:sp>
          <p:nvSpPr>
            <p:cNvPr id="176" name="TextBox 175">
              <a:extLst>
                <a:ext uri="{FF2B5EF4-FFF2-40B4-BE49-F238E27FC236}">
                  <a16:creationId xmlns:a16="http://schemas.microsoft.com/office/drawing/2014/main" id="{0904ED26-5DAF-0C38-BB16-C8BF77590EC1}"/>
                </a:ext>
              </a:extLst>
            </p:cNvPr>
            <p:cNvSpPr txBox="1"/>
            <p:nvPr/>
          </p:nvSpPr>
          <p:spPr>
            <a:xfrm>
              <a:off x="9427994" y="1978845"/>
              <a:ext cx="984613" cy="92333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i="0" u="none" strike="noStrike" kern="1200" cap="none" spc="0" normalizeH="0" baseline="30000" noProof="0">
                  <a:ln>
                    <a:noFill/>
                  </a:ln>
                  <a:solidFill>
                    <a:schemeClr val="accent2"/>
                  </a:solidFill>
                  <a:effectLst/>
                  <a:uLnTx/>
                  <a:uFillTx/>
                  <a:latin typeface="ES Build Full Bauhaus" pitchFamily="2" charset="77"/>
                  <a:ea typeface="ES Build Full Bauhaus" pitchFamily="2" charset="77"/>
                  <a:cs typeface="+mn-cs"/>
                </a:rPr>
                <a:t>#</a:t>
              </a:r>
              <a:r>
                <a:rPr kumimoji="0" lang="en-US" sz="5400" b="1" i="0" u="none" strike="noStrike" kern="1200" cap="none" spc="0" normalizeH="0" baseline="0" noProof="0">
                  <a:ln>
                    <a:noFill/>
                  </a:ln>
                  <a:solidFill>
                    <a:schemeClr val="accent2"/>
                  </a:solidFill>
                  <a:effectLst/>
                  <a:uLnTx/>
                  <a:uFillTx/>
                  <a:latin typeface="ES Build Full Bauhaus" pitchFamily="2" charset="77"/>
                  <a:ea typeface="ES Build Full Bauhaus" pitchFamily="2" charset="77"/>
                  <a:cs typeface="+mn-cs"/>
                </a:rPr>
                <a:t>1</a:t>
              </a:r>
            </a:p>
          </p:txBody>
        </p:sp>
      </p:grpSp>
      <p:grpSp>
        <p:nvGrpSpPr>
          <p:cNvPr id="177" name="Group 176">
            <a:extLst>
              <a:ext uri="{FF2B5EF4-FFF2-40B4-BE49-F238E27FC236}">
                <a16:creationId xmlns:a16="http://schemas.microsoft.com/office/drawing/2014/main" id="{561AFA38-516E-418F-4D2B-EC79CC7C4156}"/>
              </a:ext>
            </a:extLst>
          </p:cNvPr>
          <p:cNvGrpSpPr/>
          <p:nvPr/>
        </p:nvGrpSpPr>
        <p:grpSpPr>
          <a:xfrm>
            <a:off x="4051346" y="3888387"/>
            <a:ext cx="6300530" cy="941618"/>
            <a:chOff x="4112077" y="1960557"/>
            <a:chExt cx="6300530" cy="941618"/>
          </a:xfrm>
        </p:grpSpPr>
        <p:sp>
          <p:nvSpPr>
            <p:cNvPr id="178" name="TextBox 177">
              <a:extLst>
                <a:ext uri="{FF2B5EF4-FFF2-40B4-BE49-F238E27FC236}">
                  <a16:creationId xmlns:a16="http://schemas.microsoft.com/office/drawing/2014/main" id="{872D1654-F3E7-B6A1-4A8C-0C1E9D70F8E8}"/>
                </a:ext>
              </a:extLst>
            </p:cNvPr>
            <p:cNvSpPr txBox="1"/>
            <p:nvPr/>
          </p:nvSpPr>
          <p:spPr>
            <a:xfrm>
              <a:off x="4112077" y="1960557"/>
              <a:ext cx="984613" cy="92333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i="0" u="none" strike="noStrike" kern="1200" cap="none" spc="0" normalizeH="0" baseline="30000" noProof="0">
                  <a:ln>
                    <a:noFill/>
                  </a:ln>
                  <a:solidFill>
                    <a:schemeClr val="accent2"/>
                  </a:solidFill>
                  <a:effectLst/>
                  <a:uLnTx/>
                  <a:uFillTx/>
                  <a:latin typeface="ES Build Full Bauhaus" pitchFamily="2" charset="77"/>
                  <a:ea typeface="ES Build Full Bauhaus" pitchFamily="2" charset="77"/>
                  <a:cs typeface="+mn-cs"/>
                </a:rPr>
                <a:t>#</a:t>
              </a:r>
              <a:r>
                <a:rPr kumimoji="0" lang="en-US" sz="5400" b="1" i="0" u="none" strike="noStrike" kern="1200" cap="none" spc="0" normalizeH="0" baseline="0" noProof="0">
                  <a:ln>
                    <a:noFill/>
                  </a:ln>
                  <a:solidFill>
                    <a:schemeClr val="accent2"/>
                  </a:solidFill>
                  <a:effectLst/>
                  <a:uLnTx/>
                  <a:uFillTx/>
                  <a:latin typeface="ES Build Full Bauhaus" pitchFamily="2" charset="77"/>
                  <a:ea typeface="ES Build Full Bauhaus" pitchFamily="2" charset="77"/>
                  <a:cs typeface="+mn-cs"/>
                </a:rPr>
                <a:t>1</a:t>
              </a:r>
            </a:p>
          </p:txBody>
        </p:sp>
        <p:sp>
          <p:nvSpPr>
            <p:cNvPr id="179" name="TextBox 178">
              <a:extLst>
                <a:ext uri="{FF2B5EF4-FFF2-40B4-BE49-F238E27FC236}">
                  <a16:creationId xmlns:a16="http://schemas.microsoft.com/office/drawing/2014/main" id="{70E1CD59-22AB-6276-6E5F-8FC28139D5C6}"/>
                </a:ext>
              </a:extLst>
            </p:cNvPr>
            <p:cNvSpPr txBox="1"/>
            <p:nvPr/>
          </p:nvSpPr>
          <p:spPr>
            <a:xfrm>
              <a:off x="6770035" y="1960557"/>
              <a:ext cx="984613" cy="92333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i="0" u="none" strike="noStrike" kern="1200" cap="none" spc="0" normalizeH="0" baseline="30000" noProof="0">
                  <a:ln>
                    <a:noFill/>
                  </a:ln>
                  <a:solidFill>
                    <a:schemeClr val="accent2"/>
                  </a:solidFill>
                  <a:effectLst/>
                  <a:uLnTx/>
                  <a:uFillTx/>
                  <a:latin typeface="ES Build Full Bauhaus" pitchFamily="2" charset="77"/>
                  <a:ea typeface="ES Build Full Bauhaus" pitchFamily="2" charset="77"/>
                  <a:cs typeface="+mn-cs"/>
                </a:rPr>
                <a:t>#</a:t>
              </a:r>
              <a:r>
                <a:rPr kumimoji="0" lang="en-US" sz="5400" b="1" i="0" u="none" strike="noStrike" kern="1200" cap="none" spc="0" normalizeH="0" baseline="0" noProof="0">
                  <a:ln>
                    <a:noFill/>
                  </a:ln>
                  <a:solidFill>
                    <a:schemeClr val="accent2"/>
                  </a:solidFill>
                  <a:effectLst/>
                  <a:uLnTx/>
                  <a:uFillTx/>
                  <a:latin typeface="ES Build Full Bauhaus" pitchFamily="2" charset="77"/>
                  <a:ea typeface="ES Build Full Bauhaus" pitchFamily="2" charset="77"/>
                  <a:cs typeface="+mn-cs"/>
                </a:rPr>
                <a:t>1</a:t>
              </a:r>
            </a:p>
          </p:txBody>
        </p:sp>
        <p:sp>
          <p:nvSpPr>
            <p:cNvPr id="180" name="TextBox 179">
              <a:extLst>
                <a:ext uri="{FF2B5EF4-FFF2-40B4-BE49-F238E27FC236}">
                  <a16:creationId xmlns:a16="http://schemas.microsoft.com/office/drawing/2014/main" id="{E9A417D9-E65F-7AA7-A5EB-97D0E05C1498}"/>
                </a:ext>
              </a:extLst>
            </p:cNvPr>
            <p:cNvSpPr txBox="1"/>
            <p:nvPr/>
          </p:nvSpPr>
          <p:spPr>
            <a:xfrm>
              <a:off x="9427994" y="1978845"/>
              <a:ext cx="984613" cy="92333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i="0" u="none" strike="noStrike" kern="1200" cap="none" spc="0" normalizeH="0" baseline="30000" noProof="0">
                  <a:ln>
                    <a:noFill/>
                  </a:ln>
                  <a:solidFill>
                    <a:schemeClr val="accent2"/>
                  </a:solidFill>
                  <a:effectLst/>
                  <a:uLnTx/>
                  <a:uFillTx/>
                  <a:latin typeface="ES Build Full Bauhaus" pitchFamily="2" charset="77"/>
                  <a:ea typeface="ES Build Full Bauhaus" pitchFamily="2" charset="77"/>
                  <a:cs typeface="+mn-cs"/>
                </a:rPr>
                <a:t>#</a:t>
              </a:r>
              <a:r>
                <a:rPr kumimoji="0" lang="en-US" sz="5400" b="1" i="0" u="none" strike="noStrike" kern="1200" cap="none" spc="0" normalizeH="0" baseline="0" noProof="0">
                  <a:ln>
                    <a:noFill/>
                  </a:ln>
                  <a:solidFill>
                    <a:schemeClr val="accent2"/>
                  </a:solidFill>
                  <a:effectLst/>
                  <a:uLnTx/>
                  <a:uFillTx/>
                  <a:latin typeface="ES Build Full Bauhaus" pitchFamily="2" charset="77"/>
                  <a:ea typeface="ES Build Full Bauhaus" pitchFamily="2" charset="77"/>
                  <a:cs typeface="+mn-cs"/>
                </a:rPr>
                <a:t>1</a:t>
              </a:r>
            </a:p>
          </p:txBody>
        </p:sp>
      </p:grpSp>
    </p:spTree>
    <p:extLst>
      <p:ext uri="{BB962C8B-B14F-4D97-AF65-F5344CB8AC3E}">
        <p14:creationId xmlns:p14="http://schemas.microsoft.com/office/powerpoint/2010/main" val="4147218952"/>
      </p:ext>
    </p:extLst>
  </p:cSld>
  <p:clrMapOvr>
    <a:masterClrMapping/>
  </p:clrMapOvr>
  <p:transition spd="slow">
    <p:wipe dir="u"/>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3E081B-8A09-3433-8D47-5080B63CF64F}"/>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4CF91E1C-56E6-CB94-966D-E561080E6908}"/>
              </a:ext>
            </a:extLst>
          </p:cNvPr>
          <p:cNvPicPr>
            <a:picLocks noChangeAspect="1"/>
          </p:cNvPicPr>
          <p:nvPr/>
        </p:nvPicPr>
        <p:blipFill>
          <a:blip r:embed="rId3"/>
          <a:stretch>
            <a:fillRect/>
          </a:stretch>
        </p:blipFill>
        <p:spPr>
          <a:xfrm>
            <a:off x="0" y="0"/>
            <a:ext cx="12192000" cy="6096000"/>
          </a:xfrm>
          <a:prstGeom prst="rect">
            <a:avLst/>
          </a:prstGeom>
        </p:spPr>
      </p:pic>
      <p:pic>
        <p:nvPicPr>
          <p:cNvPr id="7" name="Picture 6" descr="A qr code on a white background&#10;&#10;Description automatically generated">
            <a:extLst>
              <a:ext uri="{FF2B5EF4-FFF2-40B4-BE49-F238E27FC236}">
                <a16:creationId xmlns:a16="http://schemas.microsoft.com/office/drawing/2014/main" id="{F986853E-3A73-4014-9229-FE3C90E129FA}"/>
              </a:ext>
            </a:extLst>
          </p:cNvPr>
          <p:cNvPicPr>
            <a:picLocks noChangeAspect="1"/>
          </p:cNvPicPr>
          <p:nvPr/>
        </p:nvPicPr>
        <p:blipFill>
          <a:blip r:embed="rId4"/>
          <a:stretch>
            <a:fillRect/>
          </a:stretch>
        </p:blipFill>
        <p:spPr>
          <a:xfrm>
            <a:off x="9886135" y="949570"/>
            <a:ext cx="1913141" cy="2479430"/>
          </a:xfrm>
          <a:prstGeom prst="rect">
            <a:avLst/>
          </a:prstGeom>
        </p:spPr>
      </p:pic>
    </p:spTree>
    <p:extLst>
      <p:ext uri="{BB962C8B-B14F-4D97-AF65-F5344CB8AC3E}">
        <p14:creationId xmlns:p14="http://schemas.microsoft.com/office/powerpoint/2010/main" val="1683556024"/>
      </p:ext>
    </p:extLst>
  </p:cSld>
  <p:clrMapOvr>
    <a:masterClrMapping/>
  </p:clrMapOvr>
  <p:transition spd="slow">
    <p:wipe di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160312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CAC9AD-8F17-79B8-5C5F-262D3C1A6B3D}"/>
              </a:ext>
            </a:extLst>
          </p:cNvPr>
          <p:cNvSpPr>
            <a:spLocks noGrp="1"/>
          </p:cNvSpPr>
          <p:nvPr>
            <p:ph type="title"/>
          </p:nvPr>
        </p:nvSpPr>
        <p:spPr/>
        <p:txBody>
          <a:bodyPr/>
          <a:lstStyle/>
          <a:p>
            <a:r>
              <a:rPr lang="en-US" dirty="0"/>
              <a:t>Veeam Data Platform Packaging</a:t>
            </a:r>
          </a:p>
        </p:txBody>
      </p:sp>
    </p:spTree>
    <p:extLst>
      <p:ext uri="{BB962C8B-B14F-4D97-AF65-F5344CB8AC3E}">
        <p14:creationId xmlns:p14="http://schemas.microsoft.com/office/powerpoint/2010/main" val="35907552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5897309D-54DA-EFB9-FAE4-E328FD998E52}"/>
              </a:ext>
            </a:extLst>
          </p:cNvPr>
          <p:cNvSpPr>
            <a:spLocks noGrp="1"/>
          </p:cNvSpPr>
          <p:nvPr>
            <p:ph type="title"/>
          </p:nvPr>
        </p:nvSpPr>
        <p:spPr/>
        <p:txBody>
          <a:bodyPr/>
          <a:lstStyle/>
          <a:p>
            <a:pPr marL="0" marR="0" algn="ctr">
              <a:lnSpc>
                <a:spcPct val="107000"/>
              </a:lnSpc>
              <a:spcBef>
                <a:spcPts val="0"/>
              </a:spcBef>
              <a:spcAft>
                <a:spcPts val="800"/>
              </a:spcAft>
            </a:pPr>
            <a:r>
              <a:rPr lang="en-GB" kern="100">
                <a:effectLst/>
                <a:latin typeface="+mj-lt"/>
                <a:ea typeface="Calibri" panose="020F0502020204030204" pitchFamily="34" charset="0"/>
                <a:cs typeface="Arial" panose="020B0604020202020204" pitchFamily="34" charset="0"/>
              </a:rPr>
              <a:t>The perfect storm of complexity and threats:</a:t>
            </a:r>
            <a:endParaRPr lang="en-US" kern="100">
              <a:effectLst/>
              <a:latin typeface="+mj-lt"/>
              <a:ea typeface="Calibri" panose="020F0502020204030204" pitchFamily="34" charset="0"/>
              <a:cs typeface="Arial" panose="020B0604020202020204" pitchFamily="34" charset="0"/>
            </a:endParaRPr>
          </a:p>
        </p:txBody>
      </p:sp>
      <p:grpSp>
        <p:nvGrpSpPr>
          <p:cNvPr id="61" name="Group 60">
            <a:extLst>
              <a:ext uri="{FF2B5EF4-FFF2-40B4-BE49-F238E27FC236}">
                <a16:creationId xmlns:a16="http://schemas.microsoft.com/office/drawing/2014/main" id="{E03CEF2A-98BA-ED64-4F17-6F4439865BB5}"/>
              </a:ext>
            </a:extLst>
          </p:cNvPr>
          <p:cNvGrpSpPr/>
          <p:nvPr/>
        </p:nvGrpSpPr>
        <p:grpSpPr>
          <a:xfrm>
            <a:off x="9039805" y="5893649"/>
            <a:ext cx="2662821" cy="205998"/>
            <a:chOff x="9039805" y="5336370"/>
            <a:chExt cx="2662821" cy="205998"/>
          </a:xfrm>
        </p:grpSpPr>
        <p:sp>
          <p:nvSpPr>
            <p:cNvPr id="3" name="Left Bracket 2">
              <a:extLst>
                <a:ext uri="{FF2B5EF4-FFF2-40B4-BE49-F238E27FC236}">
                  <a16:creationId xmlns:a16="http://schemas.microsoft.com/office/drawing/2014/main" id="{325C0B5D-CD17-05AB-E896-B9FBB9465D43}"/>
                </a:ext>
              </a:extLst>
            </p:cNvPr>
            <p:cNvSpPr/>
            <p:nvPr/>
          </p:nvSpPr>
          <p:spPr>
            <a:xfrm rot="16200000">
              <a:off x="10302550" y="4073625"/>
              <a:ext cx="137332" cy="2662821"/>
            </a:xfrm>
            <a:prstGeom prst="leftBracket">
              <a:avLst>
                <a:gd name="adj" fmla="val 92384"/>
              </a:avLst>
            </a:prstGeom>
            <a:ln w="12700" cap="rnd">
              <a:solidFill>
                <a:srgbClr val="ED2B3D"/>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7" name="Up Arrow 26">
              <a:extLst>
                <a:ext uri="{FF2B5EF4-FFF2-40B4-BE49-F238E27FC236}">
                  <a16:creationId xmlns:a16="http://schemas.microsoft.com/office/drawing/2014/main" id="{757B9135-D01A-B2B0-12CF-8FE3A7B4AE55}"/>
                </a:ext>
              </a:extLst>
            </p:cNvPr>
            <p:cNvSpPr/>
            <p:nvPr/>
          </p:nvSpPr>
          <p:spPr>
            <a:xfrm rot="5400000">
              <a:off x="10296923" y="5138964"/>
              <a:ext cx="137332" cy="669476"/>
            </a:xfrm>
            <a:prstGeom prst="upArrow">
              <a:avLst>
                <a:gd name="adj1" fmla="val 10000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ED2B3D"/>
                  </a:solidFill>
                  <a:effectLst/>
                  <a:uLnTx/>
                  <a:uFillTx/>
                  <a:latin typeface="ES Build" pitchFamily="50" charset="0"/>
                  <a:ea typeface="+mn-ea"/>
                  <a:cs typeface="Microsoft Sans Serif" panose="020B0604020202020204" pitchFamily="34" charset="0"/>
                </a:rPr>
                <a:t>Threats</a:t>
              </a:r>
            </a:p>
          </p:txBody>
        </p:sp>
      </p:grpSp>
      <p:grpSp>
        <p:nvGrpSpPr>
          <p:cNvPr id="60" name="Group 59">
            <a:extLst>
              <a:ext uri="{FF2B5EF4-FFF2-40B4-BE49-F238E27FC236}">
                <a16:creationId xmlns:a16="http://schemas.microsoft.com/office/drawing/2014/main" id="{7BF27688-9E8D-A1EA-6994-0930D0D5F22D}"/>
              </a:ext>
            </a:extLst>
          </p:cNvPr>
          <p:cNvGrpSpPr/>
          <p:nvPr/>
        </p:nvGrpSpPr>
        <p:grpSpPr>
          <a:xfrm>
            <a:off x="489375" y="5896228"/>
            <a:ext cx="8353597" cy="205997"/>
            <a:chOff x="489375" y="5336370"/>
            <a:chExt cx="8353597" cy="205997"/>
          </a:xfrm>
        </p:grpSpPr>
        <p:sp>
          <p:nvSpPr>
            <p:cNvPr id="10" name="Left Bracket 9">
              <a:extLst>
                <a:ext uri="{FF2B5EF4-FFF2-40B4-BE49-F238E27FC236}">
                  <a16:creationId xmlns:a16="http://schemas.microsoft.com/office/drawing/2014/main" id="{B629FB70-3563-8A65-F09A-8C33437BC7FD}"/>
                </a:ext>
              </a:extLst>
            </p:cNvPr>
            <p:cNvSpPr/>
            <p:nvPr/>
          </p:nvSpPr>
          <p:spPr>
            <a:xfrm rot="16200000">
              <a:off x="4597508" y="1228237"/>
              <a:ext cx="137332" cy="8353597"/>
            </a:xfrm>
            <a:prstGeom prst="leftBracket">
              <a:avLst>
                <a:gd name="adj" fmla="val 92384"/>
              </a:avLst>
            </a:prstGeom>
            <a:ln w="12700" cap="rnd">
              <a:solidFill>
                <a:schemeClr val="accent6"/>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1" name="Up Arrow 50">
              <a:extLst>
                <a:ext uri="{FF2B5EF4-FFF2-40B4-BE49-F238E27FC236}">
                  <a16:creationId xmlns:a16="http://schemas.microsoft.com/office/drawing/2014/main" id="{74B0F93F-CB1B-BA73-98F7-793708AE0051}"/>
                </a:ext>
              </a:extLst>
            </p:cNvPr>
            <p:cNvSpPr/>
            <p:nvPr/>
          </p:nvSpPr>
          <p:spPr>
            <a:xfrm rot="5400000">
              <a:off x="4597509" y="4882815"/>
              <a:ext cx="137331" cy="1181774"/>
            </a:xfrm>
            <a:prstGeom prst="upArrow">
              <a:avLst>
                <a:gd name="adj1" fmla="val 10000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6"/>
                  </a:solidFill>
                  <a:effectLst/>
                  <a:uLnTx/>
                  <a:uFillTx/>
                  <a:latin typeface="ES Build" pitchFamily="50" charset="0"/>
                  <a:ea typeface="+mn-ea"/>
                  <a:cs typeface="Microsoft Sans Serif" panose="020B0604020202020204" pitchFamily="34" charset="0"/>
                </a:rPr>
                <a:t>Complexity</a:t>
              </a:r>
            </a:p>
          </p:txBody>
        </p:sp>
      </p:grpSp>
      <p:grpSp>
        <p:nvGrpSpPr>
          <p:cNvPr id="22" name="Group 21">
            <a:extLst>
              <a:ext uri="{FF2B5EF4-FFF2-40B4-BE49-F238E27FC236}">
                <a16:creationId xmlns:a16="http://schemas.microsoft.com/office/drawing/2014/main" id="{EDD61332-7638-059D-1DB9-09A6FBAF7B48}"/>
              </a:ext>
            </a:extLst>
          </p:cNvPr>
          <p:cNvGrpSpPr/>
          <p:nvPr/>
        </p:nvGrpSpPr>
        <p:grpSpPr>
          <a:xfrm>
            <a:off x="493712" y="1591203"/>
            <a:ext cx="2654234" cy="4148664"/>
            <a:chOff x="493712" y="1655322"/>
            <a:chExt cx="2654234" cy="4148664"/>
          </a:xfrm>
        </p:grpSpPr>
        <p:grpSp>
          <p:nvGrpSpPr>
            <p:cNvPr id="52" name="Group 51">
              <a:extLst>
                <a:ext uri="{FF2B5EF4-FFF2-40B4-BE49-F238E27FC236}">
                  <a16:creationId xmlns:a16="http://schemas.microsoft.com/office/drawing/2014/main" id="{1BA6429E-B02C-4415-5535-2FEA90B2FB04}"/>
                </a:ext>
              </a:extLst>
            </p:cNvPr>
            <p:cNvGrpSpPr/>
            <p:nvPr/>
          </p:nvGrpSpPr>
          <p:grpSpPr>
            <a:xfrm>
              <a:off x="493712" y="1655322"/>
              <a:ext cx="2654234" cy="4148664"/>
              <a:chOff x="3339744" y="1878359"/>
              <a:chExt cx="2654234" cy="4148664"/>
            </a:xfrm>
          </p:grpSpPr>
          <p:grpSp>
            <p:nvGrpSpPr>
              <p:cNvPr id="53" name="Group 52">
                <a:extLst>
                  <a:ext uri="{FF2B5EF4-FFF2-40B4-BE49-F238E27FC236}">
                    <a16:creationId xmlns:a16="http://schemas.microsoft.com/office/drawing/2014/main" id="{47C7EC9B-8527-99E4-B704-BFAEE96271F0}"/>
                  </a:ext>
                </a:extLst>
              </p:cNvPr>
              <p:cNvGrpSpPr/>
              <p:nvPr/>
            </p:nvGrpSpPr>
            <p:grpSpPr>
              <a:xfrm>
                <a:off x="3339744" y="1878359"/>
                <a:ext cx="2651568" cy="4148664"/>
                <a:chOff x="489714" y="1878359"/>
                <a:chExt cx="2651568" cy="4148664"/>
              </a:xfrm>
            </p:grpSpPr>
            <p:sp>
              <p:nvSpPr>
                <p:cNvPr id="56" name="Freeform 55">
                  <a:extLst>
                    <a:ext uri="{FF2B5EF4-FFF2-40B4-BE49-F238E27FC236}">
                      <a16:creationId xmlns:a16="http://schemas.microsoft.com/office/drawing/2014/main" id="{8BBE8B1E-04F5-DFCC-ECC6-F8578E38DECB}"/>
                    </a:ext>
                  </a:extLst>
                </p:cNvPr>
                <p:cNvSpPr/>
                <p:nvPr/>
              </p:nvSpPr>
              <p:spPr>
                <a:xfrm>
                  <a:off x="489714" y="1878359"/>
                  <a:ext cx="2651568" cy="234834"/>
                </a:xfrm>
                <a:custGeom>
                  <a:avLst/>
                  <a:gdLst>
                    <a:gd name="connsiteX0" fmla="*/ 82808 w 2651568"/>
                    <a:gd name="connsiteY0" fmla="*/ 0 h 234834"/>
                    <a:gd name="connsiteX1" fmla="*/ 2568760 w 2651568"/>
                    <a:gd name="connsiteY1" fmla="*/ 0 h 234834"/>
                    <a:gd name="connsiteX2" fmla="*/ 2651568 w 2651568"/>
                    <a:gd name="connsiteY2" fmla="*/ 82808 h 234834"/>
                    <a:gd name="connsiteX3" fmla="*/ 2651568 w 2651568"/>
                    <a:gd name="connsiteY3" fmla="*/ 234834 h 234834"/>
                    <a:gd name="connsiteX4" fmla="*/ 2568760 w 2651568"/>
                    <a:gd name="connsiteY4" fmla="*/ 152026 h 234834"/>
                    <a:gd name="connsiteX5" fmla="*/ 82808 w 2651568"/>
                    <a:gd name="connsiteY5" fmla="*/ 152026 h 234834"/>
                    <a:gd name="connsiteX6" fmla="*/ 0 w 2651568"/>
                    <a:gd name="connsiteY6" fmla="*/ 234834 h 234834"/>
                    <a:gd name="connsiteX7" fmla="*/ 0 w 2651568"/>
                    <a:gd name="connsiteY7" fmla="*/ 82808 h 234834"/>
                    <a:gd name="connsiteX8" fmla="*/ 82808 w 2651568"/>
                    <a:gd name="connsiteY8" fmla="*/ 0 h 234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51568" h="234834">
                      <a:moveTo>
                        <a:pt x="82808" y="0"/>
                      </a:moveTo>
                      <a:lnTo>
                        <a:pt x="2568760" y="0"/>
                      </a:lnTo>
                      <a:cubicBezTo>
                        <a:pt x="2614494" y="0"/>
                        <a:pt x="2651568" y="37074"/>
                        <a:pt x="2651568" y="82808"/>
                      </a:cubicBezTo>
                      <a:lnTo>
                        <a:pt x="2651568" y="234834"/>
                      </a:lnTo>
                      <a:cubicBezTo>
                        <a:pt x="2651568" y="189100"/>
                        <a:pt x="2614494" y="152026"/>
                        <a:pt x="2568760" y="152026"/>
                      </a:cubicBezTo>
                      <a:lnTo>
                        <a:pt x="82808" y="152026"/>
                      </a:lnTo>
                      <a:cubicBezTo>
                        <a:pt x="37074" y="152026"/>
                        <a:pt x="0" y="189100"/>
                        <a:pt x="0" y="234834"/>
                      </a:cubicBezTo>
                      <a:lnTo>
                        <a:pt x="0" y="82808"/>
                      </a:lnTo>
                      <a:cubicBezTo>
                        <a:pt x="0" y="37074"/>
                        <a:pt x="37074" y="0"/>
                        <a:pt x="82808" y="0"/>
                      </a:cubicBezTo>
                      <a:close/>
                    </a:path>
                  </a:pathLst>
                </a:custGeom>
                <a:solidFill>
                  <a:schemeClr val="accent6"/>
                </a:solidFill>
                <a:ln w="12700">
                  <a:noFill/>
                  <a:headEnd type="none" w="med" len="med"/>
                  <a:tailEnd type="none" w="med" len="med"/>
                </a:ln>
                <a:effectLst>
                  <a:outerShdw blurRad="381000" algn="ctr" rotWithShape="0">
                    <a:schemeClr val="accent1">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74320" rIns="731520" bIns="2743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6000"/>
                    </a:lnSpc>
                  </a:pPr>
                  <a:endParaRPr kumimoji="0" lang="en-US" sz="1200" b="1" i="0" u="none" strike="noStrike" kern="1200" cap="none" spc="0" normalizeH="0" baseline="0" noProof="0">
                    <a:ln>
                      <a:noFill/>
                    </a:ln>
                    <a:solidFill>
                      <a:schemeClr val="tx1"/>
                    </a:solidFill>
                    <a:effectLst/>
                    <a:uLnTx/>
                    <a:uFillTx/>
                    <a:latin typeface="ES Build Neutral"/>
                    <a:ea typeface="+mn-ea"/>
                    <a:cs typeface="+mn-cs"/>
                  </a:endParaRPr>
                </a:p>
              </p:txBody>
            </p:sp>
            <p:sp>
              <p:nvSpPr>
                <p:cNvPr id="57" name="!!1">
                  <a:extLst>
                    <a:ext uri="{FF2B5EF4-FFF2-40B4-BE49-F238E27FC236}">
                      <a16:creationId xmlns:a16="http://schemas.microsoft.com/office/drawing/2014/main" id="{7CF248D1-C43C-2668-A9BC-BCC606050B92}"/>
                    </a:ext>
                  </a:extLst>
                </p:cNvPr>
                <p:cNvSpPr/>
                <p:nvPr/>
              </p:nvSpPr>
              <p:spPr>
                <a:xfrm>
                  <a:off x="489714" y="2030384"/>
                  <a:ext cx="2651568" cy="3996639"/>
                </a:xfrm>
                <a:prstGeom prst="roundRect">
                  <a:avLst>
                    <a:gd name="adj" fmla="val 3123"/>
                  </a:avLst>
                </a:prstGeom>
                <a:solidFill>
                  <a:schemeClr val="bg1"/>
                </a:solidFill>
                <a:ln w="12700">
                  <a:noFill/>
                  <a:headEnd type="none" w="med" len="med"/>
                  <a:tailEnd type="none" w="med" len="med"/>
                </a:ln>
                <a:effectLst>
                  <a:outerShdw blurRad="381000" algn="ctr" rotWithShape="0">
                    <a:schemeClr val="accent1">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74320" rIns="731520" bIns="2743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6000"/>
                    </a:lnSpc>
                  </a:pPr>
                  <a:endParaRPr kumimoji="0" lang="en-US" sz="1200" b="1" i="0" u="none" strike="noStrike" kern="1200" cap="none" spc="0" normalizeH="0" baseline="0" noProof="0">
                    <a:ln>
                      <a:noFill/>
                    </a:ln>
                    <a:solidFill>
                      <a:schemeClr val="tx1"/>
                    </a:solidFill>
                    <a:effectLst/>
                    <a:uLnTx/>
                    <a:uFillTx/>
                    <a:latin typeface="ES Build Neutral"/>
                    <a:ea typeface="+mn-ea"/>
                    <a:cs typeface="+mn-cs"/>
                  </a:endParaRPr>
                </a:p>
              </p:txBody>
            </p:sp>
          </p:grpSp>
          <p:sp>
            <p:nvSpPr>
              <p:cNvPr id="54" name="!!2">
                <a:extLst>
                  <a:ext uri="{FF2B5EF4-FFF2-40B4-BE49-F238E27FC236}">
                    <a16:creationId xmlns:a16="http://schemas.microsoft.com/office/drawing/2014/main" id="{046478B2-3F40-3B96-A676-0DE1D68BB362}"/>
                  </a:ext>
                </a:extLst>
              </p:cNvPr>
              <p:cNvSpPr txBox="1"/>
              <p:nvPr/>
            </p:nvSpPr>
            <p:spPr>
              <a:xfrm>
                <a:off x="3342409" y="3654482"/>
                <a:ext cx="2651569" cy="646331"/>
              </a:xfrm>
              <a:prstGeom prst="rect">
                <a:avLst/>
              </a:prstGeom>
              <a:noFill/>
            </p:spPr>
            <p:txBody>
              <a:bodyPr wrap="square" rtlCol="0">
                <a:spAutoFit/>
              </a:bodyPr>
              <a:lstStyle/>
              <a:p>
                <a:pPr algn="ctr"/>
                <a:r>
                  <a:rPr lang="en-US" b="1">
                    <a:solidFill>
                      <a:schemeClr val="tx1"/>
                    </a:solidFill>
                    <a:latin typeface="ES Build Neutral"/>
                    <a:cs typeface="Microsoft Sans Serif" panose="020B0604020202020204" pitchFamily="34" charset="0"/>
                  </a:rPr>
                  <a:t>Data </a:t>
                </a:r>
              </a:p>
              <a:p>
                <a:pPr algn="ctr"/>
                <a:r>
                  <a:rPr lang="en-US" b="1">
                    <a:solidFill>
                      <a:schemeClr val="tx1"/>
                    </a:solidFill>
                    <a:latin typeface="ES Build Neutral"/>
                    <a:cs typeface="Microsoft Sans Serif" panose="020B0604020202020204" pitchFamily="34" charset="0"/>
                  </a:rPr>
                  <a:t>Explosion</a:t>
                </a:r>
              </a:p>
            </p:txBody>
          </p:sp>
          <p:pic>
            <p:nvPicPr>
              <p:cNvPr id="55" name="Graphic 23">
                <a:extLst>
                  <a:ext uri="{FF2B5EF4-FFF2-40B4-BE49-F238E27FC236}">
                    <a16:creationId xmlns:a16="http://schemas.microsoft.com/office/drawing/2014/main" id="{38C082E8-5CF6-EDF6-A1BF-8C76CCF01EAA}"/>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4116419" y="2323944"/>
                <a:ext cx="1176067" cy="1176067"/>
              </a:xfrm>
              <a:prstGeom prst="rect">
                <a:avLst/>
              </a:prstGeom>
            </p:spPr>
          </p:pic>
        </p:grpSp>
        <p:sp>
          <p:nvSpPr>
            <p:cNvPr id="2" name="!!3">
              <a:extLst>
                <a:ext uri="{FF2B5EF4-FFF2-40B4-BE49-F238E27FC236}">
                  <a16:creationId xmlns:a16="http://schemas.microsoft.com/office/drawing/2014/main" id="{53D211A3-10A6-1D09-66C1-EB6A8AEC1E00}"/>
                </a:ext>
              </a:extLst>
            </p:cNvPr>
            <p:cNvSpPr txBox="1"/>
            <p:nvPr/>
          </p:nvSpPr>
          <p:spPr>
            <a:xfrm>
              <a:off x="496377" y="4523436"/>
              <a:ext cx="2644903" cy="911788"/>
            </a:xfrm>
            <a:prstGeom prst="rect">
              <a:avLst/>
            </a:prstGeom>
            <a:noFill/>
          </p:spPr>
          <p:txBody>
            <a:bodyPr wrap="square" lIns="0" tIns="0" rIns="0" bIns="0">
              <a:spAutoFit/>
            </a:bodyPr>
            <a:lstStyle/>
            <a:p>
              <a:pPr marL="0" marR="0" lvl="0" indent="0" algn="ctr" defTabSz="914400" rtl="0" eaLnBrk="1" fontAlgn="auto" latinLnBrk="0" hangingPunct="1">
                <a:lnSpc>
                  <a:spcPct val="80000"/>
                </a:lnSpc>
                <a:spcBef>
                  <a:spcPts val="0"/>
                </a:spcBef>
                <a:buClrTx/>
                <a:buSzTx/>
                <a:buFontTx/>
                <a:buNone/>
                <a:tabLst/>
                <a:defRPr/>
              </a:pPr>
              <a:r>
                <a:rPr kumimoji="0" lang="en-US" sz="3600" b="1" i="0" u="none" strike="noStrike" kern="1200" cap="none" spc="0" normalizeH="0" baseline="0" noProof="0">
                  <a:ln>
                    <a:noFill/>
                  </a:ln>
                  <a:solidFill>
                    <a:srgbClr val="FE8A25"/>
                  </a:solidFill>
                  <a:effectLst/>
                  <a:uLnTx/>
                  <a:uFillTx/>
                  <a:latin typeface="ES Build Neutral"/>
                  <a:ea typeface="+mn-ea"/>
                  <a:cs typeface="+mn-cs"/>
                </a:rPr>
                <a:t>150</a:t>
              </a:r>
              <a:r>
                <a:rPr kumimoji="0" lang="en-US" sz="3600" b="0" i="0" u="none" strike="noStrike" kern="1200" cap="none" spc="0" normalizeH="0" baseline="30000" noProof="0">
                  <a:ln>
                    <a:noFill/>
                  </a:ln>
                  <a:solidFill>
                    <a:srgbClr val="FE8A25"/>
                  </a:solidFill>
                  <a:effectLst/>
                  <a:uLnTx/>
                  <a:uFillTx/>
                  <a:latin typeface="ES Build Neutral"/>
                  <a:ea typeface="+mn-ea"/>
                  <a:cs typeface="+mn-cs"/>
                </a:rPr>
                <a:t>+</a:t>
              </a:r>
              <a:r>
                <a:rPr kumimoji="0" lang="en-US" sz="4400" b="0" i="0" u="none" strike="noStrike" kern="1200" cap="none" spc="0" normalizeH="0" baseline="30000" noProof="0">
                  <a:ln>
                    <a:noFill/>
                  </a:ln>
                  <a:solidFill>
                    <a:srgbClr val="FE8A25"/>
                  </a:solidFill>
                  <a:effectLst/>
                  <a:uLnTx/>
                  <a:uFillTx/>
                  <a:latin typeface="ES Build Neutral"/>
                  <a:ea typeface="+mn-ea"/>
                  <a:cs typeface="+mn-cs"/>
                </a:rPr>
                <a:t> </a:t>
              </a:r>
              <a:r>
                <a:rPr kumimoji="0" lang="en-US" sz="3600" b="1" i="0" u="none" strike="noStrike" kern="1200" cap="none" spc="0" normalizeH="0" baseline="0" noProof="0">
                  <a:ln>
                    <a:noFill/>
                  </a:ln>
                  <a:solidFill>
                    <a:srgbClr val="FE8A25"/>
                  </a:solidFill>
                  <a:effectLst/>
                  <a:uLnTx/>
                  <a:uFillTx/>
                  <a:latin typeface="ES Build Neutral"/>
                  <a:ea typeface="+mn-ea"/>
                  <a:cs typeface="+mn-cs"/>
                </a:rPr>
                <a:t>ZB</a:t>
              </a:r>
            </a:p>
            <a:p>
              <a:pPr marL="0" marR="0" lvl="0" indent="0" algn="ctr" defTabSz="914400" rtl="0" eaLnBrk="1" fontAlgn="auto" latinLnBrk="0" hangingPunct="1">
                <a:lnSpc>
                  <a:spcPct val="98000"/>
                </a:lnSpc>
                <a:spcBef>
                  <a:spcPts val="0"/>
                </a:spcBef>
                <a:buClrTx/>
                <a:buSzTx/>
                <a:buFontTx/>
                <a:buNone/>
                <a:tabLst/>
                <a:defRPr/>
              </a:pPr>
              <a:endParaRPr kumimoji="0" lang="en-US" sz="300" b="0" i="0" u="none" strike="noStrike" kern="1200" cap="none" spc="0" normalizeH="0" baseline="0" noProof="0">
                <a:ln>
                  <a:noFill/>
                </a:ln>
                <a:solidFill>
                  <a:srgbClr val="505861"/>
                </a:solidFill>
                <a:effectLst/>
                <a:uLnTx/>
                <a:uFillTx/>
                <a:latin typeface="ES Build Neutral"/>
                <a:ea typeface="+mn-ea"/>
                <a:cs typeface="+mn-cs"/>
              </a:endParaRPr>
            </a:p>
            <a:p>
              <a:pPr marL="0" marR="0" lvl="0" indent="0" algn="ctr" defTabSz="914400" rtl="0" eaLnBrk="1" fontAlgn="auto" latinLnBrk="0" hangingPunct="1">
                <a:lnSpc>
                  <a:spcPct val="98000"/>
                </a:lnSpc>
                <a:spcBef>
                  <a:spcPts val="0"/>
                </a:spcBef>
                <a:buClrTx/>
                <a:buSzTx/>
                <a:buFontTx/>
                <a:buNone/>
                <a:tabLst/>
                <a:defRPr/>
              </a:pPr>
              <a:r>
                <a:rPr kumimoji="0" lang="en-US" sz="1400" b="0" i="0" u="none" strike="noStrike" kern="1200" cap="none" spc="0" normalizeH="0" baseline="0" noProof="0">
                  <a:ln>
                    <a:noFill/>
                  </a:ln>
                  <a:solidFill>
                    <a:srgbClr val="505861"/>
                  </a:solidFill>
                  <a:effectLst/>
                  <a:uLnTx/>
                  <a:uFillTx/>
                  <a:latin typeface="ES Build Neutral"/>
                  <a:ea typeface="+mn-ea"/>
                  <a:cs typeface="+mn-cs"/>
                </a:rPr>
                <a:t>created in 2024 </a:t>
              </a:r>
            </a:p>
            <a:p>
              <a:pPr marL="0" marR="0" lvl="0" indent="0" algn="ctr" defTabSz="914400" rtl="0" eaLnBrk="1" fontAlgn="auto" latinLnBrk="0" hangingPunct="1">
                <a:lnSpc>
                  <a:spcPct val="98000"/>
                </a:lnSpc>
                <a:spcBef>
                  <a:spcPts val="0"/>
                </a:spcBef>
                <a:buClrTx/>
                <a:buSzTx/>
                <a:buFontTx/>
                <a:buNone/>
                <a:tabLst/>
                <a:defRPr/>
              </a:pPr>
              <a:r>
                <a:rPr kumimoji="0" lang="en-US" sz="1400" b="1" i="0" u="none" strike="noStrike" kern="1200" cap="none" spc="0" normalizeH="0" baseline="0" noProof="0">
                  <a:ln>
                    <a:noFill/>
                  </a:ln>
                  <a:solidFill>
                    <a:srgbClr val="505861"/>
                  </a:solidFill>
                  <a:effectLst/>
                  <a:uLnTx/>
                  <a:uFillTx/>
                  <a:latin typeface="ES Build Neutral"/>
                  <a:ea typeface="+mn-ea"/>
                  <a:cs typeface="+mn-cs"/>
                </a:rPr>
                <a:t>doubling every year…</a:t>
              </a:r>
            </a:p>
          </p:txBody>
        </p:sp>
        <p:cxnSp>
          <p:nvCxnSpPr>
            <p:cNvPr id="16" name="Straight Connector 15">
              <a:extLst>
                <a:ext uri="{FF2B5EF4-FFF2-40B4-BE49-F238E27FC236}">
                  <a16:creationId xmlns:a16="http://schemas.microsoft.com/office/drawing/2014/main" id="{A892E02B-E364-B1BB-9C33-15FFC7B5C774}"/>
                </a:ext>
              </a:extLst>
            </p:cNvPr>
            <p:cNvCxnSpPr>
              <a:cxnSpLocks/>
            </p:cNvCxnSpPr>
            <p:nvPr/>
          </p:nvCxnSpPr>
          <p:spPr>
            <a:xfrm>
              <a:off x="496377" y="4240696"/>
              <a:ext cx="2651569" cy="0"/>
            </a:xfrm>
            <a:prstGeom prst="line">
              <a:avLst/>
            </a:prstGeom>
            <a:ln w="12700" cap="rnd">
              <a:solidFill>
                <a:schemeClr val="bg2"/>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grpSp>
      <p:grpSp>
        <p:nvGrpSpPr>
          <p:cNvPr id="23" name="Group 22">
            <a:extLst>
              <a:ext uri="{FF2B5EF4-FFF2-40B4-BE49-F238E27FC236}">
                <a16:creationId xmlns:a16="http://schemas.microsoft.com/office/drawing/2014/main" id="{B3104528-DEE4-903F-2BC2-AF4D1248912B}"/>
              </a:ext>
            </a:extLst>
          </p:cNvPr>
          <p:cNvGrpSpPr/>
          <p:nvPr/>
        </p:nvGrpSpPr>
        <p:grpSpPr>
          <a:xfrm>
            <a:off x="3326491" y="1595864"/>
            <a:ext cx="2667487" cy="4144002"/>
            <a:chOff x="3326491" y="1659983"/>
            <a:chExt cx="2667487" cy="4144002"/>
          </a:xfrm>
        </p:grpSpPr>
        <p:grpSp>
          <p:nvGrpSpPr>
            <p:cNvPr id="21" name="Group 20">
              <a:extLst>
                <a:ext uri="{FF2B5EF4-FFF2-40B4-BE49-F238E27FC236}">
                  <a16:creationId xmlns:a16="http://schemas.microsoft.com/office/drawing/2014/main" id="{AE5DF6F5-AD1A-EB87-F072-18DF135CC3E2}"/>
                </a:ext>
              </a:extLst>
            </p:cNvPr>
            <p:cNvGrpSpPr/>
            <p:nvPr/>
          </p:nvGrpSpPr>
          <p:grpSpPr>
            <a:xfrm>
              <a:off x="3339744" y="1659983"/>
              <a:ext cx="2654234" cy="4144002"/>
              <a:chOff x="3339744" y="1878359"/>
              <a:chExt cx="2654234" cy="4144002"/>
            </a:xfrm>
          </p:grpSpPr>
          <p:grpSp>
            <p:nvGrpSpPr>
              <p:cNvPr id="25" name="Group 24">
                <a:extLst>
                  <a:ext uri="{FF2B5EF4-FFF2-40B4-BE49-F238E27FC236}">
                    <a16:creationId xmlns:a16="http://schemas.microsoft.com/office/drawing/2014/main" id="{53737DF3-8813-D66B-610F-F560F8785AF2}"/>
                  </a:ext>
                </a:extLst>
              </p:cNvPr>
              <p:cNvGrpSpPr/>
              <p:nvPr/>
            </p:nvGrpSpPr>
            <p:grpSpPr>
              <a:xfrm>
                <a:off x="3339744" y="1878359"/>
                <a:ext cx="2651568" cy="4144002"/>
                <a:chOff x="489714" y="1878359"/>
                <a:chExt cx="2651568" cy="4144002"/>
              </a:xfrm>
            </p:grpSpPr>
            <p:sp>
              <p:nvSpPr>
                <p:cNvPr id="34" name="Freeform 33">
                  <a:extLst>
                    <a:ext uri="{FF2B5EF4-FFF2-40B4-BE49-F238E27FC236}">
                      <a16:creationId xmlns:a16="http://schemas.microsoft.com/office/drawing/2014/main" id="{B1AE5377-9C26-9DFD-1FEC-D11D440D04D9}"/>
                    </a:ext>
                  </a:extLst>
                </p:cNvPr>
                <p:cNvSpPr/>
                <p:nvPr/>
              </p:nvSpPr>
              <p:spPr>
                <a:xfrm>
                  <a:off x="489714" y="1878359"/>
                  <a:ext cx="2651568" cy="234834"/>
                </a:xfrm>
                <a:custGeom>
                  <a:avLst/>
                  <a:gdLst>
                    <a:gd name="connsiteX0" fmla="*/ 82808 w 2651568"/>
                    <a:gd name="connsiteY0" fmla="*/ 0 h 234834"/>
                    <a:gd name="connsiteX1" fmla="*/ 2568760 w 2651568"/>
                    <a:gd name="connsiteY1" fmla="*/ 0 h 234834"/>
                    <a:gd name="connsiteX2" fmla="*/ 2651568 w 2651568"/>
                    <a:gd name="connsiteY2" fmla="*/ 82808 h 234834"/>
                    <a:gd name="connsiteX3" fmla="*/ 2651568 w 2651568"/>
                    <a:gd name="connsiteY3" fmla="*/ 234834 h 234834"/>
                    <a:gd name="connsiteX4" fmla="*/ 2568760 w 2651568"/>
                    <a:gd name="connsiteY4" fmla="*/ 152026 h 234834"/>
                    <a:gd name="connsiteX5" fmla="*/ 82808 w 2651568"/>
                    <a:gd name="connsiteY5" fmla="*/ 152026 h 234834"/>
                    <a:gd name="connsiteX6" fmla="*/ 0 w 2651568"/>
                    <a:gd name="connsiteY6" fmla="*/ 234834 h 234834"/>
                    <a:gd name="connsiteX7" fmla="*/ 0 w 2651568"/>
                    <a:gd name="connsiteY7" fmla="*/ 82808 h 234834"/>
                    <a:gd name="connsiteX8" fmla="*/ 82808 w 2651568"/>
                    <a:gd name="connsiteY8" fmla="*/ 0 h 234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51568" h="234834">
                      <a:moveTo>
                        <a:pt x="82808" y="0"/>
                      </a:moveTo>
                      <a:lnTo>
                        <a:pt x="2568760" y="0"/>
                      </a:lnTo>
                      <a:cubicBezTo>
                        <a:pt x="2614494" y="0"/>
                        <a:pt x="2651568" y="37074"/>
                        <a:pt x="2651568" y="82808"/>
                      </a:cubicBezTo>
                      <a:lnTo>
                        <a:pt x="2651568" y="234834"/>
                      </a:lnTo>
                      <a:cubicBezTo>
                        <a:pt x="2651568" y="189100"/>
                        <a:pt x="2614494" y="152026"/>
                        <a:pt x="2568760" y="152026"/>
                      </a:cubicBezTo>
                      <a:lnTo>
                        <a:pt x="82808" y="152026"/>
                      </a:lnTo>
                      <a:cubicBezTo>
                        <a:pt x="37074" y="152026"/>
                        <a:pt x="0" y="189100"/>
                        <a:pt x="0" y="234834"/>
                      </a:cubicBezTo>
                      <a:lnTo>
                        <a:pt x="0" y="82808"/>
                      </a:lnTo>
                      <a:cubicBezTo>
                        <a:pt x="0" y="37074"/>
                        <a:pt x="37074" y="0"/>
                        <a:pt x="82808" y="0"/>
                      </a:cubicBezTo>
                      <a:close/>
                    </a:path>
                  </a:pathLst>
                </a:custGeom>
                <a:solidFill>
                  <a:schemeClr val="accent6"/>
                </a:solidFill>
                <a:ln w="12700">
                  <a:noFill/>
                  <a:headEnd type="none" w="med" len="med"/>
                  <a:tailEnd type="none" w="med" len="med"/>
                </a:ln>
                <a:effectLst>
                  <a:outerShdw blurRad="381000" algn="ctr" rotWithShape="0">
                    <a:schemeClr val="accent1">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74320" rIns="731520" bIns="2743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6000"/>
                    </a:lnSpc>
                  </a:pPr>
                  <a:endParaRPr kumimoji="0" lang="en-US" sz="1200" b="1" i="0" u="none" strike="noStrike" kern="1200" cap="none" spc="0" normalizeH="0" baseline="0" noProof="0">
                    <a:ln>
                      <a:noFill/>
                    </a:ln>
                    <a:solidFill>
                      <a:schemeClr val="tx1"/>
                    </a:solidFill>
                    <a:effectLst/>
                    <a:uLnTx/>
                    <a:uFillTx/>
                    <a:latin typeface="ES Build Neutral"/>
                    <a:ea typeface="+mn-ea"/>
                    <a:cs typeface="+mn-cs"/>
                  </a:endParaRPr>
                </a:p>
              </p:txBody>
            </p:sp>
            <p:sp>
              <p:nvSpPr>
                <p:cNvPr id="35" name="!!1">
                  <a:extLst>
                    <a:ext uri="{FF2B5EF4-FFF2-40B4-BE49-F238E27FC236}">
                      <a16:creationId xmlns:a16="http://schemas.microsoft.com/office/drawing/2014/main" id="{78ECE1C4-76A3-2B53-B327-6EEF5E6B0242}"/>
                    </a:ext>
                  </a:extLst>
                </p:cNvPr>
                <p:cNvSpPr/>
                <p:nvPr/>
              </p:nvSpPr>
              <p:spPr>
                <a:xfrm>
                  <a:off x="489714" y="2030384"/>
                  <a:ext cx="2651568" cy="3991977"/>
                </a:xfrm>
                <a:prstGeom prst="roundRect">
                  <a:avLst>
                    <a:gd name="adj" fmla="val 3123"/>
                  </a:avLst>
                </a:prstGeom>
                <a:solidFill>
                  <a:schemeClr val="bg1"/>
                </a:solidFill>
                <a:ln w="12700">
                  <a:noFill/>
                  <a:headEnd type="none" w="med" len="med"/>
                  <a:tailEnd type="none" w="med" len="med"/>
                </a:ln>
                <a:effectLst>
                  <a:outerShdw blurRad="381000" algn="ctr" rotWithShape="0">
                    <a:schemeClr val="accent1">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74320" rIns="731520" bIns="2743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6000"/>
                    </a:lnSpc>
                  </a:pPr>
                  <a:endParaRPr kumimoji="0" lang="en-US" sz="1200" b="1" i="0" u="none" strike="noStrike" kern="1200" cap="none" spc="0" normalizeH="0" baseline="0" noProof="0">
                    <a:ln>
                      <a:noFill/>
                    </a:ln>
                    <a:solidFill>
                      <a:schemeClr val="tx1"/>
                    </a:solidFill>
                    <a:effectLst/>
                    <a:uLnTx/>
                    <a:uFillTx/>
                    <a:latin typeface="ES Build Neutral"/>
                    <a:ea typeface="+mn-ea"/>
                    <a:cs typeface="+mn-cs"/>
                  </a:endParaRPr>
                </a:p>
              </p:txBody>
            </p:sp>
          </p:grpSp>
          <p:sp>
            <p:nvSpPr>
              <p:cNvPr id="28" name="!!2">
                <a:extLst>
                  <a:ext uri="{FF2B5EF4-FFF2-40B4-BE49-F238E27FC236}">
                    <a16:creationId xmlns:a16="http://schemas.microsoft.com/office/drawing/2014/main" id="{D9D58256-FF1D-BEDF-0E45-4A6838B23D22}"/>
                  </a:ext>
                </a:extLst>
              </p:cNvPr>
              <p:cNvSpPr txBox="1"/>
              <p:nvPr/>
            </p:nvSpPr>
            <p:spPr>
              <a:xfrm>
                <a:off x="3342409" y="3655683"/>
                <a:ext cx="2651569" cy="626903"/>
              </a:xfrm>
              <a:prstGeom prst="rect">
                <a:avLst/>
              </a:prstGeom>
              <a:noFill/>
            </p:spPr>
            <p:txBody>
              <a:bodyPr wrap="square" rtlCol="0">
                <a:spAutoFit/>
              </a:bodyPr>
              <a:lstStyle/>
              <a:p>
                <a:pPr algn="ctr">
                  <a:lnSpc>
                    <a:spcPct val="96000"/>
                  </a:lnSpc>
                </a:pPr>
                <a:r>
                  <a:rPr lang="en-US" b="1">
                    <a:solidFill>
                      <a:schemeClr val="tx1"/>
                    </a:solidFill>
                    <a:latin typeface="ES Build Neutral"/>
                    <a:cs typeface="Microsoft Sans Serif" panose="020B0604020202020204" pitchFamily="34" charset="0"/>
                  </a:rPr>
                  <a:t>Infrastructure Complexity</a:t>
                </a:r>
              </a:p>
            </p:txBody>
          </p:sp>
          <p:pic>
            <p:nvPicPr>
              <p:cNvPr id="30" name="Graphic 23">
                <a:extLst>
                  <a:ext uri="{FF2B5EF4-FFF2-40B4-BE49-F238E27FC236}">
                    <a16:creationId xmlns:a16="http://schemas.microsoft.com/office/drawing/2014/main" id="{BE51ED22-6E05-0B04-69F2-8FAA6A2B7CF3}"/>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4075287" y="2320652"/>
                <a:ext cx="1181775" cy="1181775"/>
              </a:xfrm>
              <a:prstGeom prst="rect">
                <a:avLst/>
              </a:prstGeom>
            </p:spPr>
          </p:pic>
        </p:grpSp>
        <p:sp>
          <p:nvSpPr>
            <p:cNvPr id="4" name="TextBox 3">
              <a:extLst>
                <a:ext uri="{FF2B5EF4-FFF2-40B4-BE49-F238E27FC236}">
                  <a16:creationId xmlns:a16="http://schemas.microsoft.com/office/drawing/2014/main" id="{9275C9F2-5DBE-C02D-FEAD-34B349401F27}"/>
                </a:ext>
              </a:extLst>
            </p:cNvPr>
            <p:cNvSpPr txBox="1"/>
            <p:nvPr/>
          </p:nvSpPr>
          <p:spPr>
            <a:xfrm>
              <a:off x="3654826" y="4468613"/>
              <a:ext cx="2021403" cy="965008"/>
            </a:xfrm>
            <a:prstGeom prst="rect">
              <a:avLst/>
            </a:prstGeom>
            <a:noFill/>
          </p:spPr>
          <p:txBody>
            <a:bodyPr wrap="square" lIns="0" tIns="0" rIns="0" bIns="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3600" b="1" i="0" u="none" strike="noStrike" kern="1200" cap="none" spc="0" normalizeH="0" baseline="0" noProof="0">
                  <a:ln>
                    <a:noFill/>
                  </a:ln>
                  <a:solidFill>
                    <a:srgbClr val="FE8A25"/>
                  </a:solidFill>
                  <a:effectLst/>
                  <a:uLnTx/>
                  <a:uFillTx/>
                  <a:latin typeface="ES Build Neutral"/>
                  <a:ea typeface="+mn-ea"/>
                  <a:cs typeface="+mn-cs"/>
                </a:rPr>
                <a:t>92</a:t>
              </a:r>
              <a:r>
                <a:rPr kumimoji="0" lang="en-US" sz="3600" b="0" i="0" u="none" strike="noStrike" kern="1200" cap="none" spc="0" normalizeH="0" baseline="30000" noProof="0">
                  <a:ln>
                    <a:noFill/>
                  </a:ln>
                  <a:solidFill>
                    <a:srgbClr val="FE8A25"/>
                  </a:solidFill>
                  <a:effectLst/>
                  <a:uLnTx/>
                  <a:uFillTx/>
                  <a:latin typeface="ES Build Neutral"/>
                  <a:ea typeface="+mn-ea"/>
                  <a:cs typeface="+mn-cs"/>
                </a:rPr>
                <a:t>%</a:t>
              </a:r>
              <a:r>
                <a:rPr kumimoji="0" lang="en-US" sz="4400" b="1" i="0" u="none" strike="noStrike" kern="1200" cap="none" spc="0" normalizeH="0" baseline="0" noProof="0">
                  <a:ln>
                    <a:noFill/>
                  </a:ln>
                  <a:solidFill>
                    <a:srgbClr val="FE8A25"/>
                  </a:solidFill>
                  <a:effectLst/>
                  <a:uLnTx/>
                  <a:uFillTx/>
                  <a:latin typeface="ES Build Neutral"/>
                  <a:ea typeface="+mn-ea"/>
                  <a:cs typeface="+mn-cs"/>
                </a:rPr>
                <a:t> </a:t>
              </a:r>
            </a:p>
            <a:p>
              <a:pPr marL="0" marR="0" lvl="0" indent="0" algn="ctr" defTabSz="914400" rtl="0" eaLnBrk="1" fontAlgn="auto" latinLnBrk="0" hangingPunct="1">
                <a:lnSpc>
                  <a:spcPct val="98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5861"/>
                  </a:solidFill>
                  <a:effectLst/>
                  <a:uLnTx/>
                  <a:uFillTx/>
                  <a:latin typeface="ES Build Neutral"/>
                  <a:ea typeface="+mn-ea"/>
                  <a:cs typeface="+mn-cs"/>
                </a:rPr>
                <a:t>Enterprises have a multi-cloud strategy</a:t>
              </a:r>
              <a:endParaRPr kumimoji="0" lang="en-US" sz="1400" b="0" i="0" u="none" strike="noStrike" kern="1200" cap="none" spc="0" normalizeH="0" baseline="30000" noProof="0">
                <a:ln>
                  <a:noFill/>
                </a:ln>
                <a:solidFill>
                  <a:srgbClr val="505861"/>
                </a:solidFill>
                <a:effectLst/>
                <a:uLnTx/>
                <a:uFillTx/>
                <a:latin typeface="ES Build Neutral"/>
                <a:ea typeface="+mn-ea"/>
                <a:cs typeface="+mn-cs"/>
              </a:endParaRPr>
            </a:p>
          </p:txBody>
        </p:sp>
        <p:cxnSp>
          <p:nvCxnSpPr>
            <p:cNvPr id="18" name="Straight Connector 17">
              <a:extLst>
                <a:ext uri="{FF2B5EF4-FFF2-40B4-BE49-F238E27FC236}">
                  <a16:creationId xmlns:a16="http://schemas.microsoft.com/office/drawing/2014/main" id="{EE8B06EC-C37E-A7C6-EA8A-FB263BC1A202}"/>
                </a:ext>
              </a:extLst>
            </p:cNvPr>
            <p:cNvCxnSpPr>
              <a:cxnSpLocks/>
            </p:cNvCxnSpPr>
            <p:nvPr/>
          </p:nvCxnSpPr>
          <p:spPr>
            <a:xfrm>
              <a:off x="3326491" y="4240696"/>
              <a:ext cx="2651569" cy="0"/>
            </a:xfrm>
            <a:prstGeom prst="line">
              <a:avLst/>
            </a:prstGeom>
            <a:ln w="12700" cap="rnd">
              <a:solidFill>
                <a:schemeClr val="bg2"/>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0FDCCCDA-715C-F633-DD8C-1A191B951C19}"/>
              </a:ext>
            </a:extLst>
          </p:cNvPr>
          <p:cNvGrpSpPr/>
          <p:nvPr/>
        </p:nvGrpSpPr>
        <p:grpSpPr>
          <a:xfrm>
            <a:off x="6121059" y="1595864"/>
            <a:ext cx="2716285" cy="4144002"/>
            <a:chOff x="6121059" y="1659983"/>
            <a:chExt cx="2716285" cy="4144002"/>
          </a:xfrm>
        </p:grpSpPr>
        <p:grpSp>
          <p:nvGrpSpPr>
            <p:cNvPr id="36" name="Group 35">
              <a:extLst>
                <a:ext uri="{FF2B5EF4-FFF2-40B4-BE49-F238E27FC236}">
                  <a16:creationId xmlns:a16="http://schemas.microsoft.com/office/drawing/2014/main" id="{7517DE2F-96B6-8501-D8E9-79563E63D9B9}"/>
                </a:ext>
              </a:extLst>
            </p:cNvPr>
            <p:cNvGrpSpPr/>
            <p:nvPr/>
          </p:nvGrpSpPr>
          <p:grpSpPr>
            <a:xfrm>
              <a:off x="6121059" y="1659983"/>
              <a:ext cx="2716285" cy="4144002"/>
              <a:chOff x="3275027" y="1878359"/>
              <a:chExt cx="2716285" cy="4144002"/>
            </a:xfrm>
          </p:grpSpPr>
          <p:grpSp>
            <p:nvGrpSpPr>
              <p:cNvPr id="37" name="Group 36">
                <a:extLst>
                  <a:ext uri="{FF2B5EF4-FFF2-40B4-BE49-F238E27FC236}">
                    <a16:creationId xmlns:a16="http://schemas.microsoft.com/office/drawing/2014/main" id="{F6C742E2-03DD-7077-9AE8-C5B38B7A6E27}"/>
                  </a:ext>
                </a:extLst>
              </p:cNvPr>
              <p:cNvGrpSpPr/>
              <p:nvPr/>
            </p:nvGrpSpPr>
            <p:grpSpPr>
              <a:xfrm>
                <a:off x="3339744" y="1878359"/>
                <a:ext cx="2651568" cy="4144002"/>
                <a:chOff x="489714" y="1878359"/>
                <a:chExt cx="2651568" cy="4144002"/>
              </a:xfrm>
            </p:grpSpPr>
            <p:sp>
              <p:nvSpPr>
                <p:cNvPr id="41" name="Freeform 40">
                  <a:extLst>
                    <a:ext uri="{FF2B5EF4-FFF2-40B4-BE49-F238E27FC236}">
                      <a16:creationId xmlns:a16="http://schemas.microsoft.com/office/drawing/2014/main" id="{33A8B7EB-FD72-DB6F-D2E8-D30123069B85}"/>
                    </a:ext>
                  </a:extLst>
                </p:cNvPr>
                <p:cNvSpPr/>
                <p:nvPr/>
              </p:nvSpPr>
              <p:spPr>
                <a:xfrm>
                  <a:off x="489714" y="1878359"/>
                  <a:ext cx="2651568" cy="234834"/>
                </a:xfrm>
                <a:custGeom>
                  <a:avLst/>
                  <a:gdLst>
                    <a:gd name="connsiteX0" fmla="*/ 82808 w 2651568"/>
                    <a:gd name="connsiteY0" fmla="*/ 0 h 234834"/>
                    <a:gd name="connsiteX1" fmla="*/ 2568760 w 2651568"/>
                    <a:gd name="connsiteY1" fmla="*/ 0 h 234834"/>
                    <a:gd name="connsiteX2" fmla="*/ 2651568 w 2651568"/>
                    <a:gd name="connsiteY2" fmla="*/ 82808 h 234834"/>
                    <a:gd name="connsiteX3" fmla="*/ 2651568 w 2651568"/>
                    <a:gd name="connsiteY3" fmla="*/ 234834 h 234834"/>
                    <a:gd name="connsiteX4" fmla="*/ 2568760 w 2651568"/>
                    <a:gd name="connsiteY4" fmla="*/ 152026 h 234834"/>
                    <a:gd name="connsiteX5" fmla="*/ 82808 w 2651568"/>
                    <a:gd name="connsiteY5" fmla="*/ 152026 h 234834"/>
                    <a:gd name="connsiteX6" fmla="*/ 0 w 2651568"/>
                    <a:gd name="connsiteY6" fmla="*/ 234834 h 234834"/>
                    <a:gd name="connsiteX7" fmla="*/ 0 w 2651568"/>
                    <a:gd name="connsiteY7" fmla="*/ 82808 h 234834"/>
                    <a:gd name="connsiteX8" fmla="*/ 82808 w 2651568"/>
                    <a:gd name="connsiteY8" fmla="*/ 0 h 234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51568" h="234834">
                      <a:moveTo>
                        <a:pt x="82808" y="0"/>
                      </a:moveTo>
                      <a:lnTo>
                        <a:pt x="2568760" y="0"/>
                      </a:lnTo>
                      <a:cubicBezTo>
                        <a:pt x="2614494" y="0"/>
                        <a:pt x="2651568" y="37074"/>
                        <a:pt x="2651568" y="82808"/>
                      </a:cubicBezTo>
                      <a:lnTo>
                        <a:pt x="2651568" y="234834"/>
                      </a:lnTo>
                      <a:cubicBezTo>
                        <a:pt x="2651568" y="189100"/>
                        <a:pt x="2614494" y="152026"/>
                        <a:pt x="2568760" y="152026"/>
                      </a:cubicBezTo>
                      <a:lnTo>
                        <a:pt x="82808" y="152026"/>
                      </a:lnTo>
                      <a:cubicBezTo>
                        <a:pt x="37074" y="152026"/>
                        <a:pt x="0" y="189100"/>
                        <a:pt x="0" y="234834"/>
                      </a:cubicBezTo>
                      <a:lnTo>
                        <a:pt x="0" y="82808"/>
                      </a:lnTo>
                      <a:cubicBezTo>
                        <a:pt x="0" y="37074"/>
                        <a:pt x="37074" y="0"/>
                        <a:pt x="82808" y="0"/>
                      </a:cubicBezTo>
                      <a:close/>
                    </a:path>
                  </a:pathLst>
                </a:custGeom>
                <a:solidFill>
                  <a:schemeClr val="accent6"/>
                </a:solidFill>
                <a:ln w="12700">
                  <a:noFill/>
                  <a:headEnd type="none" w="med" len="med"/>
                  <a:tailEnd type="none" w="med" len="med"/>
                </a:ln>
                <a:effectLst>
                  <a:outerShdw blurRad="381000" algn="ctr" rotWithShape="0">
                    <a:schemeClr val="accent1">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74320" rIns="731520" bIns="2743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6000"/>
                    </a:lnSpc>
                  </a:pPr>
                  <a:endParaRPr kumimoji="0" lang="en-US" sz="1200" b="1" i="0" u="none" strike="noStrike" kern="1200" cap="none" spc="0" normalizeH="0" baseline="0" noProof="0">
                    <a:ln>
                      <a:noFill/>
                    </a:ln>
                    <a:solidFill>
                      <a:schemeClr val="tx1"/>
                    </a:solidFill>
                    <a:effectLst/>
                    <a:uLnTx/>
                    <a:uFillTx/>
                    <a:latin typeface="ES Build Neutral"/>
                    <a:ea typeface="+mn-ea"/>
                    <a:cs typeface="+mn-cs"/>
                  </a:endParaRPr>
                </a:p>
              </p:txBody>
            </p:sp>
            <p:sp>
              <p:nvSpPr>
                <p:cNvPr id="43" name="!!1">
                  <a:extLst>
                    <a:ext uri="{FF2B5EF4-FFF2-40B4-BE49-F238E27FC236}">
                      <a16:creationId xmlns:a16="http://schemas.microsoft.com/office/drawing/2014/main" id="{B854B6F4-80D0-F8F0-59B1-0436393A5E45}"/>
                    </a:ext>
                  </a:extLst>
                </p:cNvPr>
                <p:cNvSpPr/>
                <p:nvPr/>
              </p:nvSpPr>
              <p:spPr>
                <a:xfrm>
                  <a:off x="489714" y="2030385"/>
                  <a:ext cx="2651568" cy="3991976"/>
                </a:xfrm>
                <a:prstGeom prst="roundRect">
                  <a:avLst>
                    <a:gd name="adj" fmla="val 3123"/>
                  </a:avLst>
                </a:prstGeom>
                <a:solidFill>
                  <a:schemeClr val="bg1"/>
                </a:solidFill>
                <a:ln w="12700">
                  <a:noFill/>
                  <a:headEnd type="none" w="med" len="med"/>
                  <a:tailEnd type="none" w="med" len="med"/>
                </a:ln>
                <a:effectLst>
                  <a:outerShdw blurRad="381000" algn="ctr" rotWithShape="0">
                    <a:schemeClr val="accent1">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74320" rIns="731520" bIns="2743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6000"/>
                    </a:lnSpc>
                  </a:pPr>
                  <a:endParaRPr kumimoji="0" lang="en-US" sz="1200" b="1" i="0" u="none" strike="noStrike" kern="1200" cap="none" spc="0" normalizeH="0" baseline="0" noProof="0">
                    <a:ln>
                      <a:noFill/>
                    </a:ln>
                    <a:solidFill>
                      <a:schemeClr val="tx1"/>
                    </a:solidFill>
                    <a:effectLst/>
                    <a:uLnTx/>
                    <a:uFillTx/>
                    <a:latin typeface="ES Build Neutral"/>
                    <a:ea typeface="+mn-ea"/>
                    <a:cs typeface="+mn-cs"/>
                  </a:endParaRPr>
                </a:p>
              </p:txBody>
            </p:sp>
          </p:grpSp>
          <p:sp>
            <p:nvSpPr>
              <p:cNvPr id="39" name="!!2">
                <a:extLst>
                  <a:ext uri="{FF2B5EF4-FFF2-40B4-BE49-F238E27FC236}">
                    <a16:creationId xmlns:a16="http://schemas.microsoft.com/office/drawing/2014/main" id="{D4F30EA8-E918-F08D-79D1-720A5052452E}"/>
                  </a:ext>
                </a:extLst>
              </p:cNvPr>
              <p:cNvSpPr txBox="1"/>
              <p:nvPr/>
            </p:nvSpPr>
            <p:spPr>
              <a:xfrm>
                <a:off x="3275027" y="3655683"/>
                <a:ext cx="2651569" cy="626903"/>
              </a:xfrm>
              <a:prstGeom prst="rect">
                <a:avLst/>
              </a:prstGeom>
              <a:noFill/>
            </p:spPr>
            <p:txBody>
              <a:bodyPr wrap="square" rtlCol="0">
                <a:spAutoFit/>
              </a:bodyPr>
              <a:lstStyle/>
              <a:p>
                <a:pPr algn="ctr">
                  <a:lnSpc>
                    <a:spcPct val="96000"/>
                  </a:lnSpc>
                </a:pPr>
                <a:r>
                  <a:rPr lang="en-US" b="1">
                    <a:solidFill>
                      <a:schemeClr val="tx1"/>
                    </a:solidFill>
                    <a:latin typeface="ES Build Neutral"/>
                    <a:cs typeface="Microsoft Sans Serif" panose="020B0604020202020204" pitchFamily="34" charset="0"/>
                  </a:rPr>
                  <a:t>Vendor </a:t>
                </a:r>
              </a:p>
              <a:p>
                <a:pPr algn="ctr">
                  <a:lnSpc>
                    <a:spcPct val="96000"/>
                  </a:lnSpc>
                </a:pPr>
                <a:r>
                  <a:rPr lang="en-US" b="1">
                    <a:solidFill>
                      <a:schemeClr val="tx1"/>
                    </a:solidFill>
                    <a:latin typeface="ES Build Neutral"/>
                    <a:cs typeface="Microsoft Sans Serif" panose="020B0604020202020204" pitchFamily="34" charset="0"/>
                  </a:rPr>
                  <a:t>Lock-In</a:t>
                </a:r>
              </a:p>
            </p:txBody>
          </p:sp>
          <p:pic>
            <p:nvPicPr>
              <p:cNvPr id="40" name="Graphic 23">
                <a:extLst>
                  <a:ext uri="{FF2B5EF4-FFF2-40B4-BE49-F238E27FC236}">
                    <a16:creationId xmlns:a16="http://schemas.microsoft.com/office/drawing/2014/main" id="{9C28102A-A52A-F29A-568B-3B63A448E800}"/>
                  </a:ext>
                </a:extLst>
              </p:cNvPr>
              <p:cNvPicPr preferRelativeResize="0">
                <a:picLocks noChangeAspect="1"/>
              </p:cNvPicPr>
              <p:nvPr/>
            </p:nvPicPr>
            <p:blipFill>
              <a:blip r:embed="rId7">
                <a:extLst>
                  <a:ext uri="{96DAC541-7B7A-43D3-8B79-37D633B846F1}">
                    <asvg:svgBlip xmlns:asvg="http://schemas.microsoft.com/office/drawing/2016/SVG/main" r:embed="rId8"/>
                  </a:ext>
                </a:extLst>
              </a:blip>
              <a:srcRect/>
              <a:stretch/>
            </p:blipFill>
            <p:spPr>
              <a:xfrm>
                <a:off x="4088168" y="2320653"/>
                <a:ext cx="1176068" cy="1176068"/>
              </a:xfrm>
              <a:prstGeom prst="rect">
                <a:avLst/>
              </a:prstGeom>
            </p:spPr>
          </p:pic>
        </p:grpSp>
        <p:sp>
          <p:nvSpPr>
            <p:cNvPr id="5" name="TextBox 4">
              <a:extLst>
                <a:ext uri="{FF2B5EF4-FFF2-40B4-BE49-F238E27FC236}">
                  <a16:creationId xmlns:a16="http://schemas.microsoft.com/office/drawing/2014/main" id="{BE8F5F55-5DD8-9F51-773B-D0CBD7E93746}"/>
                </a:ext>
              </a:extLst>
            </p:cNvPr>
            <p:cNvSpPr txBox="1"/>
            <p:nvPr/>
          </p:nvSpPr>
          <p:spPr>
            <a:xfrm>
              <a:off x="6185776" y="4534129"/>
              <a:ext cx="2651568" cy="658642"/>
            </a:xfrm>
            <a:prstGeom prst="rect">
              <a:avLst/>
            </a:prstGeom>
            <a:noFill/>
          </p:spPr>
          <p:txBody>
            <a:bodyPr wrap="square" lIns="0" tIns="0" rIns="0" bIns="0">
              <a:spAutoFit/>
            </a:bodyPr>
            <a:lstStyle/>
            <a:p>
              <a:pPr marL="0" marR="0" lvl="0" indent="0" algn="ctr" defTabSz="914400" rtl="0" eaLnBrk="1" fontAlgn="auto" latinLnBrk="0" hangingPunct="1">
                <a:lnSpc>
                  <a:spcPct val="80000"/>
                </a:lnSpc>
                <a:buClrTx/>
                <a:buSzTx/>
                <a:buFontTx/>
                <a:buNone/>
                <a:tabLst/>
                <a:defRPr/>
              </a:pPr>
              <a:r>
                <a:rPr kumimoji="0" lang="en-US" sz="1400" b="1" i="0" u="none" strike="noStrike" kern="1200" cap="none" spc="0" normalizeH="0" baseline="0" noProof="0">
                  <a:ln>
                    <a:noFill/>
                  </a:ln>
                  <a:solidFill>
                    <a:schemeClr val="accent6"/>
                  </a:solidFill>
                  <a:effectLst/>
                  <a:uLnTx/>
                  <a:uFillTx/>
                  <a:latin typeface="ES Build Neutral"/>
                  <a:ea typeface="+mn-ea"/>
                  <a:cs typeface="+mn-cs"/>
                </a:rPr>
                <a:t>Every</a:t>
              </a:r>
              <a:r>
                <a:rPr kumimoji="0" lang="en-US" sz="3600" b="1" i="0" u="none" strike="noStrike" kern="1200" cap="none" spc="0" normalizeH="0" baseline="0" noProof="0">
                  <a:ln>
                    <a:noFill/>
                  </a:ln>
                  <a:solidFill>
                    <a:srgbClr val="FE8A25"/>
                  </a:solidFill>
                  <a:effectLst/>
                  <a:uLnTx/>
                  <a:uFillTx/>
                  <a:latin typeface="ES Build Neutral"/>
                  <a:ea typeface="+mn-ea"/>
                  <a:cs typeface="+mn-cs"/>
                </a:rPr>
                <a:t> 3 Years</a:t>
              </a:r>
            </a:p>
            <a:p>
              <a:pPr algn="ctr"/>
              <a:r>
                <a:rPr lang="en-US" sz="1400">
                  <a:effectLst/>
                  <a:latin typeface="Helvetica Neue" panose="02000503000000020004" pitchFamily="2" charset="0"/>
                </a:rPr>
                <a:t>IT Hardware Refresh </a:t>
              </a:r>
            </a:p>
          </p:txBody>
        </p:sp>
        <p:cxnSp>
          <p:nvCxnSpPr>
            <p:cNvPr id="19" name="Straight Connector 18">
              <a:extLst>
                <a:ext uri="{FF2B5EF4-FFF2-40B4-BE49-F238E27FC236}">
                  <a16:creationId xmlns:a16="http://schemas.microsoft.com/office/drawing/2014/main" id="{60236E7D-C783-66C5-3E45-E9CD1C4E20B7}"/>
                </a:ext>
              </a:extLst>
            </p:cNvPr>
            <p:cNvCxnSpPr>
              <a:cxnSpLocks/>
            </p:cNvCxnSpPr>
            <p:nvPr/>
          </p:nvCxnSpPr>
          <p:spPr>
            <a:xfrm>
              <a:off x="6185775" y="4240696"/>
              <a:ext cx="2651569" cy="0"/>
            </a:xfrm>
            <a:prstGeom prst="line">
              <a:avLst/>
            </a:prstGeom>
            <a:ln w="12700" cap="rnd">
              <a:solidFill>
                <a:schemeClr val="bg2"/>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561BDF47-8BE8-C44E-44EE-80C95CC0EE40}"/>
              </a:ext>
            </a:extLst>
          </p:cNvPr>
          <p:cNvGrpSpPr/>
          <p:nvPr/>
        </p:nvGrpSpPr>
        <p:grpSpPr>
          <a:xfrm>
            <a:off x="9035807" y="1595594"/>
            <a:ext cx="2666820" cy="4144000"/>
            <a:chOff x="9035807" y="1659713"/>
            <a:chExt cx="2666820" cy="4144000"/>
          </a:xfrm>
        </p:grpSpPr>
        <p:grpSp>
          <p:nvGrpSpPr>
            <p:cNvPr id="44" name="Group 43">
              <a:extLst>
                <a:ext uri="{FF2B5EF4-FFF2-40B4-BE49-F238E27FC236}">
                  <a16:creationId xmlns:a16="http://schemas.microsoft.com/office/drawing/2014/main" id="{3B96F281-1864-4A32-F79E-8CE8C48EC951}"/>
                </a:ext>
              </a:extLst>
            </p:cNvPr>
            <p:cNvGrpSpPr/>
            <p:nvPr/>
          </p:nvGrpSpPr>
          <p:grpSpPr>
            <a:xfrm>
              <a:off x="9035807" y="1659713"/>
              <a:ext cx="2666820" cy="4144000"/>
              <a:chOff x="3339744" y="1878359"/>
              <a:chExt cx="2666820" cy="4144000"/>
            </a:xfrm>
          </p:grpSpPr>
          <p:grpSp>
            <p:nvGrpSpPr>
              <p:cNvPr id="45" name="Group 44">
                <a:extLst>
                  <a:ext uri="{FF2B5EF4-FFF2-40B4-BE49-F238E27FC236}">
                    <a16:creationId xmlns:a16="http://schemas.microsoft.com/office/drawing/2014/main" id="{62A4AC92-2CB1-B28C-F6C4-19EA7A33C2AA}"/>
                  </a:ext>
                </a:extLst>
              </p:cNvPr>
              <p:cNvGrpSpPr/>
              <p:nvPr/>
            </p:nvGrpSpPr>
            <p:grpSpPr>
              <a:xfrm>
                <a:off x="3339744" y="1878359"/>
                <a:ext cx="2651568" cy="4144000"/>
                <a:chOff x="489714" y="1878359"/>
                <a:chExt cx="2651568" cy="4144000"/>
              </a:xfrm>
            </p:grpSpPr>
            <p:sp>
              <p:nvSpPr>
                <p:cNvPr id="49" name="Freeform 48">
                  <a:extLst>
                    <a:ext uri="{FF2B5EF4-FFF2-40B4-BE49-F238E27FC236}">
                      <a16:creationId xmlns:a16="http://schemas.microsoft.com/office/drawing/2014/main" id="{B8A27360-4AF7-ABC7-5EE5-600C70CA5818}"/>
                    </a:ext>
                  </a:extLst>
                </p:cNvPr>
                <p:cNvSpPr/>
                <p:nvPr/>
              </p:nvSpPr>
              <p:spPr>
                <a:xfrm>
                  <a:off x="489714" y="1878359"/>
                  <a:ext cx="2651568" cy="234834"/>
                </a:xfrm>
                <a:custGeom>
                  <a:avLst/>
                  <a:gdLst>
                    <a:gd name="connsiteX0" fmla="*/ 82808 w 2651568"/>
                    <a:gd name="connsiteY0" fmla="*/ 0 h 234834"/>
                    <a:gd name="connsiteX1" fmla="*/ 2568760 w 2651568"/>
                    <a:gd name="connsiteY1" fmla="*/ 0 h 234834"/>
                    <a:gd name="connsiteX2" fmla="*/ 2651568 w 2651568"/>
                    <a:gd name="connsiteY2" fmla="*/ 82808 h 234834"/>
                    <a:gd name="connsiteX3" fmla="*/ 2651568 w 2651568"/>
                    <a:gd name="connsiteY3" fmla="*/ 234834 h 234834"/>
                    <a:gd name="connsiteX4" fmla="*/ 2568760 w 2651568"/>
                    <a:gd name="connsiteY4" fmla="*/ 152026 h 234834"/>
                    <a:gd name="connsiteX5" fmla="*/ 82808 w 2651568"/>
                    <a:gd name="connsiteY5" fmla="*/ 152026 h 234834"/>
                    <a:gd name="connsiteX6" fmla="*/ 0 w 2651568"/>
                    <a:gd name="connsiteY6" fmla="*/ 234834 h 234834"/>
                    <a:gd name="connsiteX7" fmla="*/ 0 w 2651568"/>
                    <a:gd name="connsiteY7" fmla="*/ 82808 h 234834"/>
                    <a:gd name="connsiteX8" fmla="*/ 82808 w 2651568"/>
                    <a:gd name="connsiteY8" fmla="*/ 0 h 234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51568" h="234834">
                      <a:moveTo>
                        <a:pt x="82808" y="0"/>
                      </a:moveTo>
                      <a:lnTo>
                        <a:pt x="2568760" y="0"/>
                      </a:lnTo>
                      <a:cubicBezTo>
                        <a:pt x="2614494" y="0"/>
                        <a:pt x="2651568" y="37074"/>
                        <a:pt x="2651568" y="82808"/>
                      </a:cubicBezTo>
                      <a:lnTo>
                        <a:pt x="2651568" y="234834"/>
                      </a:lnTo>
                      <a:cubicBezTo>
                        <a:pt x="2651568" y="189100"/>
                        <a:pt x="2614494" y="152026"/>
                        <a:pt x="2568760" y="152026"/>
                      </a:cubicBezTo>
                      <a:lnTo>
                        <a:pt x="82808" y="152026"/>
                      </a:lnTo>
                      <a:cubicBezTo>
                        <a:pt x="37074" y="152026"/>
                        <a:pt x="0" y="189100"/>
                        <a:pt x="0" y="234834"/>
                      </a:cubicBezTo>
                      <a:lnTo>
                        <a:pt x="0" y="82808"/>
                      </a:lnTo>
                      <a:cubicBezTo>
                        <a:pt x="0" y="37074"/>
                        <a:pt x="37074" y="0"/>
                        <a:pt x="82808" y="0"/>
                      </a:cubicBezTo>
                      <a:close/>
                    </a:path>
                  </a:pathLst>
                </a:custGeom>
                <a:solidFill>
                  <a:srgbClr val="ED2B3D"/>
                </a:solidFill>
                <a:ln w="12700">
                  <a:noFill/>
                  <a:headEnd type="none" w="med" len="med"/>
                  <a:tailEnd type="none" w="med" len="med"/>
                </a:ln>
                <a:effectLst>
                  <a:outerShdw blurRad="381000" algn="ctr" rotWithShape="0">
                    <a:schemeClr val="accent1">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74320" rIns="731520" bIns="2743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6000"/>
                    </a:lnSpc>
                  </a:pPr>
                  <a:endParaRPr kumimoji="0" lang="en-US" sz="1200" b="1" i="0" u="none" strike="noStrike" kern="1200" cap="none" spc="0" normalizeH="0" baseline="0" noProof="0">
                    <a:ln>
                      <a:noFill/>
                    </a:ln>
                    <a:solidFill>
                      <a:schemeClr val="tx1"/>
                    </a:solidFill>
                    <a:effectLst/>
                    <a:uLnTx/>
                    <a:uFillTx/>
                    <a:latin typeface="ES Build Neutral"/>
                    <a:ea typeface="+mn-ea"/>
                    <a:cs typeface="+mn-cs"/>
                  </a:endParaRPr>
                </a:p>
              </p:txBody>
            </p:sp>
            <p:sp>
              <p:nvSpPr>
                <p:cNvPr id="50" name="!!1">
                  <a:extLst>
                    <a:ext uri="{FF2B5EF4-FFF2-40B4-BE49-F238E27FC236}">
                      <a16:creationId xmlns:a16="http://schemas.microsoft.com/office/drawing/2014/main" id="{05270903-001C-CE5E-5AE9-BD5E711B08F1}"/>
                    </a:ext>
                  </a:extLst>
                </p:cNvPr>
                <p:cNvSpPr/>
                <p:nvPr/>
              </p:nvSpPr>
              <p:spPr>
                <a:xfrm>
                  <a:off x="489714" y="2030384"/>
                  <a:ext cx="2651568" cy="3991975"/>
                </a:xfrm>
                <a:prstGeom prst="roundRect">
                  <a:avLst>
                    <a:gd name="adj" fmla="val 3123"/>
                  </a:avLst>
                </a:prstGeom>
                <a:solidFill>
                  <a:schemeClr val="bg1"/>
                </a:solidFill>
                <a:ln w="12700">
                  <a:noFill/>
                  <a:headEnd type="none" w="med" len="med"/>
                  <a:tailEnd type="none" w="med" len="med"/>
                </a:ln>
                <a:effectLst>
                  <a:outerShdw blurRad="381000" algn="ctr" rotWithShape="0">
                    <a:schemeClr val="accent1">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74320" rIns="731520" bIns="2743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6000"/>
                    </a:lnSpc>
                  </a:pPr>
                  <a:endParaRPr kumimoji="0" lang="en-US" sz="1200" b="1" i="0" u="none" strike="noStrike" kern="1200" cap="none" spc="0" normalizeH="0" baseline="0" noProof="0">
                    <a:ln>
                      <a:noFill/>
                    </a:ln>
                    <a:solidFill>
                      <a:schemeClr val="tx1"/>
                    </a:solidFill>
                    <a:effectLst/>
                    <a:uLnTx/>
                    <a:uFillTx/>
                    <a:latin typeface="ES Build Neutral"/>
                    <a:ea typeface="+mn-ea"/>
                    <a:cs typeface="+mn-cs"/>
                  </a:endParaRPr>
                </a:p>
              </p:txBody>
            </p:sp>
          </p:grpSp>
          <p:sp>
            <p:nvSpPr>
              <p:cNvPr id="46" name="!!2">
                <a:extLst>
                  <a:ext uri="{FF2B5EF4-FFF2-40B4-BE49-F238E27FC236}">
                    <a16:creationId xmlns:a16="http://schemas.microsoft.com/office/drawing/2014/main" id="{6CE020A8-C06A-B7EF-015F-DED6A4809353}"/>
                  </a:ext>
                </a:extLst>
              </p:cNvPr>
              <p:cNvSpPr txBox="1"/>
              <p:nvPr/>
            </p:nvSpPr>
            <p:spPr>
              <a:xfrm>
                <a:off x="3339744" y="3655953"/>
                <a:ext cx="2666820" cy="626903"/>
              </a:xfrm>
              <a:prstGeom prst="rect">
                <a:avLst/>
              </a:prstGeom>
              <a:noFill/>
            </p:spPr>
            <p:txBody>
              <a:bodyPr wrap="square" rtlCol="0">
                <a:spAutoFit/>
              </a:bodyPr>
              <a:lstStyle/>
              <a:p>
                <a:pPr algn="ctr">
                  <a:lnSpc>
                    <a:spcPct val="96000"/>
                  </a:lnSpc>
                </a:pPr>
                <a:r>
                  <a:rPr lang="en-US" b="1">
                    <a:solidFill>
                      <a:schemeClr val="tx1"/>
                    </a:solidFill>
                    <a:latin typeface="ES Build Neutral"/>
                    <a:cs typeface="Microsoft Sans Serif" panose="020B0604020202020204" pitchFamily="34" charset="0"/>
                  </a:rPr>
                  <a:t>Surge in Ransomware Complexity</a:t>
                </a:r>
              </a:p>
            </p:txBody>
          </p:sp>
          <p:pic>
            <p:nvPicPr>
              <p:cNvPr id="47" name="Graphic 23">
                <a:extLst>
                  <a:ext uri="{FF2B5EF4-FFF2-40B4-BE49-F238E27FC236}">
                    <a16:creationId xmlns:a16="http://schemas.microsoft.com/office/drawing/2014/main" id="{6C6DBA42-9927-5CF9-F19E-B37BB7B23448}"/>
                  </a:ext>
                </a:extLst>
              </p:cNvPr>
              <p:cNvPicPr preferRelativeResize="0">
                <a:picLocks noChangeAspect="1"/>
              </p:cNvPicPr>
              <p:nvPr/>
            </p:nvPicPr>
            <p:blipFill>
              <a:blip r:embed="rId9">
                <a:extLst>
                  <a:ext uri="{96DAC541-7B7A-43D3-8B79-37D633B846F1}">
                    <asvg:svgBlip xmlns:asvg="http://schemas.microsoft.com/office/drawing/2016/SVG/main" r:embed="rId10"/>
                  </a:ext>
                </a:extLst>
              </a:blip>
              <a:srcRect/>
              <a:stretch/>
            </p:blipFill>
            <p:spPr>
              <a:xfrm>
                <a:off x="4045968" y="2321117"/>
                <a:ext cx="1179582" cy="1179582"/>
              </a:xfrm>
              <a:prstGeom prst="rect">
                <a:avLst/>
              </a:prstGeom>
            </p:spPr>
          </p:pic>
        </p:grpSp>
        <p:sp>
          <p:nvSpPr>
            <p:cNvPr id="12" name="TextBox 11">
              <a:extLst>
                <a:ext uri="{FF2B5EF4-FFF2-40B4-BE49-F238E27FC236}">
                  <a16:creationId xmlns:a16="http://schemas.microsoft.com/office/drawing/2014/main" id="{8864FAD4-3F74-4EED-4D53-99192B8EC67E}"/>
                </a:ext>
              </a:extLst>
            </p:cNvPr>
            <p:cNvSpPr txBox="1"/>
            <p:nvPr/>
          </p:nvSpPr>
          <p:spPr>
            <a:xfrm>
              <a:off x="9223016" y="4536106"/>
              <a:ext cx="2270166" cy="1122936"/>
            </a:xfrm>
            <a:prstGeom prst="rect">
              <a:avLst/>
            </a:prstGeom>
            <a:noFill/>
          </p:spPr>
          <p:txBody>
            <a:bodyPr wrap="square" lIns="0" tIns="0" rIns="0" bIns="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3600" b="1" i="0" u="none" strike="noStrike" kern="1200" cap="none" spc="0" normalizeH="0" baseline="0" noProof="0">
                  <a:ln>
                    <a:noFill/>
                  </a:ln>
                  <a:solidFill>
                    <a:srgbClr val="ED2B3D"/>
                  </a:solidFill>
                  <a:effectLst/>
                  <a:uLnTx/>
                  <a:uFillTx/>
                  <a:latin typeface="ES Build Neutral"/>
                  <a:ea typeface="+mn-ea"/>
                  <a:cs typeface="+mn-cs"/>
                </a:rPr>
                <a:t>1 in 4</a:t>
              </a:r>
            </a:p>
            <a:p>
              <a:pPr marL="0" marR="0" lvl="0" indent="0" algn="ctr" defTabSz="1218768" rtl="0" eaLnBrk="1" fontAlgn="base" latinLnBrk="0" hangingPunct="1">
                <a:lnSpc>
                  <a:spcPct val="98000"/>
                </a:lnSpc>
                <a:spcBef>
                  <a:spcPct val="0"/>
                </a:spcBef>
                <a:spcAft>
                  <a:spcPct val="0"/>
                </a:spcAft>
                <a:buClrTx/>
                <a:buSzTx/>
                <a:buFontTx/>
                <a:buNone/>
                <a:tabLst/>
                <a:defRPr/>
              </a:pPr>
              <a:endParaRPr kumimoji="0" lang="en-US" sz="300" b="0" i="0" u="none" strike="noStrike" kern="1200" cap="none" spc="0" normalizeH="0" baseline="0" noProof="0">
                <a:ln>
                  <a:noFill/>
                </a:ln>
                <a:solidFill>
                  <a:srgbClr val="505861"/>
                </a:solidFill>
                <a:effectLst/>
                <a:uLnTx/>
                <a:uFillTx/>
                <a:ea typeface="+mn-ea"/>
                <a:cs typeface="+mn-cs"/>
              </a:endParaRPr>
            </a:p>
            <a:p>
              <a:pPr marL="0" marR="0" lvl="0" indent="0" algn="ctr" defTabSz="1218768" rtl="0" eaLnBrk="1" fontAlgn="base" latinLnBrk="0" hangingPunct="1">
                <a:lnSpc>
                  <a:spcPct val="98000"/>
                </a:lnSpc>
                <a:spcBef>
                  <a:spcPct val="0"/>
                </a:spcBef>
                <a:spcAft>
                  <a:spcPct val="0"/>
                </a:spcAft>
                <a:buClrTx/>
                <a:buSzTx/>
                <a:buFontTx/>
                <a:buNone/>
                <a:tabLst/>
                <a:defRPr/>
              </a:pPr>
              <a:r>
                <a:rPr kumimoji="0" lang="en-US" sz="1400" b="1" i="0" u="none" strike="noStrike" kern="1200" cap="none" spc="0" normalizeH="0" baseline="0" noProof="0">
                  <a:ln>
                    <a:noFill/>
                  </a:ln>
                  <a:solidFill>
                    <a:srgbClr val="505861"/>
                  </a:solidFill>
                  <a:effectLst/>
                  <a:uLnTx/>
                  <a:uFillTx/>
                  <a:ea typeface="+mn-ea"/>
                  <a:cs typeface="+mn-cs"/>
                </a:rPr>
                <a:t>27% </a:t>
              </a:r>
              <a:r>
                <a:rPr kumimoji="0" lang="en-US" sz="1400" b="0" i="0" u="none" strike="noStrike" kern="1200" cap="none" spc="0" normalizeH="0" baseline="0" noProof="0">
                  <a:ln>
                    <a:noFill/>
                  </a:ln>
                  <a:solidFill>
                    <a:srgbClr val="505861"/>
                  </a:solidFill>
                  <a:effectLst/>
                  <a:uLnTx/>
                  <a:uFillTx/>
                  <a:ea typeface="+mn-ea"/>
                  <a:cs typeface="+mn-cs"/>
                </a:rPr>
                <a:t>of organizations paid the ransom and never got their data back</a:t>
              </a:r>
            </a:p>
          </p:txBody>
        </p:sp>
        <p:cxnSp>
          <p:nvCxnSpPr>
            <p:cNvPr id="20" name="Straight Connector 19">
              <a:extLst>
                <a:ext uri="{FF2B5EF4-FFF2-40B4-BE49-F238E27FC236}">
                  <a16:creationId xmlns:a16="http://schemas.microsoft.com/office/drawing/2014/main" id="{D7EFDA6F-DD8D-8193-20E0-E4D5B0FDA6CD}"/>
                </a:ext>
              </a:extLst>
            </p:cNvPr>
            <p:cNvCxnSpPr>
              <a:cxnSpLocks/>
            </p:cNvCxnSpPr>
            <p:nvPr/>
          </p:nvCxnSpPr>
          <p:spPr>
            <a:xfrm>
              <a:off x="9045130" y="4240696"/>
              <a:ext cx="2651569" cy="0"/>
            </a:xfrm>
            <a:prstGeom prst="line">
              <a:avLst/>
            </a:prstGeom>
            <a:ln w="12700" cap="rnd">
              <a:solidFill>
                <a:schemeClr val="bg2"/>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12539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250"/>
                                        <p:tgtEl>
                                          <p:spTgt spid="22"/>
                                        </p:tgtEl>
                                      </p:cBhvr>
                                    </p:animEffect>
                                  </p:childTnLst>
                                </p:cTn>
                              </p:par>
                              <p:par>
                                <p:cTn id="8" presetID="64" presetClass="path" presetSubtype="0" accel="50000" decel="50000" fill="hold" nodeType="withEffect">
                                  <p:stCondLst>
                                    <p:cond delay="0"/>
                                  </p:stCondLst>
                                  <p:childTnLst>
                                    <p:animMotion origin="layout" path="M 1.04167E-6 -7.40741E-7 L 1.04167E-6 -0.03449 " pathEditMode="relative" rAng="0" ptsTypes="AA">
                                      <p:cBhvr>
                                        <p:cTn id="9" dur="500" fill="hold"/>
                                        <p:tgtEl>
                                          <p:spTgt spid="22"/>
                                        </p:tgtEl>
                                        <p:attrNameLst>
                                          <p:attrName>ppt_x</p:attrName>
                                          <p:attrName>ppt_y</p:attrName>
                                        </p:attrNameLst>
                                      </p:cBhvr>
                                      <p:rCtr x="0" y="-1736"/>
                                    </p:animMotion>
                                  </p:childTnLst>
                                </p:cTn>
                              </p:par>
                              <p:par>
                                <p:cTn id="10" presetID="10" presetClass="entr" presetSubtype="0" fill="hold" nodeType="withEffect">
                                  <p:stCondLst>
                                    <p:cond delay="50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250"/>
                                        <p:tgtEl>
                                          <p:spTgt spid="23"/>
                                        </p:tgtEl>
                                      </p:cBhvr>
                                    </p:animEffect>
                                  </p:childTnLst>
                                </p:cTn>
                              </p:par>
                              <p:par>
                                <p:cTn id="13" presetID="64" presetClass="path" presetSubtype="0" accel="50000" decel="50000" fill="hold" nodeType="withEffect">
                                  <p:stCondLst>
                                    <p:cond delay="500"/>
                                  </p:stCondLst>
                                  <p:childTnLst>
                                    <p:animMotion origin="layout" path="M -1.45833E-6 -2.22222E-6 L -0.00026 -0.03495 " pathEditMode="relative" rAng="0" ptsTypes="AA">
                                      <p:cBhvr>
                                        <p:cTn id="14" dur="500" fill="hold"/>
                                        <p:tgtEl>
                                          <p:spTgt spid="23"/>
                                        </p:tgtEl>
                                        <p:attrNameLst>
                                          <p:attrName>ppt_x</p:attrName>
                                          <p:attrName>ppt_y</p:attrName>
                                        </p:attrNameLst>
                                      </p:cBhvr>
                                      <p:rCtr x="-13" y="-1759"/>
                                    </p:animMotion>
                                  </p:childTnLst>
                                </p:cTn>
                              </p:par>
                              <p:par>
                                <p:cTn id="15" presetID="10" presetClass="entr" presetSubtype="0" fill="hold" nodeType="withEffect">
                                  <p:stCondLst>
                                    <p:cond delay="1000"/>
                                  </p:stCondLst>
                                  <p:childTnLst>
                                    <p:set>
                                      <p:cBhvr>
                                        <p:cTn id="16" dur="1" fill="hold">
                                          <p:stCondLst>
                                            <p:cond delay="0"/>
                                          </p:stCondLst>
                                        </p:cTn>
                                        <p:tgtEl>
                                          <p:spTgt spid="24"/>
                                        </p:tgtEl>
                                        <p:attrNameLst>
                                          <p:attrName>style.visibility</p:attrName>
                                        </p:attrNameLst>
                                      </p:cBhvr>
                                      <p:to>
                                        <p:strVal val="visible"/>
                                      </p:to>
                                    </p:set>
                                    <p:animEffect transition="in" filter="fade">
                                      <p:cBhvr>
                                        <p:cTn id="17" dur="250"/>
                                        <p:tgtEl>
                                          <p:spTgt spid="24"/>
                                        </p:tgtEl>
                                      </p:cBhvr>
                                    </p:animEffect>
                                  </p:childTnLst>
                                </p:cTn>
                              </p:par>
                              <p:par>
                                <p:cTn id="18" presetID="64" presetClass="path" presetSubtype="0" accel="50000" decel="50000" fill="hold" nodeType="withEffect">
                                  <p:stCondLst>
                                    <p:cond delay="1000"/>
                                  </p:stCondLst>
                                  <p:childTnLst>
                                    <p:animMotion origin="layout" path="M -1.45833E-6 -2.22222E-6 L -1.45833E-6 -0.03472 " pathEditMode="relative" rAng="0" ptsTypes="AA">
                                      <p:cBhvr>
                                        <p:cTn id="19" dur="500" fill="hold"/>
                                        <p:tgtEl>
                                          <p:spTgt spid="24"/>
                                        </p:tgtEl>
                                        <p:attrNameLst>
                                          <p:attrName>ppt_x</p:attrName>
                                          <p:attrName>ppt_y</p:attrName>
                                        </p:attrNameLst>
                                      </p:cBhvr>
                                      <p:rCtr x="0" y="-1736"/>
                                    </p:animMotion>
                                  </p:childTnLst>
                                </p:cTn>
                              </p:par>
                              <p:par>
                                <p:cTn id="20" presetID="10" presetClass="entr" presetSubtype="0" fill="hold" nodeType="withEffect">
                                  <p:stCondLst>
                                    <p:cond delay="150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250"/>
                                        <p:tgtEl>
                                          <p:spTgt spid="26"/>
                                        </p:tgtEl>
                                      </p:cBhvr>
                                    </p:animEffect>
                                  </p:childTnLst>
                                </p:cTn>
                              </p:par>
                              <p:par>
                                <p:cTn id="23" presetID="64" presetClass="path" presetSubtype="0" accel="50000" decel="50000" fill="hold" nodeType="withEffect">
                                  <p:stCondLst>
                                    <p:cond delay="1500"/>
                                  </p:stCondLst>
                                  <p:childTnLst>
                                    <p:animMotion origin="layout" path="M -8.33333E-7 -2.22222E-6 L -8.33333E-7 -0.03472 " pathEditMode="relative" rAng="0" ptsTypes="AA">
                                      <p:cBhvr>
                                        <p:cTn id="24" dur="500" fill="hold"/>
                                        <p:tgtEl>
                                          <p:spTgt spid="26"/>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ounded Rectangle 30">
            <a:extLst>
              <a:ext uri="{FF2B5EF4-FFF2-40B4-BE49-F238E27FC236}">
                <a16:creationId xmlns:a16="http://schemas.microsoft.com/office/drawing/2014/main" id="{93008C46-8AD5-0FFF-C16B-71F8003FE4D8}"/>
              </a:ext>
            </a:extLst>
          </p:cNvPr>
          <p:cNvSpPr/>
          <p:nvPr/>
        </p:nvSpPr>
        <p:spPr>
          <a:xfrm>
            <a:off x="493713" y="5486401"/>
            <a:ext cx="6104312" cy="878305"/>
          </a:xfrm>
          <a:prstGeom prst="roundRect">
            <a:avLst>
              <a:gd name="adj" fmla="val 8448"/>
            </a:avLst>
          </a:prstGeom>
          <a:noFill/>
          <a:ln>
            <a:solidFill>
              <a:srgbClr val="6537E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RU" sz="1400">
              <a:solidFill>
                <a:schemeClr val="bg1"/>
              </a:solidFill>
              <a:latin typeface="ES Build" pitchFamily="50" charset="0"/>
              <a:cs typeface="Microsoft Sans Serif" panose="020B0604020202020204" pitchFamily="34" charset="0"/>
            </a:endParaRPr>
          </a:p>
        </p:txBody>
      </p:sp>
      <p:sp>
        <p:nvSpPr>
          <p:cNvPr id="4" name="TextBox 3">
            <a:extLst>
              <a:ext uri="{FF2B5EF4-FFF2-40B4-BE49-F238E27FC236}">
                <a16:creationId xmlns:a16="http://schemas.microsoft.com/office/drawing/2014/main" id="{3BA0C403-41A8-9684-D71C-2F118B8A545C}"/>
              </a:ext>
            </a:extLst>
          </p:cNvPr>
          <p:cNvSpPr txBox="1"/>
          <p:nvPr/>
        </p:nvSpPr>
        <p:spPr>
          <a:xfrm>
            <a:off x="729058" y="5371333"/>
            <a:ext cx="1471004" cy="230134"/>
          </a:xfrm>
          <a:prstGeom prst="roundRect">
            <a:avLst>
              <a:gd name="adj" fmla="val 4253"/>
            </a:avLst>
          </a:prstGeom>
          <a:solidFill>
            <a:schemeClr val="bg1"/>
          </a:solidFill>
          <a:ln w="12700">
            <a:noFill/>
          </a:ln>
        </p:spPr>
        <p:txBody>
          <a:bodyPr wrap="square" lIns="108000" tIns="0" rIns="0" bIns="0" rtlCol="0" anchor="t">
            <a:spAutoFit/>
          </a:bodyPr>
          <a:lstStyle/>
          <a:p>
            <a:pPr defTabSz="914354">
              <a:spcAft>
                <a:spcPts val="1333"/>
              </a:spcAft>
              <a:defRPr/>
            </a:pPr>
            <a:r>
              <a:rPr lang="en-US" sz="1467" b="1">
                <a:solidFill>
                  <a:srgbClr val="8E71F4"/>
                </a:solidFill>
                <a:latin typeface="+mj-lt"/>
              </a:rPr>
              <a:t>Also Available: </a:t>
            </a:r>
          </a:p>
        </p:txBody>
      </p:sp>
      <p:graphicFrame>
        <p:nvGraphicFramePr>
          <p:cNvPr id="18" name="Table 17">
            <a:extLst>
              <a:ext uri="{FF2B5EF4-FFF2-40B4-BE49-F238E27FC236}">
                <a16:creationId xmlns:a16="http://schemas.microsoft.com/office/drawing/2014/main" id="{E0FE28DB-5E4E-8876-3312-C6CFEF920640}"/>
              </a:ext>
            </a:extLst>
          </p:cNvPr>
          <p:cNvGraphicFramePr>
            <a:graphicFrameLocks noGrp="1"/>
          </p:cNvGraphicFramePr>
          <p:nvPr/>
        </p:nvGraphicFramePr>
        <p:xfrm>
          <a:off x="584679" y="1230080"/>
          <a:ext cx="11022647" cy="3772169"/>
        </p:xfrm>
        <a:graphic>
          <a:graphicData uri="http://schemas.openxmlformats.org/drawingml/2006/table">
            <a:tbl>
              <a:tblPr firstRow="1" bandRow="1">
                <a:tableStyleId>{1E171933-4619-4E11-9A3F-F7608DF75F80}</a:tableStyleId>
              </a:tblPr>
              <a:tblGrid>
                <a:gridCol w="3423813">
                  <a:extLst>
                    <a:ext uri="{9D8B030D-6E8A-4147-A177-3AD203B41FA5}">
                      <a16:colId xmlns:a16="http://schemas.microsoft.com/office/drawing/2014/main" val="707908719"/>
                    </a:ext>
                  </a:extLst>
                </a:gridCol>
                <a:gridCol w="1851339">
                  <a:extLst>
                    <a:ext uri="{9D8B030D-6E8A-4147-A177-3AD203B41FA5}">
                      <a16:colId xmlns:a16="http://schemas.microsoft.com/office/drawing/2014/main" val="4264531897"/>
                    </a:ext>
                  </a:extLst>
                </a:gridCol>
                <a:gridCol w="1851339">
                  <a:extLst>
                    <a:ext uri="{9D8B030D-6E8A-4147-A177-3AD203B41FA5}">
                      <a16:colId xmlns:a16="http://schemas.microsoft.com/office/drawing/2014/main" val="1894012394"/>
                    </a:ext>
                  </a:extLst>
                </a:gridCol>
                <a:gridCol w="1851339">
                  <a:extLst>
                    <a:ext uri="{9D8B030D-6E8A-4147-A177-3AD203B41FA5}">
                      <a16:colId xmlns:a16="http://schemas.microsoft.com/office/drawing/2014/main" val="2377542356"/>
                    </a:ext>
                  </a:extLst>
                </a:gridCol>
                <a:gridCol w="2044817">
                  <a:extLst>
                    <a:ext uri="{9D8B030D-6E8A-4147-A177-3AD203B41FA5}">
                      <a16:colId xmlns:a16="http://schemas.microsoft.com/office/drawing/2014/main" val="1387141485"/>
                    </a:ext>
                  </a:extLst>
                </a:gridCol>
              </a:tblGrid>
              <a:tr h="775381">
                <a:tc>
                  <a:txBody>
                    <a:bodyPr/>
                    <a:lstStyle/>
                    <a:p>
                      <a:pPr algn="l"/>
                      <a:r>
                        <a:rPr lang="en-US" sz="1600" b="1">
                          <a:solidFill>
                            <a:schemeClr val="bg1"/>
                          </a:solidFill>
                        </a:rPr>
                        <a:t>Platform </a:t>
                      </a:r>
                      <a:br>
                        <a:rPr lang="en-US" sz="1600" b="1">
                          <a:solidFill>
                            <a:schemeClr val="bg1"/>
                          </a:solidFill>
                        </a:rPr>
                      </a:br>
                      <a:r>
                        <a:rPr lang="en-US" sz="1600" b="1">
                          <a:solidFill>
                            <a:schemeClr val="bg1"/>
                          </a:solidFill>
                        </a:rPr>
                        <a:t>Editions</a:t>
                      </a:r>
                    </a:p>
                  </a:txBody>
                  <a:tcPr marL="243840" marR="121920" marT="60960" marB="60960" anchor="ctr">
                    <a:lnL w="12700" cmpd="sng">
                      <a:noFill/>
                    </a:lnL>
                    <a:lnR w="6350" cap="flat" cmpd="sng" algn="ctr">
                      <a:solidFill>
                        <a:schemeClr val="bg1"/>
                      </a:solidFill>
                      <a:prstDash val="solid"/>
                      <a:round/>
                      <a:headEnd type="none" w="med" len="med"/>
                      <a:tailEnd type="none" w="med" len="med"/>
                    </a:lnR>
                    <a:lnT w="12700" cmpd="sng">
                      <a:noFill/>
                    </a:lnT>
                    <a:lnB w="19050" cap="flat" cmpd="sng" algn="ctr">
                      <a:solidFill>
                        <a:srgbClr val="8E71F4"/>
                      </a:solidFill>
                      <a:prstDash val="solid"/>
                      <a:round/>
                      <a:headEnd type="none" w="med" len="med"/>
                      <a:tailEnd type="none" w="med" len="med"/>
                    </a:lnB>
                    <a:lnTlToBr w="12700" cmpd="sng">
                      <a:noFill/>
                      <a:prstDash val="solid"/>
                    </a:lnTlToBr>
                    <a:lnBlToTr w="12700" cmpd="sng">
                      <a:noFill/>
                      <a:prstDash val="solid"/>
                    </a:lnBlToTr>
                    <a:solidFill>
                      <a:srgbClr val="8E71F4"/>
                    </a:solidFill>
                  </a:tcPr>
                </a:tc>
                <a:tc>
                  <a:txBody>
                    <a:bodyPr/>
                    <a:lstStyle/>
                    <a:p>
                      <a:pPr algn="ctr"/>
                      <a:r>
                        <a:rPr lang="en-US" sz="1600" b="1">
                          <a:solidFill>
                            <a:schemeClr val="bg1"/>
                          </a:solidFill>
                        </a:rPr>
                        <a:t>Backup and Recovery</a:t>
                      </a:r>
                    </a:p>
                  </a:txBody>
                  <a:tcPr marL="121920" marR="121920" marT="60960" marB="6096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9050" cap="flat" cmpd="sng" algn="ctr">
                      <a:solidFill>
                        <a:srgbClr val="8E71F4"/>
                      </a:solidFill>
                      <a:prstDash val="solid"/>
                      <a:round/>
                      <a:headEnd type="none" w="med" len="med"/>
                      <a:tailEnd type="none" w="med" len="med"/>
                    </a:lnB>
                    <a:lnTlToBr w="12700" cmpd="sng">
                      <a:noFill/>
                      <a:prstDash val="solid"/>
                    </a:lnTlToBr>
                    <a:lnBlToTr w="12700" cmpd="sng">
                      <a:noFill/>
                      <a:prstDash val="solid"/>
                    </a:lnBlToTr>
                    <a:solidFill>
                      <a:srgbClr val="8E71F4"/>
                    </a:solidFill>
                  </a:tcPr>
                </a:tc>
                <a:tc>
                  <a:txBody>
                    <a:bodyPr/>
                    <a:lstStyle/>
                    <a:p>
                      <a:pPr algn="ctr"/>
                      <a:r>
                        <a:rPr lang="en-US" sz="1600" b="1">
                          <a:solidFill>
                            <a:schemeClr val="bg1"/>
                          </a:solidFill>
                        </a:rPr>
                        <a:t>Monitoring </a:t>
                      </a:r>
                      <a:br>
                        <a:rPr lang="en-US" sz="1600" b="1">
                          <a:solidFill>
                            <a:schemeClr val="bg1"/>
                          </a:solidFill>
                        </a:rPr>
                      </a:br>
                      <a:r>
                        <a:rPr lang="en-US" sz="1600" b="1">
                          <a:solidFill>
                            <a:schemeClr val="bg1"/>
                          </a:solidFill>
                        </a:rPr>
                        <a:t>and Analytics</a:t>
                      </a:r>
                    </a:p>
                  </a:txBody>
                  <a:tcPr marL="121920" marR="121920" marT="60960" marB="6096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9050" cap="flat" cmpd="sng" algn="ctr">
                      <a:solidFill>
                        <a:srgbClr val="8E71F4"/>
                      </a:solidFill>
                      <a:prstDash val="solid"/>
                      <a:round/>
                      <a:headEnd type="none" w="med" len="med"/>
                      <a:tailEnd type="none" w="med" len="med"/>
                    </a:lnB>
                    <a:lnTlToBr w="12700" cmpd="sng">
                      <a:noFill/>
                      <a:prstDash val="solid"/>
                    </a:lnTlToBr>
                    <a:lnBlToTr w="12700" cmpd="sng">
                      <a:noFill/>
                      <a:prstDash val="solid"/>
                    </a:lnBlToTr>
                    <a:solidFill>
                      <a:srgbClr val="8E71F4"/>
                    </a:solidFill>
                  </a:tcPr>
                </a:tc>
                <a:tc>
                  <a:txBody>
                    <a:bodyPr/>
                    <a:lstStyle/>
                    <a:p>
                      <a:pPr algn="ctr"/>
                      <a:r>
                        <a:rPr lang="en-US" sz="1600" b="1">
                          <a:solidFill>
                            <a:schemeClr val="bg1"/>
                          </a:solidFill>
                        </a:rPr>
                        <a:t>Recovery Orchestration</a:t>
                      </a:r>
                    </a:p>
                  </a:txBody>
                  <a:tcPr marL="121920" marR="121920" marT="60960" marB="6096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9050" cap="flat" cmpd="sng" algn="ctr">
                      <a:solidFill>
                        <a:srgbClr val="8E71F4"/>
                      </a:solidFill>
                      <a:prstDash val="solid"/>
                      <a:round/>
                      <a:headEnd type="none" w="med" len="med"/>
                      <a:tailEnd type="none" w="med" len="med"/>
                    </a:lnB>
                    <a:lnTlToBr w="12700" cmpd="sng">
                      <a:noFill/>
                      <a:prstDash val="solid"/>
                    </a:lnTlToBr>
                    <a:lnBlToTr w="12700" cmpd="sng">
                      <a:noFill/>
                      <a:prstDash val="solid"/>
                    </a:lnBlToTr>
                    <a:solidFill>
                      <a:srgbClr val="8E71F4"/>
                    </a:solidFill>
                  </a:tcPr>
                </a:tc>
                <a:tc>
                  <a:txBody>
                    <a:bodyPr/>
                    <a:lstStyle/>
                    <a:p>
                      <a:pPr algn="ctr"/>
                      <a:r>
                        <a:rPr lang="en-US" sz="1600" b="1">
                          <a:solidFill>
                            <a:schemeClr val="bg1"/>
                          </a:solidFill>
                        </a:rPr>
                        <a:t>Ransomware Warranty </a:t>
                      </a:r>
                      <a:r>
                        <a:rPr lang="en-US" sz="1500" b="0">
                          <a:solidFill>
                            <a:schemeClr val="bg1"/>
                          </a:solidFill>
                        </a:rPr>
                        <a:t>(add-on)</a:t>
                      </a:r>
                      <a:endParaRPr lang="en-US" sz="1600" b="0">
                        <a:solidFill>
                          <a:schemeClr val="bg1"/>
                        </a:solidFill>
                      </a:endParaRPr>
                    </a:p>
                  </a:txBody>
                  <a:tcPr marL="121920" marR="121920" marT="60960" marB="60960" anchor="ctr">
                    <a:lnL w="6350" cap="flat" cmpd="sng" algn="ctr">
                      <a:solidFill>
                        <a:schemeClr val="bg1"/>
                      </a:solidFill>
                      <a:prstDash val="solid"/>
                      <a:round/>
                      <a:headEnd type="none" w="med" len="med"/>
                      <a:tailEnd type="none" w="med" len="med"/>
                    </a:lnL>
                    <a:lnR w="12700" cmpd="sng">
                      <a:noFill/>
                    </a:lnR>
                    <a:lnT w="12700" cmpd="sng">
                      <a:noFill/>
                    </a:lnT>
                    <a:lnB w="19050" cap="flat" cmpd="sng" algn="ctr">
                      <a:solidFill>
                        <a:srgbClr val="8E71F4"/>
                      </a:solidFill>
                      <a:prstDash val="solid"/>
                      <a:round/>
                      <a:headEnd type="none" w="med" len="med"/>
                      <a:tailEnd type="none" w="med" len="med"/>
                    </a:lnB>
                    <a:lnTlToBr w="12700" cmpd="sng">
                      <a:noFill/>
                      <a:prstDash val="solid"/>
                    </a:lnTlToBr>
                    <a:lnBlToTr w="12700" cmpd="sng">
                      <a:noFill/>
                      <a:prstDash val="solid"/>
                    </a:lnBlToTr>
                    <a:solidFill>
                      <a:srgbClr val="8E71F4"/>
                    </a:solidFill>
                  </a:tcPr>
                </a:tc>
                <a:extLst>
                  <a:ext uri="{0D108BD9-81ED-4DB2-BD59-A6C34878D82A}">
                    <a16:rowId xmlns:a16="http://schemas.microsoft.com/office/drawing/2014/main" val="2550194377"/>
                  </a:ext>
                </a:extLst>
              </a:tr>
              <a:tr h="749197">
                <a:tc>
                  <a:txBody>
                    <a:bodyPr/>
                    <a:lstStyle/>
                    <a:p>
                      <a:pPr algn="l"/>
                      <a:r>
                        <a:rPr lang="en-US" sz="1600" b="1">
                          <a:solidFill>
                            <a:srgbClr val="505861"/>
                          </a:solidFill>
                        </a:rPr>
                        <a:t>Premium</a:t>
                      </a:r>
                    </a:p>
                  </a:txBody>
                  <a:tcPr marL="243840" marR="60960" marT="36576" marB="36576" anchor="ctr">
                    <a:lnL w="12700" cmpd="sng">
                      <a:noFill/>
                    </a:lnL>
                    <a:lnR w="19050" cap="flat" cmpd="sng" algn="ctr">
                      <a:noFill/>
                      <a:prstDash val="solid"/>
                      <a:round/>
                      <a:headEnd type="none" w="med" len="med"/>
                      <a:tailEnd type="none" w="med" len="med"/>
                    </a:lnR>
                    <a:lnT w="19050" cap="flat" cmpd="sng" algn="ctr">
                      <a:solidFill>
                        <a:srgbClr val="8E71F4"/>
                      </a:solidFill>
                      <a:prstDash val="solid"/>
                      <a:round/>
                      <a:headEnd type="none" w="med" len="med"/>
                      <a:tailEnd type="none" w="med" len="med"/>
                    </a:lnT>
                    <a:lnB w="6350" cap="flat" cmpd="sng" algn="ctr">
                      <a:solidFill>
                        <a:srgbClr val="9FAFC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6030" rtl="0" eaLnBrk="1" fontAlgn="auto" latinLnBrk="0" hangingPunct="1">
                        <a:lnSpc>
                          <a:spcPct val="100000"/>
                        </a:lnSpc>
                        <a:spcBef>
                          <a:spcPts val="0"/>
                        </a:spcBef>
                        <a:spcAft>
                          <a:spcPts val="0"/>
                        </a:spcAft>
                        <a:buClrTx/>
                        <a:buSzTx/>
                        <a:buFontTx/>
                        <a:buNone/>
                        <a:tabLst/>
                        <a:defRPr/>
                      </a:pPr>
                      <a:endParaRPr lang="en-US" sz="1600">
                        <a:solidFill>
                          <a:srgbClr val="505861"/>
                        </a:solidFill>
                        <a:latin typeface="Source Sans Pro" panose="020B0503030403020204" pitchFamily="34" charset="0"/>
                      </a:endParaRPr>
                    </a:p>
                  </a:txBody>
                  <a:tcPr marL="60960" marR="60960"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rgbClr val="8E71F4"/>
                      </a:solidFill>
                      <a:prstDash val="solid"/>
                      <a:round/>
                      <a:headEnd type="none" w="med" len="med"/>
                      <a:tailEnd type="none" w="med" len="med"/>
                    </a:lnT>
                    <a:lnB w="6350" cap="flat" cmpd="sng" algn="ctr">
                      <a:solidFill>
                        <a:srgbClr val="9FAFC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6030" rtl="0" eaLnBrk="1" fontAlgn="auto" latinLnBrk="0" hangingPunct="1">
                        <a:lnSpc>
                          <a:spcPct val="100000"/>
                        </a:lnSpc>
                        <a:spcBef>
                          <a:spcPts val="0"/>
                        </a:spcBef>
                        <a:spcAft>
                          <a:spcPts val="0"/>
                        </a:spcAft>
                        <a:buClrTx/>
                        <a:buSzTx/>
                        <a:buFontTx/>
                        <a:buNone/>
                        <a:tabLst/>
                        <a:defRPr/>
                      </a:pPr>
                      <a:endParaRPr lang="en-US" sz="1600">
                        <a:solidFill>
                          <a:srgbClr val="505861"/>
                        </a:solidFill>
                        <a:latin typeface="Source Sans Pro" panose="020B0503030403020204" pitchFamily="34" charset="0"/>
                      </a:endParaRPr>
                    </a:p>
                  </a:txBody>
                  <a:tcPr marL="60960" marR="60960"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rgbClr val="8E71F4"/>
                      </a:solidFill>
                      <a:prstDash val="solid"/>
                      <a:round/>
                      <a:headEnd type="none" w="med" len="med"/>
                      <a:tailEnd type="none" w="med" len="med"/>
                    </a:lnT>
                    <a:lnB w="6350" cap="flat" cmpd="sng" algn="ctr">
                      <a:solidFill>
                        <a:srgbClr val="9FAFC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6030" rtl="0" eaLnBrk="1" fontAlgn="auto" latinLnBrk="0" hangingPunct="1">
                        <a:lnSpc>
                          <a:spcPct val="100000"/>
                        </a:lnSpc>
                        <a:spcBef>
                          <a:spcPts val="0"/>
                        </a:spcBef>
                        <a:spcAft>
                          <a:spcPts val="0"/>
                        </a:spcAft>
                        <a:buClrTx/>
                        <a:buSzTx/>
                        <a:buFontTx/>
                        <a:buNone/>
                        <a:tabLst/>
                        <a:defRPr/>
                      </a:pPr>
                      <a:endParaRPr lang="en-US" sz="1600">
                        <a:solidFill>
                          <a:srgbClr val="505861"/>
                        </a:solidFill>
                        <a:latin typeface="Source Sans Pro" panose="020B0503030403020204" pitchFamily="34" charset="0"/>
                      </a:endParaRPr>
                    </a:p>
                  </a:txBody>
                  <a:tcPr marL="60960" marR="60960"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rgbClr val="8E71F4"/>
                      </a:solidFill>
                      <a:prstDash val="solid"/>
                      <a:round/>
                      <a:headEnd type="none" w="med" len="med"/>
                      <a:tailEnd type="none" w="med" len="med"/>
                    </a:lnT>
                    <a:lnB w="6350" cap="flat" cmpd="sng" algn="ctr">
                      <a:solidFill>
                        <a:srgbClr val="9FAFC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6030" rtl="0" eaLnBrk="1" fontAlgn="auto" latinLnBrk="0" hangingPunct="1">
                        <a:lnSpc>
                          <a:spcPct val="100000"/>
                        </a:lnSpc>
                        <a:spcBef>
                          <a:spcPts val="0"/>
                        </a:spcBef>
                        <a:spcAft>
                          <a:spcPts val="0"/>
                        </a:spcAft>
                        <a:buClrTx/>
                        <a:buSzTx/>
                        <a:buFontTx/>
                        <a:buNone/>
                        <a:tabLst/>
                        <a:defRPr/>
                      </a:pPr>
                      <a:endParaRPr lang="en-US" sz="1600">
                        <a:solidFill>
                          <a:srgbClr val="505861"/>
                        </a:solidFill>
                        <a:latin typeface="Source Sans Pro" panose="020B0503030403020204" pitchFamily="34" charset="0"/>
                      </a:endParaRPr>
                    </a:p>
                  </a:txBody>
                  <a:tcPr marL="60960" marR="60960" marT="36576" marB="36576">
                    <a:lnL w="19050" cap="flat" cmpd="sng" algn="ctr">
                      <a:noFill/>
                      <a:prstDash val="solid"/>
                      <a:round/>
                      <a:headEnd type="none" w="med" len="med"/>
                      <a:tailEnd type="none" w="med" len="med"/>
                    </a:lnL>
                    <a:lnR w="12700" cmpd="sng">
                      <a:noFill/>
                    </a:lnR>
                    <a:lnT w="19050" cap="flat" cmpd="sng" algn="ctr">
                      <a:solidFill>
                        <a:srgbClr val="8E71F4"/>
                      </a:solidFill>
                      <a:prstDash val="solid"/>
                      <a:round/>
                      <a:headEnd type="none" w="med" len="med"/>
                      <a:tailEnd type="none" w="med" len="med"/>
                    </a:lnT>
                    <a:lnB w="6350" cap="flat" cmpd="sng" algn="ctr">
                      <a:solidFill>
                        <a:srgbClr val="9FAFC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9731632"/>
                  </a:ext>
                </a:extLst>
              </a:tr>
              <a:tr h="749197">
                <a:tc>
                  <a:txBody>
                    <a:bodyPr/>
                    <a:lstStyle/>
                    <a:p>
                      <a:pPr algn="l"/>
                      <a:r>
                        <a:rPr lang="en-US" sz="1600" b="1">
                          <a:solidFill>
                            <a:srgbClr val="505861"/>
                          </a:solidFill>
                        </a:rPr>
                        <a:t>Advanced</a:t>
                      </a:r>
                    </a:p>
                  </a:txBody>
                  <a:tcPr marL="243840" marR="60960" marT="36576" marB="36576" anchor="ctr">
                    <a:lnL w="12700" cmpd="sng">
                      <a:noFill/>
                    </a:lnL>
                    <a:lnR w="19050" cap="flat" cmpd="sng" algn="ctr">
                      <a:noFill/>
                      <a:prstDash val="solid"/>
                      <a:round/>
                      <a:headEnd type="none" w="med" len="med"/>
                      <a:tailEnd type="none" w="med" len="med"/>
                    </a:lnR>
                    <a:lnT w="6350" cap="flat" cmpd="sng" algn="ctr">
                      <a:solidFill>
                        <a:srgbClr val="9FAFC5"/>
                      </a:solidFill>
                      <a:prstDash val="solid"/>
                      <a:round/>
                      <a:headEnd type="none" w="med" len="med"/>
                      <a:tailEnd type="none" w="med" len="med"/>
                    </a:lnT>
                    <a:lnB w="6350" cap="flat" cmpd="sng" algn="ctr">
                      <a:solidFill>
                        <a:srgbClr val="9FAFC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6030" rtl="0" eaLnBrk="1" fontAlgn="auto" latinLnBrk="0" hangingPunct="1">
                        <a:lnSpc>
                          <a:spcPct val="100000"/>
                        </a:lnSpc>
                        <a:spcBef>
                          <a:spcPts val="0"/>
                        </a:spcBef>
                        <a:spcAft>
                          <a:spcPts val="0"/>
                        </a:spcAft>
                        <a:buClrTx/>
                        <a:buSzTx/>
                        <a:buFontTx/>
                        <a:buNone/>
                        <a:tabLst/>
                        <a:defRPr/>
                      </a:pPr>
                      <a:endParaRPr lang="en-US" sz="1600">
                        <a:solidFill>
                          <a:srgbClr val="505861"/>
                        </a:solidFill>
                        <a:latin typeface="Source Sans Pro" panose="020B0503030403020204" pitchFamily="34" charset="0"/>
                      </a:endParaRPr>
                    </a:p>
                  </a:txBody>
                  <a:tcPr marL="60960" marR="60960"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rgbClr val="9FAFC5"/>
                      </a:solidFill>
                      <a:prstDash val="solid"/>
                      <a:round/>
                      <a:headEnd type="none" w="med" len="med"/>
                      <a:tailEnd type="none" w="med" len="med"/>
                    </a:lnT>
                    <a:lnB w="6350" cap="flat" cmpd="sng" algn="ctr">
                      <a:solidFill>
                        <a:srgbClr val="9FAFC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6030" rtl="0" eaLnBrk="1" fontAlgn="auto" latinLnBrk="0" hangingPunct="1">
                        <a:lnSpc>
                          <a:spcPct val="100000"/>
                        </a:lnSpc>
                        <a:spcBef>
                          <a:spcPts val="0"/>
                        </a:spcBef>
                        <a:spcAft>
                          <a:spcPts val="0"/>
                        </a:spcAft>
                        <a:buClrTx/>
                        <a:buSzTx/>
                        <a:buFontTx/>
                        <a:buNone/>
                        <a:tabLst/>
                        <a:defRPr/>
                      </a:pPr>
                      <a:endParaRPr lang="en-US" sz="1600">
                        <a:solidFill>
                          <a:srgbClr val="505861"/>
                        </a:solidFill>
                        <a:latin typeface="Source Sans Pro" panose="020B0503030403020204" pitchFamily="34" charset="0"/>
                      </a:endParaRPr>
                    </a:p>
                  </a:txBody>
                  <a:tcPr marL="60960" marR="60960"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rgbClr val="9FAFC5"/>
                      </a:solidFill>
                      <a:prstDash val="solid"/>
                      <a:round/>
                      <a:headEnd type="none" w="med" len="med"/>
                      <a:tailEnd type="none" w="med" len="med"/>
                    </a:lnT>
                    <a:lnB w="6350" cap="flat" cmpd="sng" algn="ctr">
                      <a:solidFill>
                        <a:srgbClr val="9FAFC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6030" rtl="0" eaLnBrk="1" fontAlgn="auto" latinLnBrk="0" hangingPunct="1">
                        <a:lnSpc>
                          <a:spcPct val="100000"/>
                        </a:lnSpc>
                        <a:spcBef>
                          <a:spcPts val="0"/>
                        </a:spcBef>
                        <a:spcAft>
                          <a:spcPts val="0"/>
                        </a:spcAft>
                        <a:buClrTx/>
                        <a:buSzTx/>
                        <a:buFontTx/>
                        <a:buNone/>
                        <a:tabLst/>
                        <a:defRPr/>
                      </a:pPr>
                      <a:endParaRPr lang="en-US" sz="1600">
                        <a:solidFill>
                          <a:srgbClr val="505861"/>
                        </a:solidFill>
                      </a:endParaRPr>
                    </a:p>
                  </a:txBody>
                  <a:tcPr marL="60960" marR="60960"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rgbClr val="9FAFC5"/>
                      </a:solidFill>
                      <a:prstDash val="solid"/>
                      <a:round/>
                      <a:headEnd type="none" w="med" len="med"/>
                      <a:tailEnd type="none" w="med" len="med"/>
                    </a:lnT>
                    <a:lnB w="6350" cap="flat" cmpd="sng" algn="ctr">
                      <a:solidFill>
                        <a:srgbClr val="9FAFC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a:solidFill>
                          <a:srgbClr val="505861"/>
                        </a:solidFill>
                      </a:endParaRPr>
                    </a:p>
                  </a:txBody>
                  <a:tcPr marL="60960" marR="60960" marT="36576" marB="36576">
                    <a:lnL w="19050" cap="flat" cmpd="sng" algn="ctr">
                      <a:noFill/>
                      <a:prstDash val="solid"/>
                      <a:round/>
                      <a:headEnd type="none" w="med" len="med"/>
                      <a:tailEnd type="none" w="med" len="med"/>
                    </a:lnL>
                    <a:lnR w="12700" cmpd="sng">
                      <a:noFill/>
                    </a:lnR>
                    <a:lnT w="6350" cap="flat" cmpd="sng" algn="ctr">
                      <a:solidFill>
                        <a:srgbClr val="9FAFC5"/>
                      </a:solidFill>
                      <a:prstDash val="solid"/>
                      <a:round/>
                      <a:headEnd type="none" w="med" len="med"/>
                      <a:tailEnd type="none" w="med" len="med"/>
                    </a:lnT>
                    <a:lnB w="6350" cap="flat" cmpd="sng" algn="ctr">
                      <a:solidFill>
                        <a:srgbClr val="9FAFC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6015125"/>
                  </a:ext>
                </a:extLst>
              </a:tr>
              <a:tr h="749197">
                <a:tc>
                  <a:txBody>
                    <a:bodyPr/>
                    <a:lstStyle/>
                    <a:p>
                      <a:pPr algn="l"/>
                      <a:r>
                        <a:rPr lang="en-US" sz="1600" b="1">
                          <a:solidFill>
                            <a:srgbClr val="505861"/>
                          </a:solidFill>
                        </a:rPr>
                        <a:t>Foundation</a:t>
                      </a:r>
                    </a:p>
                  </a:txBody>
                  <a:tcPr marL="243840" marR="60960" marT="36576" marB="36576" anchor="ctr">
                    <a:lnL w="12700" cmpd="sng">
                      <a:noFill/>
                    </a:lnL>
                    <a:lnR w="19050" cap="flat" cmpd="sng" algn="ctr">
                      <a:noFill/>
                      <a:prstDash val="solid"/>
                      <a:round/>
                      <a:headEnd type="none" w="med" len="med"/>
                      <a:tailEnd type="none" w="med" len="med"/>
                    </a:lnR>
                    <a:lnT w="6350" cap="flat" cmpd="sng" algn="ctr">
                      <a:solidFill>
                        <a:srgbClr val="9FAFC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603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a:solidFill>
                          <a:srgbClr val="505861"/>
                        </a:solidFill>
                        <a:latin typeface="Source Sans Pro" panose="020B0503030403020204" pitchFamily="34" charset="0"/>
                      </a:endParaRPr>
                    </a:p>
                  </a:txBody>
                  <a:tcPr marL="60960" marR="60960"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rgbClr val="9FAFC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6030" rtl="0" eaLnBrk="1" fontAlgn="auto" latinLnBrk="0" hangingPunct="1">
                        <a:lnSpc>
                          <a:spcPct val="100000"/>
                        </a:lnSpc>
                        <a:spcBef>
                          <a:spcPts val="0"/>
                        </a:spcBef>
                        <a:spcAft>
                          <a:spcPts val="0"/>
                        </a:spcAft>
                        <a:buClrTx/>
                        <a:buSzTx/>
                        <a:buFontTx/>
                        <a:buNone/>
                        <a:tabLst/>
                        <a:defRPr/>
                      </a:pPr>
                      <a:endParaRPr lang="en-US" sz="1600">
                        <a:solidFill>
                          <a:srgbClr val="505861"/>
                        </a:solidFill>
                      </a:endParaRPr>
                    </a:p>
                  </a:txBody>
                  <a:tcPr marL="60960" marR="60960"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rgbClr val="9FAFC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6030" rtl="0" eaLnBrk="1" fontAlgn="auto" latinLnBrk="0" hangingPunct="1">
                        <a:lnSpc>
                          <a:spcPct val="100000"/>
                        </a:lnSpc>
                        <a:spcBef>
                          <a:spcPts val="0"/>
                        </a:spcBef>
                        <a:spcAft>
                          <a:spcPts val="0"/>
                        </a:spcAft>
                        <a:buClrTx/>
                        <a:buSzTx/>
                        <a:buFontTx/>
                        <a:buNone/>
                        <a:tabLst/>
                        <a:defRPr/>
                      </a:pPr>
                      <a:endParaRPr lang="en-US" sz="1600">
                        <a:solidFill>
                          <a:srgbClr val="505861"/>
                        </a:solidFill>
                      </a:endParaRPr>
                    </a:p>
                  </a:txBody>
                  <a:tcPr marL="60960" marR="60960" marT="36576" marB="36576">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rgbClr val="9FAFC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a:solidFill>
                          <a:srgbClr val="505861"/>
                        </a:solidFill>
                      </a:endParaRPr>
                    </a:p>
                  </a:txBody>
                  <a:tcPr marL="60960" marR="60960" marT="36576" marB="36576">
                    <a:lnL w="19050" cap="flat" cmpd="sng" algn="ctr">
                      <a:noFill/>
                      <a:prstDash val="solid"/>
                      <a:round/>
                      <a:headEnd type="none" w="med" len="med"/>
                      <a:tailEnd type="none" w="med" len="med"/>
                    </a:lnL>
                    <a:lnR w="12700" cmpd="sng">
                      <a:noFill/>
                    </a:lnR>
                    <a:lnT w="6350" cap="flat" cmpd="sng" algn="ctr">
                      <a:solidFill>
                        <a:srgbClr val="9FAFC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0308364"/>
                  </a:ext>
                </a:extLst>
              </a:tr>
              <a:tr h="749197">
                <a:tc>
                  <a:txBody>
                    <a:bodyPr/>
                    <a:lstStyle/>
                    <a:p>
                      <a:pPr marL="0" marR="0" lvl="0" indent="0" algn="l" defTabSz="686030" rtl="0" eaLnBrk="1" fontAlgn="auto" latinLnBrk="0" hangingPunct="1">
                        <a:lnSpc>
                          <a:spcPct val="100000"/>
                        </a:lnSpc>
                        <a:spcBef>
                          <a:spcPts val="0"/>
                        </a:spcBef>
                        <a:spcAft>
                          <a:spcPts val="0"/>
                        </a:spcAft>
                        <a:buClrTx/>
                        <a:buSzTx/>
                        <a:buFontTx/>
                        <a:buNone/>
                        <a:tabLst/>
                        <a:defRPr/>
                      </a:pPr>
                      <a:r>
                        <a:rPr lang="en-US" sz="1600" i="0" kern="1200" spc="13">
                          <a:solidFill>
                            <a:srgbClr val="505861"/>
                          </a:solidFill>
                          <a:latin typeface="+mn-lt"/>
                          <a:ea typeface="+mn-ea"/>
                          <a:cs typeface="+mn-cs"/>
                        </a:rPr>
                        <a:t>Supporting product </a:t>
                      </a:r>
                      <a:br>
                        <a:rPr lang="en-US" sz="1600" i="0" kern="1200" spc="13">
                          <a:solidFill>
                            <a:srgbClr val="505861"/>
                          </a:solidFill>
                          <a:latin typeface="+mn-lt"/>
                          <a:ea typeface="+mn-ea"/>
                          <a:cs typeface="+mn-cs"/>
                        </a:rPr>
                      </a:br>
                      <a:r>
                        <a:rPr lang="en-US" sz="1600" i="0" kern="1200" spc="13">
                          <a:solidFill>
                            <a:srgbClr val="505861"/>
                          </a:solidFill>
                          <a:latin typeface="+mn-lt"/>
                          <a:ea typeface="+mn-ea"/>
                          <a:cs typeface="+mn-cs"/>
                        </a:rPr>
                        <a:t>components</a:t>
                      </a:r>
                    </a:p>
                  </a:txBody>
                  <a:tcPr marL="243840" marR="60960" marT="36000" marB="36000" anchor="ctr">
                    <a:lnL w="12700" cmpd="sng">
                      <a:noFill/>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13" normalizeH="0" baseline="0" noProof="0">
                          <a:ln>
                            <a:noFill/>
                          </a:ln>
                          <a:solidFill>
                            <a:srgbClr val="505861"/>
                          </a:solidFill>
                          <a:effectLst/>
                          <a:uLnTx/>
                          <a:uFillTx/>
                          <a:latin typeface="+mn-lt"/>
                          <a:cs typeface="Arial"/>
                          <a:sym typeface="Arial"/>
                        </a:rPr>
                        <a:t>Veeam Backup </a:t>
                      </a:r>
                      <a:br>
                        <a:rPr kumimoji="0" lang="en-US" sz="1600" b="0" i="0" u="none" strike="noStrike" kern="0" cap="none" spc="13" normalizeH="0" baseline="0" noProof="0">
                          <a:ln>
                            <a:noFill/>
                          </a:ln>
                          <a:solidFill>
                            <a:srgbClr val="505861"/>
                          </a:solidFill>
                          <a:effectLst/>
                          <a:uLnTx/>
                          <a:uFillTx/>
                          <a:latin typeface="+mn-lt"/>
                          <a:cs typeface="Arial"/>
                          <a:sym typeface="Arial"/>
                        </a:rPr>
                      </a:br>
                      <a:r>
                        <a:rPr kumimoji="0" lang="en-US" sz="1600" b="0" i="0" u="none" strike="noStrike" kern="0" cap="none" spc="13" normalizeH="0" baseline="0" noProof="0">
                          <a:ln>
                            <a:noFill/>
                          </a:ln>
                          <a:solidFill>
                            <a:srgbClr val="505861"/>
                          </a:solidFill>
                          <a:effectLst/>
                          <a:uLnTx/>
                          <a:uFillTx/>
                          <a:latin typeface="+mn-lt"/>
                          <a:cs typeface="Arial"/>
                          <a:sym typeface="Arial"/>
                        </a:rPr>
                        <a:t>&amp; Replication</a:t>
                      </a:r>
                    </a:p>
                  </a:txBody>
                  <a:tcPr marL="60960" marR="60960" marT="36000" marB="3600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600" b="0" i="0" u="none" strike="noStrike" cap="none" spc="13" noProof="0">
                          <a:solidFill>
                            <a:srgbClr val="505861"/>
                          </a:solidFill>
                          <a:latin typeface="+mj-lt"/>
                          <a:ea typeface="+mn-ea"/>
                          <a:cs typeface="Arial"/>
                          <a:sym typeface="Arial"/>
                        </a:rPr>
                        <a:t>Veeam </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600" b="0" i="0" u="none" strike="noStrike" cap="none" spc="13" noProof="0">
                          <a:solidFill>
                            <a:srgbClr val="505861"/>
                          </a:solidFill>
                          <a:latin typeface="+mj-lt"/>
                          <a:ea typeface="+mn-ea"/>
                          <a:cs typeface="Arial"/>
                          <a:sym typeface="Arial"/>
                        </a:rPr>
                        <a:t>ONE</a:t>
                      </a:r>
                    </a:p>
                  </a:txBody>
                  <a:tcPr marL="60960" marR="60960" marT="36000" marB="3600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686030" rtl="0" eaLnBrk="1" fontAlgn="auto" latinLnBrk="0" hangingPunct="1">
                        <a:lnSpc>
                          <a:spcPct val="100000"/>
                        </a:lnSpc>
                        <a:spcBef>
                          <a:spcPts val="0"/>
                        </a:spcBef>
                        <a:spcAft>
                          <a:spcPts val="0"/>
                        </a:spcAft>
                        <a:buClr>
                          <a:srgbClr val="000000"/>
                        </a:buClr>
                        <a:buSzTx/>
                        <a:buFont typeface="Arial"/>
                        <a:buNone/>
                        <a:tabLst/>
                        <a:defRPr/>
                      </a:pPr>
                      <a:r>
                        <a:rPr lang="en-US" sz="1600" b="0" i="0" u="none" strike="noStrike" cap="none" spc="13">
                          <a:solidFill>
                            <a:srgbClr val="505861"/>
                          </a:solidFill>
                          <a:latin typeface="+mj-lt"/>
                          <a:cs typeface="Arial"/>
                          <a:sym typeface="Arial"/>
                        </a:rPr>
                        <a:t>Veeam Recovery Orchestrator</a:t>
                      </a:r>
                    </a:p>
                  </a:txBody>
                  <a:tcPr marL="60960" marR="60960" marT="36000" marB="3600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endParaRPr lang="en-US" sz="1600">
                        <a:solidFill>
                          <a:srgbClr val="505861"/>
                        </a:solidFill>
                      </a:endParaRPr>
                    </a:p>
                  </a:txBody>
                  <a:tcPr marL="60960" marR="60960" marT="36000" marB="36000" anchor="ctr">
                    <a:lnL w="1905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3590399"/>
                  </a:ext>
                </a:extLst>
              </a:tr>
            </a:tbl>
          </a:graphicData>
        </a:graphic>
      </p:graphicFrame>
      <p:sp>
        <p:nvSpPr>
          <p:cNvPr id="2" name="Title 1">
            <a:extLst>
              <a:ext uri="{FF2B5EF4-FFF2-40B4-BE49-F238E27FC236}">
                <a16:creationId xmlns:a16="http://schemas.microsoft.com/office/drawing/2014/main" id="{2293ABA2-A6AC-C3F6-6B1C-6AC7310C9E40}"/>
              </a:ext>
            </a:extLst>
          </p:cNvPr>
          <p:cNvSpPr>
            <a:spLocks noGrp="1"/>
          </p:cNvSpPr>
          <p:nvPr>
            <p:ph type="title"/>
          </p:nvPr>
        </p:nvSpPr>
        <p:spPr/>
        <p:txBody>
          <a:bodyPr/>
          <a:lstStyle/>
          <a:p>
            <a:pPr algn="ctr"/>
            <a:r>
              <a:rPr lang="en-US" sz="3600" b="1" spc="27">
                <a:solidFill>
                  <a:srgbClr val="505861"/>
                </a:solidFill>
                <a:latin typeface="+mj-lt"/>
              </a:rPr>
              <a:t>Veeam Data Platform Packages</a:t>
            </a:r>
            <a:endParaRPr lang="en-RU">
              <a:solidFill>
                <a:srgbClr val="505861"/>
              </a:solidFill>
            </a:endParaRPr>
          </a:p>
        </p:txBody>
      </p:sp>
      <p:sp>
        <p:nvSpPr>
          <p:cNvPr id="16" name="Oval 15">
            <a:extLst>
              <a:ext uri="{FF2B5EF4-FFF2-40B4-BE49-F238E27FC236}">
                <a16:creationId xmlns:a16="http://schemas.microsoft.com/office/drawing/2014/main" id="{B75DE63D-C616-ED67-A354-0A59EB5C63A6}"/>
              </a:ext>
            </a:extLst>
          </p:cNvPr>
          <p:cNvSpPr/>
          <p:nvPr/>
        </p:nvSpPr>
        <p:spPr>
          <a:xfrm>
            <a:off x="4843572" y="2376461"/>
            <a:ext cx="150155" cy="15015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RU" sz="1400">
              <a:solidFill>
                <a:schemeClr val="bg1"/>
              </a:solidFill>
              <a:latin typeface="ES Build" pitchFamily="50" charset="0"/>
              <a:cs typeface="Microsoft Sans Serif" panose="020B0604020202020204" pitchFamily="34" charset="0"/>
            </a:endParaRPr>
          </a:p>
        </p:txBody>
      </p:sp>
      <p:sp>
        <p:nvSpPr>
          <p:cNvPr id="17" name="Oval 16">
            <a:extLst>
              <a:ext uri="{FF2B5EF4-FFF2-40B4-BE49-F238E27FC236}">
                <a16:creationId xmlns:a16="http://schemas.microsoft.com/office/drawing/2014/main" id="{81F7636D-CD34-A790-8B61-6C9337A58B1F}"/>
              </a:ext>
            </a:extLst>
          </p:cNvPr>
          <p:cNvSpPr/>
          <p:nvPr/>
        </p:nvSpPr>
        <p:spPr>
          <a:xfrm>
            <a:off x="4843572" y="3098357"/>
            <a:ext cx="150155" cy="15015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RU" sz="1400">
              <a:solidFill>
                <a:schemeClr val="bg1"/>
              </a:solidFill>
              <a:latin typeface="ES Build" pitchFamily="50" charset="0"/>
              <a:cs typeface="Microsoft Sans Serif" panose="020B0604020202020204" pitchFamily="34" charset="0"/>
            </a:endParaRPr>
          </a:p>
        </p:txBody>
      </p:sp>
      <p:sp>
        <p:nvSpPr>
          <p:cNvPr id="20" name="Oval 19">
            <a:extLst>
              <a:ext uri="{FF2B5EF4-FFF2-40B4-BE49-F238E27FC236}">
                <a16:creationId xmlns:a16="http://schemas.microsoft.com/office/drawing/2014/main" id="{A9CD58BC-663C-5020-D31B-E828178A1880}"/>
              </a:ext>
            </a:extLst>
          </p:cNvPr>
          <p:cNvSpPr/>
          <p:nvPr/>
        </p:nvSpPr>
        <p:spPr>
          <a:xfrm>
            <a:off x="4843572" y="3832284"/>
            <a:ext cx="150155" cy="15015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RU" sz="1400">
              <a:solidFill>
                <a:schemeClr val="bg1"/>
              </a:solidFill>
              <a:latin typeface="ES Build" pitchFamily="50" charset="0"/>
              <a:cs typeface="Microsoft Sans Serif" panose="020B0604020202020204" pitchFamily="34" charset="0"/>
            </a:endParaRPr>
          </a:p>
        </p:txBody>
      </p:sp>
      <p:sp>
        <p:nvSpPr>
          <p:cNvPr id="22" name="Oval 21">
            <a:extLst>
              <a:ext uri="{FF2B5EF4-FFF2-40B4-BE49-F238E27FC236}">
                <a16:creationId xmlns:a16="http://schemas.microsoft.com/office/drawing/2014/main" id="{50D549FD-01D0-E4E1-759F-52304C909C22}"/>
              </a:ext>
            </a:extLst>
          </p:cNvPr>
          <p:cNvSpPr/>
          <p:nvPr/>
        </p:nvSpPr>
        <p:spPr>
          <a:xfrm>
            <a:off x="6672372" y="2376461"/>
            <a:ext cx="150155" cy="15015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RU" sz="1400">
              <a:solidFill>
                <a:schemeClr val="bg1"/>
              </a:solidFill>
              <a:latin typeface="ES Build" pitchFamily="50" charset="0"/>
              <a:cs typeface="Microsoft Sans Serif" panose="020B0604020202020204" pitchFamily="34" charset="0"/>
            </a:endParaRPr>
          </a:p>
        </p:txBody>
      </p:sp>
      <p:sp>
        <p:nvSpPr>
          <p:cNvPr id="23" name="Oval 22">
            <a:extLst>
              <a:ext uri="{FF2B5EF4-FFF2-40B4-BE49-F238E27FC236}">
                <a16:creationId xmlns:a16="http://schemas.microsoft.com/office/drawing/2014/main" id="{B3D7CD18-C3FE-0127-C763-5C3ADFE023EE}"/>
              </a:ext>
            </a:extLst>
          </p:cNvPr>
          <p:cNvSpPr/>
          <p:nvPr/>
        </p:nvSpPr>
        <p:spPr>
          <a:xfrm>
            <a:off x="6672372" y="3098357"/>
            <a:ext cx="150155" cy="15015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RU" sz="1400">
              <a:solidFill>
                <a:schemeClr val="bg1"/>
              </a:solidFill>
              <a:latin typeface="ES Build" pitchFamily="50" charset="0"/>
              <a:cs typeface="Microsoft Sans Serif" panose="020B0604020202020204" pitchFamily="34" charset="0"/>
            </a:endParaRPr>
          </a:p>
        </p:txBody>
      </p:sp>
      <p:sp>
        <p:nvSpPr>
          <p:cNvPr id="25" name="Oval 24">
            <a:extLst>
              <a:ext uri="{FF2B5EF4-FFF2-40B4-BE49-F238E27FC236}">
                <a16:creationId xmlns:a16="http://schemas.microsoft.com/office/drawing/2014/main" id="{7D03731E-7E2E-D8D7-1903-63287801F676}"/>
              </a:ext>
            </a:extLst>
          </p:cNvPr>
          <p:cNvSpPr/>
          <p:nvPr/>
        </p:nvSpPr>
        <p:spPr>
          <a:xfrm>
            <a:off x="8585393" y="2376461"/>
            <a:ext cx="150155" cy="15015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RU" sz="1400">
              <a:solidFill>
                <a:schemeClr val="bg1"/>
              </a:solidFill>
              <a:latin typeface="ES Build" pitchFamily="50" charset="0"/>
              <a:cs typeface="Microsoft Sans Serif" panose="020B0604020202020204" pitchFamily="34" charset="0"/>
            </a:endParaRPr>
          </a:p>
        </p:txBody>
      </p:sp>
      <p:sp>
        <p:nvSpPr>
          <p:cNvPr id="28" name="Oval 27">
            <a:extLst>
              <a:ext uri="{FF2B5EF4-FFF2-40B4-BE49-F238E27FC236}">
                <a16:creationId xmlns:a16="http://schemas.microsoft.com/office/drawing/2014/main" id="{76BA1F32-FE92-D046-B5B2-B39495677AA1}"/>
              </a:ext>
            </a:extLst>
          </p:cNvPr>
          <p:cNvSpPr/>
          <p:nvPr/>
        </p:nvSpPr>
        <p:spPr>
          <a:xfrm>
            <a:off x="10474351" y="2376461"/>
            <a:ext cx="150155" cy="15015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RU" sz="1400">
              <a:solidFill>
                <a:schemeClr val="bg1"/>
              </a:solidFill>
              <a:latin typeface="ES Build" pitchFamily="50" charset="0"/>
              <a:cs typeface="Microsoft Sans Serif" panose="020B0604020202020204" pitchFamily="34" charset="0"/>
            </a:endParaRPr>
          </a:p>
        </p:txBody>
      </p:sp>
      <p:sp>
        <p:nvSpPr>
          <p:cNvPr id="29" name="TextBox 28">
            <a:extLst>
              <a:ext uri="{FF2B5EF4-FFF2-40B4-BE49-F238E27FC236}">
                <a16:creationId xmlns:a16="http://schemas.microsoft.com/office/drawing/2014/main" id="{0A9D9101-A5D6-7565-937A-07CAAEB83628}"/>
              </a:ext>
            </a:extLst>
          </p:cNvPr>
          <p:cNvSpPr txBox="1"/>
          <p:nvPr/>
        </p:nvSpPr>
        <p:spPr>
          <a:xfrm>
            <a:off x="777399" y="5773997"/>
            <a:ext cx="2543533" cy="418176"/>
          </a:xfrm>
          <a:prstGeom prst="roundRect">
            <a:avLst>
              <a:gd name="adj" fmla="val 4253"/>
            </a:avLst>
          </a:prstGeom>
          <a:noFill/>
          <a:ln w="12700">
            <a:noFill/>
          </a:ln>
        </p:spPr>
        <p:txBody>
          <a:bodyPr wrap="square" lIns="0" tIns="0" rIns="0" bIns="0" rtlCol="0" anchor="t">
            <a:spAutoFit/>
          </a:bodyPr>
          <a:lstStyle/>
          <a:p>
            <a:pPr marL="152392" indent="-152392">
              <a:spcAft>
                <a:spcPts val="1333"/>
              </a:spcAft>
              <a:buClr>
                <a:srgbClr val="0A2F5B"/>
              </a:buClr>
              <a:buFont typeface="Arial" panose="020B0604020202020204" pitchFamily="34" charset="0"/>
              <a:buChar char="•"/>
              <a:defRPr/>
            </a:pPr>
            <a:r>
              <a:rPr lang="en-US" sz="1333">
                <a:solidFill>
                  <a:srgbClr val="002060"/>
                </a:solidFill>
                <a:latin typeface="+mj-lt"/>
              </a:rPr>
              <a:t>Veeam Backup &amp; Replication Community Edition </a:t>
            </a:r>
          </a:p>
        </p:txBody>
      </p:sp>
      <p:sp>
        <p:nvSpPr>
          <p:cNvPr id="30" name="TextBox 29">
            <a:extLst>
              <a:ext uri="{FF2B5EF4-FFF2-40B4-BE49-F238E27FC236}">
                <a16:creationId xmlns:a16="http://schemas.microsoft.com/office/drawing/2014/main" id="{990D07F1-94B3-0BDF-1E42-03F5BA9A4EAE}"/>
              </a:ext>
            </a:extLst>
          </p:cNvPr>
          <p:cNvSpPr txBox="1"/>
          <p:nvPr/>
        </p:nvSpPr>
        <p:spPr>
          <a:xfrm>
            <a:off x="3508351" y="5773997"/>
            <a:ext cx="3368556" cy="418176"/>
          </a:xfrm>
          <a:prstGeom prst="roundRect">
            <a:avLst>
              <a:gd name="adj" fmla="val 4253"/>
            </a:avLst>
          </a:prstGeom>
          <a:noFill/>
          <a:ln w="12700">
            <a:noFill/>
          </a:ln>
        </p:spPr>
        <p:txBody>
          <a:bodyPr wrap="square" lIns="0" tIns="0" rIns="0" bIns="0" rtlCol="0" anchor="t">
            <a:spAutoFit/>
          </a:bodyPr>
          <a:lstStyle/>
          <a:p>
            <a:pPr marL="152392" indent="-152392">
              <a:spcAft>
                <a:spcPts val="1333"/>
              </a:spcAft>
              <a:buClr>
                <a:srgbClr val="0A2F5B"/>
              </a:buClr>
              <a:buFont typeface="Arial" panose="020B0604020202020204" pitchFamily="34" charset="0"/>
              <a:buChar char="•"/>
              <a:defRPr/>
            </a:pPr>
            <a:r>
              <a:rPr lang="en-US" sz="1333">
                <a:solidFill>
                  <a:srgbClr val="002060"/>
                </a:solidFill>
                <a:latin typeface="+mj-lt"/>
              </a:rPr>
              <a:t>Veeam Data Platform </a:t>
            </a:r>
            <a:br>
              <a:rPr lang="en-US" sz="1333">
                <a:solidFill>
                  <a:srgbClr val="002060"/>
                </a:solidFill>
                <a:latin typeface="+mj-lt"/>
              </a:rPr>
            </a:br>
            <a:r>
              <a:rPr lang="en-US" sz="1333">
                <a:solidFill>
                  <a:srgbClr val="002060"/>
                </a:solidFill>
                <a:latin typeface="+mj-lt"/>
              </a:rPr>
              <a:t>Essentials Edition for Small Business</a:t>
            </a:r>
            <a:endParaRPr lang="en-US" sz="1333">
              <a:solidFill>
                <a:srgbClr val="002060"/>
              </a:solidFill>
              <a:latin typeface="+mj-lt"/>
              <a:ea typeface="Tahoma"/>
              <a:cs typeface="Tahoma"/>
            </a:endParaRPr>
          </a:p>
        </p:txBody>
      </p:sp>
    </p:spTree>
    <p:extLst>
      <p:ext uri="{BB962C8B-B14F-4D97-AF65-F5344CB8AC3E}">
        <p14:creationId xmlns:p14="http://schemas.microsoft.com/office/powerpoint/2010/main" val="2855290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37" name="Group 136">
            <a:extLst>
              <a:ext uri="{FF2B5EF4-FFF2-40B4-BE49-F238E27FC236}">
                <a16:creationId xmlns:a16="http://schemas.microsoft.com/office/drawing/2014/main" id="{94719F8D-3905-3C94-13FE-B1CD9C44CE8A}"/>
              </a:ext>
            </a:extLst>
          </p:cNvPr>
          <p:cNvGrpSpPr/>
          <p:nvPr/>
        </p:nvGrpSpPr>
        <p:grpSpPr>
          <a:xfrm>
            <a:off x="493712" y="1451221"/>
            <a:ext cx="9001533" cy="4676566"/>
            <a:chOff x="493712" y="1451221"/>
            <a:chExt cx="9001533" cy="4676566"/>
          </a:xfrm>
        </p:grpSpPr>
        <p:sp>
          <p:nvSpPr>
            <p:cNvPr id="147" name="Rounded Rectangle 146">
              <a:extLst>
                <a:ext uri="{FF2B5EF4-FFF2-40B4-BE49-F238E27FC236}">
                  <a16:creationId xmlns:a16="http://schemas.microsoft.com/office/drawing/2014/main" id="{C08FC8AB-A949-ED7B-200E-F4B865B68C7C}"/>
                </a:ext>
              </a:extLst>
            </p:cNvPr>
            <p:cNvSpPr/>
            <p:nvPr/>
          </p:nvSpPr>
          <p:spPr>
            <a:xfrm>
              <a:off x="493712" y="1513490"/>
              <a:ext cx="9001533" cy="4614297"/>
            </a:xfrm>
            <a:prstGeom prst="roundRect">
              <a:avLst>
                <a:gd name="adj" fmla="val 1846"/>
              </a:avLst>
            </a:prstGeom>
            <a:noFill/>
            <a:ln w="12700">
              <a:solidFill>
                <a:schemeClr val="tx2"/>
              </a:solidFill>
              <a:headEnd type="none" w="med" len="med"/>
              <a:tailEnd type="none" w="med" len="med"/>
            </a:ln>
            <a:effectLst>
              <a:outerShdw blurRad="381000" algn="ctr" rotWithShape="0">
                <a:schemeClr val="accent1">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960" tIns="182880" rIns="822960" bIns="0" numCol="1" spcCol="0" rtlCol="0" fromWordArt="0" anchor="t" anchorCtr="0" forceAA="0" compatLnSpc="1">
              <a:prstTxWarp prst="textNoShape">
                <a:avLst/>
              </a:prstTxWarp>
              <a:noAutofit/>
            </a:bodyPr>
            <a:lstStyle/>
            <a:p>
              <a:pPr algn="ctr">
                <a:lnSpc>
                  <a:spcPct val="96000"/>
                </a:lnSpc>
              </a:pPr>
              <a:endParaRPr lang="en-US" sz="1400">
                <a:solidFill>
                  <a:schemeClr val="tx1"/>
                </a:solidFill>
                <a:cs typeface="Microsoft Sans Serif" panose="020B0604020202020204" pitchFamily="34" charset="0"/>
              </a:endParaRPr>
            </a:p>
          </p:txBody>
        </p:sp>
        <p:sp>
          <p:nvSpPr>
            <p:cNvPr id="136" name="Rectangle 135">
              <a:extLst>
                <a:ext uri="{FF2B5EF4-FFF2-40B4-BE49-F238E27FC236}">
                  <a16:creationId xmlns:a16="http://schemas.microsoft.com/office/drawing/2014/main" id="{20D42C68-A638-D4AD-996B-F1AAA9E6F2E7}"/>
                </a:ext>
              </a:extLst>
            </p:cNvPr>
            <p:cNvSpPr/>
            <p:nvPr/>
          </p:nvSpPr>
          <p:spPr>
            <a:xfrm>
              <a:off x="3843817" y="1451221"/>
              <a:ext cx="2313048" cy="1710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a:solidFill>
                  <a:schemeClr val="bg1"/>
                </a:solidFill>
                <a:latin typeface="ES Build" pitchFamily="50" charset="0"/>
                <a:cs typeface="Microsoft Sans Serif" panose="020B0604020202020204" pitchFamily="34" charset="0"/>
              </a:endParaRPr>
            </a:p>
          </p:txBody>
        </p:sp>
      </p:grpSp>
      <p:sp>
        <p:nvSpPr>
          <p:cNvPr id="15" name="Rounded Rectangle 4">
            <a:extLst>
              <a:ext uri="{FF2B5EF4-FFF2-40B4-BE49-F238E27FC236}">
                <a16:creationId xmlns:a16="http://schemas.microsoft.com/office/drawing/2014/main" id="{AA17D193-4821-E86D-10DE-9F6AFEFBD7FB}"/>
              </a:ext>
            </a:extLst>
          </p:cNvPr>
          <p:cNvSpPr/>
          <p:nvPr/>
        </p:nvSpPr>
        <p:spPr bwMode="auto">
          <a:xfrm>
            <a:off x="671376" y="1745645"/>
            <a:ext cx="8625024" cy="2913988"/>
          </a:xfrm>
          <a:prstGeom prst="roundRect">
            <a:avLst>
              <a:gd name="adj" fmla="val 2500"/>
            </a:avLst>
          </a:prstGeom>
          <a:solidFill>
            <a:schemeClr val="bg1"/>
          </a:solidFill>
          <a:ln w="12700">
            <a:noFill/>
            <a:headEnd type="none" w="med" len="med"/>
            <a:tailEnd type="none" w="med" len="med"/>
          </a:ln>
          <a:effectLst>
            <a:outerShdw blurRad="152400" sx="102000" sy="102000" algn="ctr" rotWithShape="0">
              <a:prstClr val="black">
                <a:alpha val="1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algn="ctr">
              <a:lnSpc>
                <a:spcPct val="96000"/>
              </a:lnSpc>
            </a:pPr>
            <a:endParaRPr lang="en-US" sz="1200">
              <a:solidFill>
                <a:schemeClr val="tx1"/>
              </a:solidFill>
              <a:latin typeface="ES Build Neutral"/>
              <a:cs typeface="Microsoft Sans Serif" panose="020B0604020202020204" pitchFamily="34" charset="0"/>
            </a:endParaRPr>
          </a:p>
        </p:txBody>
      </p:sp>
      <p:sp>
        <p:nvSpPr>
          <p:cNvPr id="3" name="Title 2">
            <a:extLst>
              <a:ext uri="{FF2B5EF4-FFF2-40B4-BE49-F238E27FC236}">
                <a16:creationId xmlns:a16="http://schemas.microsoft.com/office/drawing/2014/main" id="{1773B66A-4BA9-CE63-694D-7F2FB8E28E94}"/>
              </a:ext>
            </a:extLst>
          </p:cNvPr>
          <p:cNvSpPr>
            <a:spLocks noGrp="1"/>
          </p:cNvSpPr>
          <p:nvPr>
            <p:ph type="title"/>
          </p:nvPr>
        </p:nvSpPr>
        <p:spPr/>
        <p:txBody>
          <a:bodyPr/>
          <a:lstStyle/>
          <a:p>
            <a:pPr algn="ctr"/>
            <a:r>
              <a:rPr lang="en-US"/>
              <a:t>Veeam Data Cloud unlocks the full potential </a:t>
            </a:r>
            <a:br>
              <a:rPr lang="en-US"/>
            </a:br>
            <a:r>
              <a:rPr lang="en-US"/>
              <a:t>of Veeam Data Platform as a service</a:t>
            </a:r>
          </a:p>
        </p:txBody>
      </p:sp>
      <p:sp>
        <p:nvSpPr>
          <p:cNvPr id="290" name="TextBox 289">
            <a:extLst>
              <a:ext uri="{FF2B5EF4-FFF2-40B4-BE49-F238E27FC236}">
                <a16:creationId xmlns:a16="http://schemas.microsoft.com/office/drawing/2014/main" id="{D225A718-EC5C-12F4-998A-00D3E0019FDC}"/>
              </a:ext>
            </a:extLst>
          </p:cNvPr>
          <p:cNvSpPr txBox="1"/>
          <p:nvPr/>
        </p:nvSpPr>
        <p:spPr>
          <a:xfrm>
            <a:off x="2361220" y="6208359"/>
            <a:ext cx="5279009"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D15F"/>
                </a:solidFill>
                <a:effectLst/>
                <a:uLnTx/>
                <a:uFillTx/>
                <a:latin typeface="ES Build Neutral"/>
                <a:ea typeface="+mn-ea"/>
                <a:cs typeface="+mn-cs"/>
              </a:rPr>
              <a:t>Confidence without Complexity • Secure Architecture • All-inclusive and Predictable Pricing</a:t>
            </a:r>
          </a:p>
        </p:txBody>
      </p:sp>
      <p:grpSp>
        <p:nvGrpSpPr>
          <p:cNvPr id="245" name="Group 244">
            <a:extLst>
              <a:ext uri="{FF2B5EF4-FFF2-40B4-BE49-F238E27FC236}">
                <a16:creationId xmlns:a16="http://schemas.microsoft.com/office/drawing/2014/main" id="{5F0C2AF6-9BEC-38D6-D606-EC27006A5613}"/>
              </a:ext>
            </a:extLst>
          </p:cNvPr>
          <p:cNvGrpSpPr/>
          <p:nvPr/>
        </p:nvGrpSpPr>
        <p:grpSpPr>
          <a:xfrm>
            <a:off x="2929417" y="5838550"/>
            <a:ext cx="6285502" cy="228148"/>
            <a:chOff x="4215908" y="5932739"/>
            <a:chExt cx="4879153" cy="228148"/>
          </a:xfrm>
        </p:grpSpPr>
        <p:cxnSp>
          <p:nvCxnSpPr>
            <p:cNvPr id="43" name="Straight Connector 42">
              <a:extLst>
                <a:ext uri="{FF2B5EF4-FFF2-40B4-BE49-F238E27FC236}">
                  <a16:creationId xmlns:a16="http://schemas.microsoft.com/office/drawing/2014/main" id="{D4445DD9-3571-3B46-102E-A1BF0D0F8910}"/>
                </a:ext>
              </a:extLst>
            </p:cNvPr>
            <p:cNvCxnSpPr>
              <a:cxnSpLocks/>
            </p:cNvCxnSpPr>
            <p:nvPr/>
          </p:nvCxnSpPr>
          <p:spPr>
            <a:xfrm>
              <a:off x="4215908" y="6038964"/>
              <a:ext cx="4879153" cy="0"/>
            </a:xfrm>
            <a:prstGeom prst="line">
              <a:avLst/>
            </a:prstGeom>
            <a:ln w="12700" cap="rnd">
              <a:solidFill>
                <a:schemeClr val="tx2"/>
              </a:solidFill>
              <a:round/>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02984D91-2A22-B5ED-31FB-39F670AEE89C}"/>
                </a:ext>
              </a:extLst>
            </p:cNvPr>
            <p:cNvSpPr txBox="1"/>
            <p:nvPr/>
          </p:nvSpPr>
          <p:spPr>
            <a:xfrm>
              <a:off x="6192774" y="5932739"/>
              <a:ext cx="761076" cy="228148"/>
            </a:xfrm>
            <a:prstGeom prst="roundRect">
              <a:avLst/>
            </a:prstGeom>
            <a:solidFill>
              <a:schemeClr val="bg1"/>
            </a:solidFill>
          </p:spPr>
          <p:txBody>
            <a:bodyPr wrap="square" tIns="45720" bIns="45720" anchor="ctr">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ES Build Neutral"/>
                  <a:ea typeface="Calibri" panose="020F0502020204030204" pitchFamily="34" charset="0"/>
                  <a:cs typeface="Calibri" panose="020F0502020204030204" pitchFamily="34" charset="0"/>
                </a:rPr>
                <a:t>ROADMAP</a:t>
              </a:r>
              <a:endParaRPr kumimoji="0" lang="en-US" sz="800" b="0" i="0" u="none" strike="noStrike" kern="1200" cap="none" spc="0" normalizeH="0" baseline="0" noProof="0">
                <a:ln>
                  <a:noFill/>
                </a:ln>
                <a:effectLst/>
                <a:uLnTx/>
                <a:uFillTx/>
                <a:latin typeface="ES Build Neutral"/>
                <a:ea typeface="+mn-ea"/>
                <a:cs typeface="+mn-cs"/>
              </a:endParaRPr>
            </a:p>
          </p:txBody>
        </p:sp>
      </p:grpSp>
      <p:grpSp>
        <p:nvGrpSpPr>
          <p:cNvPr id="246" name="Group 245">
            <a:extLst>
              <a:ext uri="{FF2B5EF4-FFF2-40B4-BE49-F238E27FC236}">
                <a16:creationId xmlns:a16="http://schemas.microsoft.com/office/drawing/2014/main" id="{A7423764-7478-188D-72DF-AC54C69DC45B}"/>
              </a:ext>
            </a:extLst>
          </p:cNvPr>
          <p:cNvGrpSpPr/>
          <p:nvPr/>
        </p:nvGrpSpPr>
        <p:grpSpPr>
          <a:xfrm>
            <a:off x="5755464" y="1886352"/>
            <a:ext cx="3426636" cy="125992"/>
            <a:chOff x="3957838" y="5799948"/>
            <a:chExt cx="5074023" cy="125992"/>
          </a:xfrm>
        </p:grpSpPr>
        <p:cxnSp>
          <p:nvCxnSpPr>
            <p:cNvPr id="247" name="Straight Connector 246">
              <a:extLst>
                <a:ext uri="{FF2B5EF4-FFF2-40B4-BE49-F238E27FC236}">
                  <a16:creationId xmlns:a16="http://schemas.microsoft.com/office/drawing/2014/main" id="{5C0DC2E7-0258-D54D-FF34-AB5458CB3EA9}"/>
                </a:ext>
              </a:extLst>
            </p:cNvPr>
            <p:cNvCxnSpPr>
              <a:cxnSpLocks/>
            </p:cNvCxnSpPr>
            <p:nvPr/>
          </p:nvCxnSpPr>
          <p:spPr>
            <a:xfrm>
              <a:off x="3957838" y="5851914"/>
              <a:ext cx="5074023" cy="0"/>
            </a:xfrm>
            <a:prstGeom prst="line">
              <a:avLst/>
            </a:prstGeom>
            <a:ln w="12700" cap="rnd">
              <a:solidFill>
                <a:schemeClr val="tx2"/>
              </a:solidFill>
              <a:round/>
              <a:headEnd type="arrow" w="med" len="sm"/>
              <a:tailEnd type="arrow" w="med" len="sm"/>
            </a:ln>
          </p:spPr>
          <p:style>
            <a:lnRef idx="1">
              <a:schemeClr val="accent1"/>
            </a:lnRef>
            <a:fillRef idx="0">
              <a:schemeClr val="accent1"/>
            </a:fillRef>
            <a:effectRef idx="0">
              <a:schemeClr val="accent1"/>
            </a:effectRef>
            <a:fontRef idx="minor">
              <a:schemeClr val="tx1"/>
            </a:fontRef>
          </p:style>
        </p:cxnSp>
        <p:sp>
          <p:nvSpPr>
            <p:cNvPr id="248" name="TextBox 247">
              <a:extLst>
                <a:ext uri="{FF2B5EF4-FFF2-40B4-BE49-F238E27FC236}">
                  <a16:creationId xmlns:a16="http://schemas.microsoft.com/office/drawing/2014/main" id="{6B273F23-8514-37AD-2FE7-F9782F965F6D}"/>
                </a:ext>
              </a:extLst>
            </p:cNvPr>
            <p:cNvSpPr txBox="1"/>
            <p:nvPr/>
          </p:nvSpPr>
          <p:spPr>
            <a:xfrm>
              <a:off x="5971035" y="5799948"/>
              <a:ext cx="1185377" cy="125992"/>
            </a:xfrm>
            <a:prstGeom prst="roundRect">
              <a:avLst/>
            </a:prstGeom>
            <a:solidFill>
              <a:schemeClr val="bg1"/>
            </a:solidFill>
          </p:spPr>
          <p:txBody>
            <a:bodyPr wrap="square" tIns="0" bIns="0" anchor="ctr">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ES Build Neutral"/>
                  <a:ea typeface="Calibri" panose="020F0502020204030204" pitchFamily="34" charset="0"/>
                  <a:cs typeface="Calibri" panose="020F0502020204030204" pitchFamily="34" charset="0"/>
                </a:rPr>
                <a:t>ROADMAP</a:t>
              </a:r>
              <a:endParaRPr kumimoji="0" lang="en-US" sz="800" b="0" i="0" u="none" strike="noStrike" kern="1200" cap="none" spc="0" normalizeH="0" baseline="0" noProof="0">
                <a:ln>
                  <a:noFill/>
                </a:ln>
                <a:effectLst/>
                <a:uLnTx/>
                <a:uFillTx/>
                <a:latin typeface="ES Build Neutral"/>
                <a:ea typeface="+mn-ea"/>
                <a:cs typeface="+mn-cs"/>
              </a:endParaRPr>
            </a:p>
          </p:txBody>
        </p:sp>
      </p:grpSp>
      <p:sp>
        <p:nvSpPr>
          <p:cNvPr id="62" name="Rounded Rectangle 12">
            <a:extLst>
              <a:ext uri="{FF2B5EF4-FFF2-40B4-BE49-F238E27FC236}">
                <a16:creationId xmlns:a16="http://schemas.microsoft.com/office/drawing/2014/main" id="{E981B494-7A60-0BCF-1554-7957AFA7F8F0}"/>
              </a:ext>
            </a:extLst>
          </p:cNvPr>
          <p:cNvSpPr>
            <a:spLocks noChangeAspect="1"/>
          </p:cNvSpPr>
          <p:nvPr/>
        </p:nvSpPr>
        <p:spPr bwMode="auto">
          <a:xfrm>
            <a:off x="777785" y="2102734"/>
            <a:ext cx="914400" cy="951010"/>
          </a:xfrm>
          <a:prstGeom prst="roundRect">
            <a:avLst>
              <a:gd name="adj" fmla="val 4791"/>
            </a:avLst>
          </a:prstGeom>
          <a:solidFill>
            <a:schemeClr val="tx1"/>
          </a:solidFill>
          <a:ln w="12700">
            <a:noFill/>
            <a:headEnd type="none" w="med" len="med"/>
            <a:tailEnd type="none" w="med" len="med"/>
          </a:ln>
          <a:effectLst>
            <a:innerShdw blurRad="430585">
              <a:schemeClr val="bg1">
                <a:alpha val="10127"/>
              </a:scheme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algn="ctr">
              <a:lnSpc>
                <a:spcPct val="96000"/>
              </a:lnSpc>
            </a:pPr>
            <a:r>
              <a:rPr lang="en-US" sz="900">
                <a:solidFill>
                  <a:schemeClr val="bg1"/>
                </a:solidFill>
                <a:latin typeface="ES Build Neutral"/>
                <a:cs typeface="Microsoft Sans Serif" panose="020B0604020202020204" pitchFamily="34" charset="0"/>
              </a:rPr>
              <a:t>Policy Management</a:t>
            </a:r>
          </a:p>
        </p:txBody>
      </p:sp>
      <p:sp>
        <p:nvSpPr>
          <p:cNvPr id="61" name="Rounded Rectangle 60">
            <a:extLst>
              <a:ext uri="{FF2B5EF4-FFF2-40B4-BE49-F238E27FC236}">
                <a16:creationId xmlns:a16="http://schemas.microsoft.com/office/drawing/2014/main" id="{4CD264AD-A0FD-90AD-23FC-BEA033EBA53C}"/>
              </a:ext>
            </a:extLst>
          </p:cNvPr>
          <p:cNvSpPr>
            <a:spLocks noChangeAspect="1"/>
          </p:cNvSpPr>
          <p:nvPr/>
        </p:nvSpPr>
        <p:spPr bwMode="auto">
          <a:xfrm>
            <a:off x="2025824" y="2102734"/>
            <a:ext cx="914400" cy="951010"/>
          </a:xfrm>
          <a:prstGeom prst="roundRect">
            <a:avLst>
              <a:gd name="adj" fmla="val 4791"/>
            </a:avLst>
          </a:prstGeom>
          <a:solidFill>
            <a:schemeClr val="tx1"/>
          </a:solidFill>
          <a:ln w="12700">
            <a:noFill/>
            <a:headEnd type="none" w="med" len="med"/>
            <a:tailEnd type="none" w="med" len="med"/>
          </a:ln>
          <a:effectLst>
            <a:innerShdw blurRad="430585">
              <a:schemeClr val="bg1">
                <a:alpha val="10127"/>
              </a:scheme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algn="ctr">
              <a:lnSpc>
                <a:spcPct val="96000"/>
              </a:lnSpc>
            </a:pPr>
            <a:r>
              <a:rPr lang="en-US" sz="900">
                <a:solidFill>
                  <a:schemeClr val="bg1"/>
                </a:solidFill>
                <a:latin typeface="ES Build Neutral"/>
                <a:cs typeface="Microsoft Sans Serif" panose="020B0604020202020204" pitchFamily="34" charset="0"/>
              </a:rPr>
              <a:t>Product Automation</a:t>
            </a:r>
          </a:p>
        </p:txBody>
      </p:sp>
      <p:sp>
        <p:nvSpPr>
          <p:cNvPr id="59" name="Rounded Rectangle 16">
            <a:extLst>
              <a:ext uri="{FF2B5EF4-FFF2-40B4-BE49-F238E27FC236}">
                <a16:creationId xmlns:a16="http://schemas.microsoft.com/office/drawing/2014/main" id="{703AC7B9-6E22-8ABC-D61D-C9A41A4F292E}"/>
              </a:ext>
            </a:extLst>
          </p:cNvPr>
          <p:cNvSpPr>
            <a:spLocks noChangeAspect="1"/>
          </p:cNvSpPr>
          <p:nvPr/>
        </p:nvSpPr>
        <p:spPr bwMode="auto">
          <a:xfrm>
            <a:off x="3273863" y="2102734"/>
            <a:ext cx="914400" cy="951010"/>
          </a:xfrm>
          <a:prstGeom prst="roundRect">
            <a:avLst>
              <a:gd name="adj" fmla="val 4791"/>
            </a:avLst>
          </a:prstGeom>
          <a:solidFill>
            <a:schemeClr val="tx1"/>
          </a:solidFill>
          <a:ln w="12700">
            <a:noFill/>
            <a:headEnd type="none" w="med" len="med"/>
            <a:tailEnd type="none" w="med" len="med"/>
          </a:ln>
          <a:effectLst>
            <a:innerShdw blurRad="430585">
              <a:schemeClr val="bg1">
                <a:alpha val="10127"/>
              </a:scheme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algn="ctr">
              <a:lnSpc>
                <a:spcPct val="96000"/>
              </a:lnSpc>
            </a:pPr>
            <a:r>
              <a:rPr lang="en-US" sz="900">
                <a:solidFill>
                  <a:schemeClr val="bg1"/>
                </a:solidFill>
                <a:latin typeface="ES Build Neutral"/>
                <a:cs typeface="Microsoft Sans Serif" panose="020B0604020202020204" pitchFamily="34" charset="0"/>
              </a:rPr>
              <a:t>Consumption Management</a:t>
            </a:r>
          </a:p>
        </p:txBody>
      </p:sp>
      <p:sp>
        <p:nvSpPr>
          <p:cNvPr id="131" name="Rounded Rectangle 13">
            <a:extLst>
              <a:ext uri="{FF2B5EF4-FFF2-40B4-BE49-F238E27FC236}">
                <a16:creationId xmlns:a16="http://schemas.microsoft.com/office/drawing/2014/main" id="{C20B4B10-4D77-1F7E-4AD7-6782FA81B574}"/>
              </a:ext>
            </a:extLst>
          </p:cNvPr>
          <p:cNvSpPr/>
          <p:nvPr/>
        </p:nvSpPr>
        <p:spPr bwMode="auto">
          <a:xfrm>
            <a:off x="4521902" y="2102734"/>
            <a:ext cx="914401" cy="951010"/>
          </a:xfrm>
          <a:prstGeom prst="roundRect">
            <a:avLst>
              <a:gd name="adj" fmla="val 4791"/>
            </a:avLst>
          </a:prstGeom>
          <a:solidFill>
            <a:schemeClr val="tx1"/>
          </a:solidFill>
          <a:ln w="12700">
            <a:noFill/>
            <a:headEnd type="none" w="med" len="med"/>
            <a:tailEnd type="none" w="med" len="med"/>
          </a:ln>
          <a:effectLst>
            <a:innerShdw blurRad="430585">
              <a:schemeClr val="bg1">
                <a:alpha val="10127"/>
              </a:scheme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algn="ctr">
              <a:lnSpc>
                <a:spcPct val="96000"/>
              </a:lnSpc>
            </a:pPr>
            <a:r>
              <a:rPr lang="en-US" sz="900">
                <a:solidFill>
                  <a:schemeClr val="bg1"/>
                </a:solidFill>
                <a:latin typeface="ES Build Neutral"/>
                <a:cs typeface="Microsoft Sans Serif" panose="020B0604020202020204" pitchFamily="34" charset="0"/>
              </a:rPr>
              <a:t>Reporting</a:t>
            </a:r>
          </a:p>
        </p:txBody>
      </p:sp>
      <p:grpSp>
        <p:nvGrpSpPr>
          <p:cNvPr id="144" name="Group 143">
            <a:extLst>
              <a:ext uri="{FF2B5EF4-FFF2-40B4-BE49-F238E27FC236}">
                <a16:creationId xmlns:a16="http://schemas.microsoft.com/office/drawing/2014/main" id="{C0010069-69E6-B352-B2D5-EDB5C55EBAC8}"/>
              </a:ext>
            </a:extLst>
          </p:cNvPr>
          <p:cNvGrpSpPr>
            <a:grpSpLocks noChangeAspect="1"/>
          </p:cNvGrpSpPr>
          <p:nvPr/>
        </p:nvGrpSpPr>
        <p:grpSpPr>
          <a:xfrm>
            <a:off x="4865461" y="2286600"/>
            <a:ext cx="262735" cy="289053"/>
            <a:chOff x="5368805" y="2234275"/>
            <a:chExt cx="146834" cy="163586"/>
          </a:xfrm>
        </p:grpSpPr>
        <p:sp>
          <p:nvSpPr>
            <p:cNvPr id="195" name="Freeform 143">
              <a:extLst>
                <a:ext uri="{FF2B5EF4-FFF2-40B4-BE49-F238E27FC236}">
                  <a16:creationId xmlns:a16="http://schemas.microsoft.com/office/drawing/2014/main" id="{71F8726B-6788-A49A-8B94-2AFD7DBB7500}"/>
                </a:ext>
              </a:extLst>
            </p:cNvPr>
            <p:cNvSpPr/>
            <p:nvPr/>
          </p:nvSpPr>
          <p:spPr>
            <a:xfrm rot="18900000">
              <a:off x="5501076" y="2346614"/>
              <a:ext cx="14563" cy="51247"/>
            </a:xfrm>
            <a:custGeom>
              <a:avLst/>
              <a:gdLst>
                <a:gd name="connsiteX0" fmla="*/ 0 w 18192"/>
                <a:gd name="connsiteY0" fmla="*/ 0 h 72889"/>
                <a:gd name="connsiteX1" fmla="*/ 18192 w 18192"/>
                <a:gd name="connsiteY1" fmla="*/ 0 h 72889"/>
                <a:gd name="connsiteX2" fmla="*/ 18192 w 18192"/>
                <a:gd name="connsiteY2" fmla="*/ 72890 h 72889"/>
                <a:gd name="connsiteX3" fmla="*/ 0 w 18192"/>
                <a:gd name="connsiteY3" fmla="*/ 72890 h 72889"/>
              </a:gdLst>
              <a:ahLst/>
              <a:cxnLst>
                <a:cxn ang="0">
                  <a:pos x="connsiteX0" y="connsiteY0"/>
                </a:cxn>
                <a:cxn ang="0">
                  <a:pos x="connsiteX1" y="connsiteY1"/>
                </a:cxn>
                <a:cxn ang="0">
                  <a:pos x="connsiteX2" y="connsiteY2"/>
                </a:cxn>
                <a:cxn ang="0">
                  <a:pos x="connsiteX3" y="connsiteY3"/>
                </a:cxn>
              </a:cxnLst>
              <a:rect l="l" t="t" r="r" b="b"/>
              <a:pathLst>
                <a:path w="18192" h="72889">
                  <a:moveTo>
                    <a:pt x="0" y="0"/>
                  </a:moveTo>
                  <a:lnTo>
                    <a:pt x="18192" y="0"/>
                  </a:lnTo>
                  <a:lnTo>
                    <a:pt x="18192" y="72890"/>
                  </a:lnTo>
                  <a:lnTo>
                    <a:pt x="0" y="72890"/>
                  </a:lnTo>
                  <a:close/>
                </a:path>
              </a:pathLst>
            </a:custGeom>
            <a:solidFill>
              <a:schemeClr val="tx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RU" sz="1800" b="0" i="0" u="none" strike="noStrike" kern="1200" cap="none" spc="0" normalizeH="0" baseline="0" noProof="0">
                <a:ln>
                  <a:noFill/>
                </a:ln>
                <a:effectLst/>
                <a:uLnTx/>
                <a:uFillTx/>
                <a:latin typeface="ES Build Neutral"/>
                <a:ea typeface="+mn-ea"/>
                <a:cs typeface="+mn-cs"/>
              </a:endParaRPr>
            </a:p>
          </p:txBody>
        </p:sp>
        <p:sp>
          <p:nvSpPr>
            <p:cNvPr id="196" name="Freeform 144">
              <a:extLst>
                <a:ext uri="{FF2B5EF4-FFF2-40B4-BE49-F238E27FC236}">
                  <a16:creationId xmlns:a16="http://schemas.microsoft.com/office/drawing/2014/main" id="{EDD4C7AF-1981-EE11-97D8-532CF2594B4C}"/>
                </a:ext>
              </a:extLst>
            </p:cNvPr>
            <p:cNvSpPr/>
            <p:nvPr/>
          </p:nvSpPr>
          <p:spPr>
            <a:xfrm>
              <a:off x="5368805" y="2234275"/>
              <a:ext cx="145627" cy="143337"/>
            </a:xfrm>
            <a:custGeom>
              <a:avLst/>
              <a:gdLst>
                <a:gd name="connsiteX0" fmla="*/ 90960 w 181920"/>
                <a:gd name="connsiteY0" fmla="*/ 18192 h 181920"/>
                <a:gd name="connsiteX1" fmla="*/ 163729 w 181920"/>
                <a:gd name="connsiteY1" fmla="*/ 90960 h 181920"/>
                <a:gd name="connsiteX2" fmla="*/ 90960 w 181920"/>
                <a:gd name="connsiteY2" fmla="*/ 163729 h 181920"/>
                <a:gd name="connsiteX3" fmla="*/ 18192 w 181920"/>
                <a:gd name="connsiteY3" fmla="*/ 90960 h 181920"/>
                <a:gd name="connsiteX4" fmla="*/ 90960 w 181920"/>
                <a:gd name="connsiteY4" fmla="*/ 18192 h 181920"/>
                <a:gd name="connsiteX5" fmla="*/ 90960 w 181920"/>
                <a:gd name="connsiteY5" fmla="*/ 0 h 181920"/>
                <a:gd name="connsiteX6" fmla="*/ 0 w 181920"/>
                <a:gd name="connsiteY6" fmla="*/ 90960 h 181920"/>
                <a:gd name="connsiteX7" fmla="*/ 90960 w 181920"/>
                <a:gd name="connsiteY7" fmla="*/ 181921 h 181920"/>
                <a:gd name="connsiteX8" fmla="*/ 181921 w 181920"/>
                <a:gd name="connsiteY8" fmla="*/ 90960 h 181920"/>
                <a:gd name="connsiteX9" fmla="*/ 90960 w 181920"/>
                <a:gd name="connsiteY9" fmla="*/ 0 h 181920"/>
                <a:gd name="connsiteX10" fmla="*/ 90960 w 181920"/>
                <a:gd name="connsiteY10" fmla="*/ 0 h 18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1920" h="181920">
                  <a:moveTo>
                    <a:pt x="90960" y="18192"/>
                  </a:moveTo>
                  <a:cubicBezTo>
                    <a:pt x="131104" y="18192"/>
                    <a:pt x="163729" y="50816"/>
                    <a:pt x="163729" y="90960"/>
                  </a:cubicBezTo>
                  <a:cubicBezTo>
                    <a:pt x="163729" y="131104"/>
                    <a:pt x="131104" y="163729"/>
                    <a:pt x="90960" y="163729"/>
                  </a:cubicBezTo>
                  <a:cubicBezTo>
                    <a:pt x="50816" y="163729"/>
                    <a:pt x="18192" y="131104"/>
                    <a:pt x="18192" y="90960"/>
                  </a:cubicBezTo>
                  <a:cubicBezTo>
                    <a:pt x="18192" y="50816"/>
                    <a:pt x="50816" y="18192"/>
                    <a:pt x="90960" y="18192"/>
                  </a:cubicBezTo>
                  <a:moveTo>
                    <a:pt x="90960" y="0"/>
                  </a:moveTo>
                  <a:cubicBezTo>
                    <a:pt x="40750" y="0"/>
                    <a:pt x="0" y="40750"/>
                    <a:pt x="0" y="90960"/>
                  </a:cubicBezTo>
                  <a:cubicBezTo>
                    <a:pt x="0" y="141170"/>
                    <a:pt x="40750" y="181921"/>
                    <a:pt x="90960" y="181921"/>
                  </a:cubicBezTo>
                  <a:cubicBezTo>
                    <a:pt x="141170" y="181921"/>
                    <a:pt x="181921" y="141170"/>
                    <a:pt x="181921" y="90960"/>
                  </a:cubicBezTo>
                  <a:cubicBezTo>
                    <a:pt x="181921" y="40750"/>
                    <a:pt x="141170" y="0"/>
                    <a:pt x="90960" y="0"/>
                  </a:cubicBezTo>
                  <a:lnTo>
                    <a:pt x="90960" y="0"/>
                  </a:lnTo>
                  <a:close/>
                </a:path>
              </a:pathLst>
            </a:custGeom>
            <a:solidFill>
              <a:schemeClr val="tx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RU" sz="1800" b="0" i="0" u="none" strike="noStrike" kern="1200" cap="none" spc="0" normalizeH="0" baseline="0" noProof="0">
                <a:ln>
                  <a:noFill/>
                </a:ln>
                <a:effectLst/>
                <a:uLnTx/>
                <a:uFillTx/>
                <a:latin typeface="ES Build Neutral"/>
                <a:ea typeface="+mn-ea"/>
                <a:cs typeface="+mn-cs"/>
              </a:endParaRPr>
            </a:p>
          </p:txBody>
        </p:sp>
      </p:grpSp>
      <p:grpSp>
        <p:nvGrpSpPr>
          <p:cNvPr id="2" name="vdc">
            <a:extLst>
              <a:ext uri="{FF2B5EF4-FFF2-40B4-BE49-F238E27FC236}">
                <a16:creationId xmlns:a16="http://schemas.microsoft.com/office/drawing/2014/main" id="{689B302E-1166-C3FE-F13A-A4ED715C0606}"/>
              </a:ext>
            </a:extLst>
          </p:cNvPr>
          <p:cNvGrpSpPr/>
          <p:nvPr/>
        </p:nvGrpSpPr>
        <p:grpSpPr>
          <a:xfrm>
            <a:off x="9881954" y="1745645"/>
            <a:ext cx="1781885" cy="4382142"/>
            <a:chOff x="9791300" y="1683926"/>
            <a:chExt cx="1781885" cy="4382142"/>
          </a:xfrm>
        </p:grpSpPr>
        <p:sp>
          <p:nvSpPr>
            <p:cNvPr id="4" name="cloud-box">
              <a:extLst>
                <a:ext uri="{FF2B5EF4-FFF2-40B4-BE49-F238E27FC236}">
                  <a16:creationId xmlns:a16="http://schemas.microsoft.com/office/drawing/2014/main" id="{C59F3D52-2ED0-0309-A17C-10C9DD13BDD1}"/>
                </a:ext>
              </a:extLst>
            </p:cNvPr>
            <p:cNvSpPr/>
            <p:nvPr/>
          </p:nvSpPr>
          <p:spPr>
            <a:xfrm>
              <a:off x="9791300" y="1683926"/>
              <a:ext cx="1781885" cy="4382142"/>
            </a:xfrm>
            <a:prstGeom prst="roundRect">
              <a:avLst>
                <a:gd name="adj" fmla="val 3920"/>
              </a:avLst>
            </a:prstGeom>
            <a:solidFill>
              <a:schemeClr val="bg1"/>
            </a:solidFill>
            <a:ln w="3175">
              <a:noFill/>
              <a:headEnd type="none" w="med" len="med"/>
              <a:tailEnd type="none" w="med" len="med"/>
            </a:ln>
            <a:effectLst>
              <a:outerShdw blurRad="381000" algn="ctr" rotWithShape="0">
                <a:schemeClr val="accent1">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960" tIns="0" rIns="822960" bIns="0" numCol="1" spcCol="0" rtlCol="0" fromWordArt="0" anchor="ctr" anchorCtr="0" forceAA="0" compatLnSpc="1">
              <a:prstTxWarp prst="textNoShape">
                <a:avLst/>
              </a:prstTxWarp>
              <a:noAutofit/>
            </a:bodyPr>
            <a:lstStyle/>
            <a:p>
              <a:pPr algn="ctr">
                <a:lnSpc>
                  <a:spcPct val="96000"/>
                </a:lnSpc>
              </a:pPr>
              <a:endParaRPr lang="en-US" sz="2800">
                <a:solidFill>
                  <a:srgbClr val="505861"/>
                </a:solidFill>
                <a:cs typeface="Microsoft Sans Serif" panose="020B0604020202020204" pitchFamily="34" charset="0"/>
              </a:endParaRPr>
            </a:p>
          </p:txBody>
        </p:sp>
        <p:pic>
          <p:nvPicPr>
            <p:cNvPr id="6" name="icon-vault">
              <a:extLst>
                <a:ext uri="{FF2B5EF4-FFF2-40B4-BE49-F238E27FC236}">
                  <a16:creationId xmlns:a16="http://schemas.microsoft.com/office/drawing/2014/main" id="{13C36231-DDFA-D614-29F1-25BC2A1FB5AA}"/>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174965" y="2945677"/>
              <a:ext cx="1014554" cy="1014554"/>
            </a:xfrm>
            <a:prstGeom prst="rect">
              <a:avLst/>
            </a:prstGeom>
          </p:spPr>
        </p:pic>
        <p:sp>
          <p:nvSpPr>
            <p:cNvPr id="9" name="data-mgt">
              <a:extLst>
                <a:ext uri="{FF2B5EF4-FFF2-40B4-BE49-F238E27FC236}">
                  <a16:creationId xmlns:a16="http://schemas.microsoft.com/office/drawing/2014/main" id="{BE1F0582-9EDE-6CD0-D4A6-4565A57A2E95}"/>
                </a:ext>
              </a:extLst>
            </p:cNvPr>
            <p:cNvSpPr txBox="1"/>
            <p:nvPr/>
          </p:nvSpPr>
          <p:spPr>
            <a:xfrm>
              <a:off x="9791300" y="4534430"/>
              <a:ext cx="1781885" cy="448713"/>
            </a:xfrm>
            <a:prstGeom prst="rect">
              <a:avLst/>
            </a:prstGeom>
            <a:noFill/>
          </p:spPr>
          <p:txBody>
            <a:bodyPr wrap="square">
              <a:spAutoFit/>
            </a:bodyP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200" i="0" u="none" strike="noStrike" kern="1200" cap="none" spc="0" normalizeH="0" baseline="0" noProof="0">
                  <a:ln>
                    <a:noFill/>
                  </a:ln>
                  <a:effectLst/>
                  <a:uLnTx/>
                  <a:uFillTx/>
                  <a:latin typeface="ES Build" pitchFamily="50" charset="0"/>
                  <a:ea typeface="+mn-ea"/>
                  <a:cs typeface="Microsoft Sans Serif" panose="020B0604020202020204" pitchFamily="34" charset="0"/>
                </a:rPr>
                <a:t>Secure cloud data </a:t>
              </a:r>
              <a:br>
                <a:rPr kumimoji="0" lang="en-US" sz="1200" i="0" u="none" strike="noStrike" kern="1200" cap="none" spc="0" normalizeH="0" baseline="0" noProof="0">
                  <a:ln>
                    <a:noFill/>
                  </a:ln>
                  <a:effectLst/>
                  <a:uLnTx/>
                  <a:uFillTx/>
                  <a:latin typeface="ES Build" pitchFamily="50" charset="0"/>
                  <a:ea typeface="+mn-ea"/>
                  <a:cs typeface="Microsoft Sans Serif" panose="020B0604020202020204" pitchFamily="34" charset="0"/>
                </a:rPr>
              </a:br>
              <a:r>
                <a:rPr kumimoji="0" lang="en-US" sz="1200" i="0" u="none" strike="noStrike" kern="1200" cap="none" spc="0" normalizeH="0" baseline="0" noProof="0">
                  <a:ln>
                    <a:noFill/>
                  </a:ln>
                  <a:effectLst/>
                  <a:uLnTx/>
                  <a:uFillTx/>
                  <a:latin typeface="ES Build" pitchFamily="50" charset="0"/>
                  <a:ea typeface="+mn-ea"/>
                  <a:cs typeface="Microsoft Sans Serif" panose="020B0604020202020204" pitchFamily="34" charset="0"/>
                </a:rPr>
                <a:t>management</a:t>
              </a:r>
            </a:p>
          </p:txBody>
        </p:sp>
        <p:sp>
          <p:nvSpPr>
            <p:cNvPr id="13" name="vault-title">
              <a:extLst>
                <a:ext uri="{FF2B5EF4-FFF2-40B4-BE49-F238E27FC236}">
                  <a16:creationId xmlns:a16="http://schemas.microsoft.com/office/drawing/2014/main" id="{6191A065-7173-D707-17FE-DE0F8ABA97FD}"/>
                </a:ext>
              </a:extLst>
            </p:cNvPr>
            <p:cNvSpPr txBox="1"/>
            <p:nvPr/>
          </p:nvSpPr>
          <p:spPr>
            <a:xfrm>
              <a:off x="9791300" y="4122123"/>
              <a:ext cx="1781885" cy="390876"/>
            </a:xfrm>
            <a:prstGeom prst="rect">
              <a:avLst/>
            </a:prstGeom>
            <a:noFill/>
          </p:spPr>
          <p:txBody>
            <a:bodyPr wrap="square">
              <a:spAutoFit/>
            </a:bodyP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2000" b="1" i="0" u="none" strike="noStrike" kern="1200" cap="none" spc="0" normalizeH="0" baseline="0" noProof="0">
                  <a:ln>
                    <a:noFill/>
                  </a:ln>
                  <a:effectLst/>
                  <a:uLnTx/>
                  <a:uFillTx/>
                  <a:latin typeface="ES Build" pitchFamily="50" charset="0"/>
                  <a:ea typeface="+mn-ea"/>
                  <a:cs typeface="Microsoft Sans Serif" panose="020B0604020202020204" pitchFamily="34" charset="0"/>
                </a:rPr>
                <a:t>Cloud Vault </a:t>
              </a:r>
            </a:p>
          </p:txBody>
        </p:sp>
      </p:grpSp>
      <p:sp>
        <p:nvSpPr>
          <p:cNvPr id="148" name="Rounded Rectangle 4">
            <a:extLst>
              <a:ext uri="{FF2B5EF4-FFF2-40B4-BE49-F238E27FC236}">
                <a16:creationId xmlns:a16="http://schemas.microsoft.com/office/drawing/2014/main" id="{25B13152-0ACA-CA34-B35D-4D0A99A0502B}"/>
              </a:ext>
            </a:extLst>
          </p:cNvPr>
          <p:cNvSpPr/>
          <p:nvPr/>
        </p:nvSpPr>
        <p:spPr bwMode="auto">
          <a:xfrm>
            <a:off x="750604" y="2042070"/>
            <a:ext cx="8485534" cy="2245939"/>
          </a:xfrm>
          <a:prstGeom prst="roundRect">
            <a:avLst>
              <a:gd name="adj" fmla="val 3456"/>
            </a:avLst>
          </a:prstGeom>
          <a:noFill/>
          <a:ln w="508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ctr" anchorCtr="0" forceAA="0" compatLnSpc="1">
            <a:prstTxWarp prst="textNoShape">
              <a:avLst/>
            </a:prstTxWarp>
            <a:noAutofit/>
          </a:bodyPr>
          <a:lstStyle/>
          <a:p>
            <a:pPr marL="0" marR="0" lvl="0" indent="0" algn="ctr" defTabSz="1218768"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ES Build"/>
              <a:ea typeface="Segoe UI" pitchFamily="34" charset="0"/>
              <a:cs typeface="Segoe UI" pitchFamily="34" charset="0"/>
            </a:endParaRPr>
          </a:p>
        </p:txBody>
      </p:sp>
      <p:cxnSp>
        <p:nvCxnSpPr>
          <p:cNvPr id="16" name="Straight Arrow Connector 15">
            <a:extLst>
              <a:ext uri="{FF2B5EF4-FFF2-40B4-BE49-F238E27FC236}">
                <a16:creationId xmlns:a16="http://schemas.microsoft.com/office/drawing/2014/main" id="{7F6F77CB-C4E6-7E9A-80FF-2A96F54F4E0E}"/>
              </a:ext>
            </a:extLst>
          </p:cNvPr>
          <p:cNvCxnSpPr>
            <a:cxnSpLocks/>
          </p:cNvCxnSpPr>
          <p:nvPr/>
        </p:nvCxnSpPr>
        <p:spPr>
          <a:xfrm>
            <a:off x="9495245" y="3365286"/>
            <a:ext cx="342438" cy="0"/>
          </a:xfrm>
          <a:prstGeom prst="straightConnector1">
            <a:avLst/>
          </a:prstGeom>
          <a:ln w="12700" cap="rnd">
            <a:solidFill>
              <a:schemeClr val="tx1"/>
            </a:solidFill>
            <a:round/>
            <a:headEnd type="none" w="med" len="sm"/>
            <a:tailEnd type="arrow" w="med" len="sm"/>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EF43D9A8-FAC5-F28B-A4F6-685C902D9D04}"/>
              </a:ext>
            </a:extLst>
          </p:cNvPr>
          <p:cNvSpPr txBox="1"/>
          <p:nvPr/>
        </p:nvSpPr>
        <p:spPr>
          <a:xfrm>
            <a:off x="3787822" y="1338661"/>
            <a:ext cx="2425037" cy="338554"/>
          </a:xfrm>
          <a:prstGeom prst="rect">
            <a:avLst/>
          </a:prstGeom>
          <a:noFill/>
        </p:spPr>
        <p:txBody>
          <a:bodyPr wrap="square" rtlCol="0">
            <a:spAutoFit/>
          </a:bodyPr>
          <a:lstStyle/>
          <a:p>
            <a:pPr algn="ctr"/>
            <a:r>
              <a:rPr lang="en-US" sz="1600">
                <a:solidFill>
                  <a:schemeClr val="tx1"/>
                </a:solidFill>
                <a:cs typeface="Microsoft Sans Serif" panose="020B0604020202020204" pitchFamily="34" charset="0"/>
              </a:rPr>
              <a:t>Veeam Data Cloud</a:t>
            </a:r>
          </a:p>
        </p:txBody>
      </p:sp>
      <p:pic>
        <p:nvPicPr>
          <p:cNvPr id="22" name="Graphic 21">
            <a:extLst>
              <a:ext uri="{FF2B5EF4-FFF2-40B4-BE49-F238E27FC236}">
                <a16:creationId xmlns:a16="http://schemas.microsoft.com/office/drawing/2014/main" id="{9CAD93CE-04D3-9473-6673-E2251BA6757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83098" y="2215957"/>
            <a:ext cx="503773" cy="503773"/>
          </a:xfrm>
          <a:prstGeom prst="rect">
            <a:avLst/>
          </a:prstGeom>
        </p:spPr>
      </p:pic>
      <p:pic>
        <p:nvPicPr>
          <p:cNvPr id="23" name="Graphic 22">
            <a:extLst>
              <a:ext uri="{FF2B5EF4-FFF2-40B4-BE49-F238E27FC236}">
                <a16:creationId xmlns:a16="http://schemas.microsoft.com/office/drawing/2014/main" id="{0C3C9C73-FF12-3FC7-E085-69CCD2FD2DB8}"/>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2239556" y="2212556"/>
            <a:ext cx="503773" cy="503773"/>
          </a:xfrm>
          <a:prstGeom prst="rect">
            <a:avLst/>
          </a:prstGeom>
        </p:spPr>
      </p:pic>
      <p:pic>
        <p:nvPicPr>
          <p:cNvPr id="24" name="Graphic 23">
            <a:extLst>
              <a:ext uri="{FF2B5EF4-FFF2-40B4-BE49-F238E27FC236}">
                <a16:creationId xmlns:a16="http://schemas.microsoft.com/office/drawing/2014/main" id="{066E8ABE-9416-890E-95D6-A163F4FB08FF}"/>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3469874" y="2212556"/>
            <a:ext cx="502690" cy="502690"/>
          </a:xfrm>
          <a:prstGeom prst="rect">
            <a:avLst/>
          </a:prstGeom>
        </p:spPr>
      </p:pic>
      <p:pic>
        <p:nvPicPr>
          <p:cNvPr id="27" name="Graphic 26">
            <a:extLst>
              <a:ext uri="{FF2B5EF4-FFF2-40B4-BE49-F238E27FC236}">
                <a16:creationId xmlns:a16="http://schemas.microsoft.com/office/drawing/2014/main" id="{7B6E4D5B-EE9D-9871-DB46-E4022FC7D795}"/>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4729197" y="2221292"/>
            <a:ext cx="498489" cy="498489"/>
          </a:xfrm>
          <a:prstGeom prst="rect">
            <a:avLst/>
          </a:prstGeom>
        </p:spPr>
      </p:pic>
      <p:sp>
        <p:nvSpPr>
          <p:cNvPr id="34" name="Rounded Rectangle 13">
            <a:extLst>
              <a:ext uri="{FF2B5EF4-FFF2-40B4-BE49-F238E27FC236}">
                <a16:creationId xmlns:a16="http://schemas.microsoft.com/office/drawing/2014/main" id="{E52A026F-9FA3-EB9C-6F90-251BA499C1B6}"/>
              </a:ext>
            </a:extLst>
          </p:cNvPr>
          <p:cNvSpPr>
            <a:spLocks noChangeAspect="1"/>
          </p:cNvSpPr>
          <p:nvPr/>
        </p:nvSpPr>
        <p:spPr bwMode="auto">
          <a:xfrm>
            <a:off x="5769942" y="2102734"/>
            <a:ext cx="914400" cy="951010"/>
          </a:xfrm>
          <a:prstGeom prst="roundRect">
            <a:avLst>
              <a:gd name="adj" fmla="val 4791"/>
            </a:avLst>
          </a:prstGeom>
          <a:solidFill>
            <a:schemeClr val="bg2"/>
          </a:solidFill>
          <a:ln w="12700">
            <a:noFill/>
            <a:headEnd type="none" w="med" len="med"/>
            <a:tailEnd type="none" w="med" len="med"/>
          </a:ln>
          <a:effectLst>
            <a:innerShdw blurRad="430585">
              <a:schemeClr val="bg1">
                <a:alpha val="10127"/>
              </a:scheme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algn="ctr">
              <a:lnSpc>
                <a:spcPct val="96000"/>
              </a:lnSpc>
            </a:pPr>
            <a:r>
              <a:rPr lang="en-US" sz="950">
                <a:solidFill>
                  <a:schemeClr val="tx1"/>
                </a:solidFill>
                <a:latin typeface="ES Build Neutral"/>
                <a:cs typeface="Microsoft Sans Serif" panose="020B0604020202020204" pitchFamily="34" charset="0"/>
              </a:rPr>
              <a:t>eDiscovery</a:t>
            </a:r>
          </a:p>
        </p:txBody>
      </p:sp>
      <p:sp>
        <p:nvSpPr>
          <p:cNvPr id="58" name="Rounded Rectangle 13">
            <a:extLst>
              <a:ext uri="{FF2B5EF4-FFF2-40B4-BE49-F238E27FC236}">
                <a16:creationId xmlns:a16="http://schemas.microsoft.com/office/drawing/2014/main" id="{4C5EDCE1-0FA0-E0CB-A6BB-C9BDC409BA81}"/>
              </a:ext>
            </a:extLst>
          </p:cNvPr>
          <p:cNvSpPr>
            <a:spLocks noChangeAspect="1"/>
          </p:cNvSpPr>
          <p:nvPr/>
        </p:nvSpPr>
        <p:spPr bwMode="auto">
          <a:xfrm>
            <a:off x="7017981" y="2102734"/>
            <a:ext cx="914400" cy="951010"/>
          </a:xfrm>
          <a:prstGeom prst="roundRect">
            <a:avLst>
              <a:gd name="adj" fmla="val 4791"/>
            </a:avLst>
          </a:prstGeom>
          <a:solidFill>
            <a:schemeClr val="bg2"/>
          </a:solidFill>
          <a:ln w="12700">
            <a:noFill/>
            <a:headEnd type="none" w="med" len="med"/>
            <a:tailEnd type="none" w="med" len="med"/>
          </a:ln>
          <a:effectLst>
            <a:innerShdw blurRad="430585">
              <a:schemeClr val="bg1">
                <a:alpha val="10127"/>
              </a:scheme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algn="ctr">
              <a:lnSpc>
                <a:spcPct val="96000"/>
              </a:lnSpc>
            </a:pPr>
            <a:r>
              <a:rPr lang="en-US" sz="950">
                <a:solidFill>
                  <a:schemeClr val="tx1"/>
                </a:solidFill>
                <a:latin typeface="ES Build Neutral"/>
                <a:cs typeface="Microsoft Sans Serif" panose="020B0604020202020204" pitchFamily="34" charset="0"/>
              </a:rPr>
              <a:t>Archive</a:t>
            </a:r>
          </a:p>
        </p:txBody>
      </p:sp>
      <p:sp>
        <p:nvSpPr>
          <p:cNvPr id="142" name="Rounded Rectangle 13">
            <a:extLst>
              <a:ext uri="{FF2B5EF4-FFF2-40B4-BE49-F238E27FC236}">
                <a16:creationId xmlns:a16="http://schemas.microsoft.com/office/drawing/2014/main" id="{5E95F3F9-812F-A14C-029B-94A867CDDAB4}"/>
              </a:ext>
            </a:extLst>
          </p:cNvPr>
          <p:cNvSpPr>
            <a:spLocks noChangeAspect="1"/>
          </p:cNvSpPr>
          <p:nvPr/>
        </p:nvSpPr>
        <p:spPr bwMode="auto">
          <a:xfrm>
            <a:off x="8266020" y="2102734"/>
            <a:ext cx="914400" cy="951010"/>
          </a:xfrm>
          <a:prstGeom prst="roundRect">
            <a:avLst>
              <a:gd name="adj" fmla="val 4791"/>
            </a:avLst>
          </a:prstGeom>
          <a:solidFill>
            <a:schemeClr val="bg2"/>
          </a:solidFill>
          <a:ln w="12700">
            <a:noFill/>
            <a:headEnd type="none" w="med" len="med"/>
            <a:tailEnd type="none" w="med" len="med"/>
          </a:ln>
          <a:effectLst>
            <a:innerShdw blurRad="430585">
              <a:schemeClr val="bg1">
                <a:alpha val="10127"/>
              </a:scheme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algn="ctr">
              <a:lnSpc>
                <a:spcPct val="96000"/>
              </a:lnSpc>
            </a:pPr>
            <a:r>
              <a:rPr lang="en-US" sz="950">
                <a:solidFill>
                  <a:schemeClr val="tx1"/>
                </a:solidFill>
                <a:latin typeface="ES Build Neutral"/>
                <a:cs typeface="Microsoft Sans Serif" panose="020B0604020202020204" pitchFamily="34" charset="0"/>
              </a:rPr>
              <a:t>AI Analysis</a:t>
            </a:r>
          </a:p>
        </p:txBody>
      </p:sp>
      <p:pic>
        <p:nvPicPr>
          <p:cNvPr id="151" name="Graphic 150">
            <a:extLst>
              <a:ext uri="{FF2B5EF4-FFF2-40B4-BE49-F238E27FC236}">
                <a16:creationId xmlns:a16="http://schemas.microsoft.com/office/drawing/2014/main" id="{C9D056E1-9FA0-C8D0-F81B-E397D4480C39}"/>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5995449" y="2260832"/>
            <a:ext cx="498489" cy="498489"/>
          </a:xfrm>
          <a:prstGeom prst="rect">
            <a:avLst/>
          </a:prstGeom>
        </p:spPr>
      </p:pic>
      <p:pic>
        <p:nvPicPr>
          <p:cNvPr id="152" name="Graphic 151">
            <a:extLst>
              <a:ext uri="{FF2B5EF4-FFF2-40B4-BE49-F238E27FC236}">
                <a16:creationId xmlns:a16="http://schemas.microsoft.com/office/drawing/2014/main" id="{ED27186A-A5A2-43E6-60F8-5A99AAB89D0F}"/>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a:xfrm>
            <a:off x="7232681" y="2260832"/>
            <a:ext cx="498489" cy="498489"/>
          </a:xfrm>
          <a:prstGeom prst="rect">
            <a:avLst/>
          </a:prstGeom>
        </p:spPr>
      </p:pic>
      <p:pic>
        <p:nvPicPr>
          <p:cNvPr id="153" name="Graphic 152">
            <a:extLst>
              <a:ext uri="{FF2B5EF4-FFF2-40B4-BE49-F238E27FC236}">
                <a16:creationId xmlns:a16="http://schemas.microsoft.com/office/drawing/2014/main" id="{56935F1E-3656-14A5-8D84-A790D41AC8AE}"/>
              </a:ext>
            </a:extLst>
          </p:cNvPr>
          <p:cNvPicPr>
            <a:picLocks noChangeAspect="1"/>
          </p:cNvPicPr>
          <p:nvPr/>
        </p:nvPicPr>
        <p:blipFill>
          <a:blip r:embed="rId17">
            <a:extLst>
              <a:ext uri="{96DAC541-7B7A-43D3-8B79-37D633B846F1}">
                <asvg:svgBlip xmlns:asvg="http://schemas.microsoft.com/office/drawing/2016/SVG/main" r:embed="rId18"/>
              </a:ext>
            </a:extLst>
          </a:blip>
          <a:srcRect/>
          <a:stretch/>
        </p:blipFill>
        <p:spPr>
          <a:xfrm>
            <a:off x="8460546" y="2258938"/>
            <a:ext cx="498489" cy="498489"/>
          </a:xfrm>
          <a:prstGeom prst="rect">
            <a:avLst/>
          </a:prstGeom>
        </p:spPr>
      </p:pic>
      <p:sp>
        <p:nvSpPr>
          <p:cNvPr id="159" name="Rectangle 158">
            <a:extLst>
              <a:ext uri="{FF2B5EF4-FFF2-40B4-BE49-F238E27FC236}">
                <a16:creationId xmlns:a16="http://schemas.microsoft.com/office/drawing/2014/main" id="{8F019401-21DD-A1BC-5F6F-04542416A432}"/>
              </a:ext>
            </a:extLst>
          </p:cNvPr>
          <p:cNvSpPr/>
          <p:nvPr/>
        </p:nvSpPr>
        <p:spPr>
          <a:xfrm>
            <a:off x="990601" y="1675354"/>
            <a:ext cx="450850" cy="195263"/>
          </a:xfrm>
          <a:prstGeom prst="rect">
            <a:avLst/>
          </a:prstGeom>
          <a:solidFill>
            <a:schemeClr val="bg1"/>
          </a:solidFill>
          <a:ln>
            <a:noFill/>
          </a:ln>
          <a:effectLst>
            <a:glow rad="1270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a:solidFill>
                <a:schemeClr val="bg1"/>
              </a:solidFill>
              <a:latin typeface="ES Build" pitchFamily="50" charset="0"/>
              <a:cs typeface="Microsoft Sans Serif" panose="020B0604020202020204" pitchFamily="34" charset="0"/>
            </a:endParaRPr>
          </a:p>
        </p:txBody>
      </p:sp>
      <p:pic>
        <p:nvPicPr>
          <p:cNvPr id="156" name="Graphic 155">
            <a:extLst>
              <a:ext uri="{FF2B5EF4-FFF2-40B4-BE49-F238E27FC236}">
                <a16:creationId xmlns:a16="http://schemas.microsoft.com/office/drawing/2014/main" id="{506C12DA-98DA-BCD6-EC82-224591AD92A1}"/>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213658" y="1598881"/>
            <a:ext cx="298261" cy="298261"/>
          </a:xfrm>
          <a:prstGeom prst="rect">
            <a:avLst/>
          </a:prstGeom>
        </p:spPr>
      </p:pic>
      <p:pic>
        <p:nvPicPr>
          <p:cNvPr id="158" name="Graphic 157">
            <a:extLst>
              <a:ext uri="{FF2B5EF4-FFF2-40B4-BE49-F238E27FC236}">
                <a16:creationId xmlns:a16="http://schemas.microsoft.com/office/drawing/2014/main" id="{3D2FE8D9-4276-F259-7C41-88107E8473AC}"/>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943176" y="1601435"/>
            <a:ext cx="294832" cy="294832"/>
          </a:xfrm>
          <a:prstGeom prst="rect">
            <a:avLst/>
          </a:prstGeom>
        </p:spPr>
      </p:pic>
      <p:grpSp>
        <p:nvGrpSpPr>
          <p:cNvPr id="41" name="Group 40">
            <a:extLst>
              <a:ext uri="{FF2B5EF4-FFF2-40B4-BE49-F238E27FC236}">
                <a16:creationId xmlns:a16="http://schemas.microsoft.com/office/drawing/2014/main" id="{70F25167-EFCA-8916-6575-F191B01D9DAE}"/>
              </a:ext>
            </a:extLst>
          </p:cNvPr>
          <p:cNvGrpSpPr/>
          <p:nvPr/>
        </p:nvGrpSpPr>
        <p:grpSpPr>
          <a:xfrm>
            <a:off x="777785" y="4766376"/>
            <a:ext cx="8445109" cy="1011085"/>
            <a:chOff x="777785" y="4606160"/>
            <a:chExt cx="8445109" cy="1011085"/>
          </a:xfrm>
        </p:grpSpPr>
        <p:sp>
          <p:nvSpPr>
            <p:cNvPr id="11" name="TextBox 10">
              <a:extLst>
                <a:ext uri="{FF2B5EF4-FFF2-40B4-BE49-F238E27FC236}">
                  <a16:creationId xmlns:a16="http://schemas.microsoft.com/office/drawing/2014/main" id="{5E714376-73C3-A666-E4BB-F8F9F1B1ACB0}"/>
                </a:ext>
              </a:extLst>
            </p:cNvPr>
            <p:cNvSpPr txBox="1"/>
            <p:nvPr/>
          </p:nvSpPr>
          <p:spPr>
            <a:xfrm>
              <a:off x="1003495" y="4606160"/>
              <a:ext cx="769441" cy="184666"/>
            </a:xfrm>
            <a:prstGeom prst="rect">
              <a:avLst/>
            </a:prstGeom>
            <a:noFill/>
          </p:spPr>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ES Build Neutral"/>
                  <a:ea typeface="Calibri" panose="020F0502020204030204" pitchFamily="34" charset="0"/>
                  <a:cs typeface="Calibri" panose="020F0502020204030204" pitchFamily="34" charset="0"/>
                </a:rPr>
                <a:t>Workloads</a:t>
              </a:r>
            </a:p>
          </p:txBody>
        </p:sp>
        <p:sp>
          <p:nvSpPr>
            <p:cNvPr id="160" name="Rounded Rectangle 12">
              <a:extLst>
                <a:ext uri="{FF2B5EF4-FFF2-40B4-BE49-F238E27FC236}">
                  <a16:creationId xmlns:a16="http://schemas.microsoft.com/office/drawing/2014/main" id="{E7006B98-EFEC-C8BF-B897-2E30A1D6087D}"/>
                </a:ext>
              </a:extLst>
            </p:cNvPr>
            <p:cNvSpPr>
              <a:spLocks noChangeAspect="1"/>
            </p:cNvSpPr>
            <p:nvPr/>
          </p:nvSpPr>
          <p:spPr bwMode="auto">
            <a:xfrm>
              <a:off x="777785" y="4666235"/>
              <a:ext cx="914400" cy="951010"/>
            </a:xfrm>
            <a:prstGeom prst="roundRect">
              <a:avLst>
                <a:gd name="adj" fmla="val 4791"/>
              </a:avLst>
            </a:prstGeom>
            <a:solidFill>
              <a:schemeClr val="tx1"/>
            </a:solidFill>
            <a:ln w="12700">
              <a:noFill/>
              <a:headEnd type="none" w="med" len="med"/>
              <a:tailEnd type="none" w="med" len="med"/>
            </a:ln>
            <a:effectLst>
              <a:innerShdw blurRad="430585">
                <a:schemeClr val="bg1">
                  <a:alpha val="10127"/>
                </a:scheme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algn="ctr">
                <a:lnSpc>
                  <a:spcPct val="96000"/>
                </a:lnSpc>
              </a:pPr>
              <a:r>
                <a:rPr lang="en-US" sz="900">
                  <a:solidFill>
                    <a:schemeClr val="bg1"/>
                  </a:solidFill>
                  <a:latin typeface="ES Build Neutral"/>
                  <a:cs typeface="Microsoft Sans Serif" panose="020B0604020202020204" pitchFamily="34" charset="0"/>
                </a:rPr>
                <a:t>M365</a:t>
              </a:r>
            </a:p>
          </p:txBody>
        </p:sp>
        <p:sp>
          <p:nvSpPr>
            <p:cNvPr id="161" name="Rounded Rectangle 12">
              <a:extLst>
                <a:ext uri="{FF2B5EF4-FFF2-40B4-BE49-F238E27FC236}">
                  <a16:creationId xmlns:a16="http://schemas.microsoft.com/office/drawing/2014/main" id="{8086F543-BF8B-0020-A25C-3106116BFC9A}"/>
                </a:ext>
              </a:extLst>
            </p:cNvPr>
            <p:cNvSpPr>
              <a:spLocks noChangeAspect="1"/>
            </p:cNvSpPr>
            <p:nvPr/>
          </p:nvSpPr>
          <p:spPr bwMode="auto">
            <a:xfrm>
              <a:off x="1853601" y="4666235"/>
              <a:ext cx="914400" cy="951010"/>
            </a:xfrm>
            <a:prstGeom prst="roundRect">
              <a:avLst>
                <a:gd name="adj" fmla="val 4791"/>
              </a:avLst>
            </a:prstGeom>
            <a:solidFill>
              <a:schemeClr val="tx1"/>
            </a:solidFill>
            <a:ln w="12700">
              <a:noFill/>
              <a:headEnd type="none" w="med" len="med"/>
              <a:tailEnd type="none" w="med" len="med"/>
            </a:ln>
            <a:effectLst>
              <a:innerShdw blurRad="430585">
                <a:schemeClr val="bg1">
                  <a:alpha val="10127"/>
                </a:scheme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algn="ctr">
                <a:lnSpc>
                  <a:spcPct val="96000"/>
                </a:lnSpc>
              </a:pPr>
              <a:r>
                <a:rPr lang="en-US" sz="900">
                  <a:solidFill>
                    <a:schemeClr val="bg1"/>
                  </a:solidFill>
                  <a:latin typeface="ES Build Neutral"/>
                  <a:cs typeface="Microsoft Sans Serif" panose="020B0604020202020204" pitchFamily="34" charset="0"/>
                </a:rPr>
                <a:t>Cloud</a:t>
              </a:r>
            </a:p>
          </p:txBody>
        </p:sp>
        <p:sp>
          <p:nvSpPr>
            <p:cNvPr id="162" name="Rounded Rectangle 12">
              <a:extLst>
                <a:ext uri="{FF2B5EF4-FFF2-40B4-BE49-F238E27FC236}">
                  <a16:creationId xmlns:a16="http://schemas.microsoft.com/office/drawing/2014/main" id="{811B4BD8-89A4-F9F7-7FD4-B1E7C17F35CA}"/>
                </a:ext>
              </a:extLst>
            </p:cNvPr>
            <p:cNvSpPr>
              <a:spLocks noChangeAspect="1"/>
            </p:cNvSpPr>
            <p:nvPr/>
          </p:nvSpPr>
          <p:spPr bwMode="auto">
            <a:xfrm>
              <a:off x="2929417" y="4666235"/>
              <a:ext cx="914400" cy="951010"/>
            </a:xfrm>
            <a:prstGeom prst="roundRect">
              <a:avLst>
                <a:gd name="adj" fmla="val 4791"/>
              </a:avLst>
            </a:prstGeom>
            <a:solidFill>
              <a:schemeClr val="bg2"/>
            </a:solidFill>
            <a:ln w="12700">
              <a:noFill/>
              <a:headEnd type="none" w="med" len="med"/>
              <a:tailEnd type="none" w="med" len="med"/>
            </a:ln>
            <a:effectLst>
              <a:innerShdw blurRad="430585">
                <a:schemeClr val="bg1">
                  <a:alpha val="10127"/>
                </a:scheme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algn="ctr">
                <a:lnSpc>
                  <a:spcPct val="96000"/>
                </a:lnSpc>
              </a:pPr>
              <a:r>
                <a:rPr lang="en-US" sz="900">
                  <a:solidFill>
                    <a:schemeClr val="tx1"/>
                  </a:solidFill>
                  <a:latin typeface="ES Build Neutral"/>
                  <a:cs typeface="Microsoft Sans Serif" panose="020B0604020202020204" pitchFamily="34" charset="0"/>
                </a:rPr>
                <a:t>Cloud</a:t>
              </a:r>
            </a:p>
          </p:txBody>
        </p:sp>
        <p:sp>
          <p:nvSpPr>
            <p:cNvPr id="163" name="Rounded Rectangle 12">
              <a:extLst>
                <a:ext uri="{FF2B5EF4-FFF2-40B4-BE49-F238E27FC236}">
                  <a16:creationId xmlns:a16="http://schemas.microsoft.com/office/drawing/2014/main" id="{3235E62B-C112-8D9C-671D-9BD131A9FD65}"/>
                </a:ext>
              </a:extLst>
            </p:cNvPr>
            <p:cNvSpPr>
              <a:spLocks noChangeAspect="1"/>
            </p:cNvSpPr>
            <p:nvPr/>
          </p:nvSpPr>
          <p:spPr bwMode="auto">
            <a:xfrm>
              <a:off x="4005233" y="4666235"/>
              <a:ext cx="914400" cy="951010"/>
            </a:xfrm>
            <a:prstGeom prst="roundRect">
              <a:avLst>
                <a:gd name="adj" fmla="val 4791"/>
              </a:avLst>
            </a:prstGeom>
            <a:solidFill>
              <a:schemeClr val="bg2"/>
            </a:solidFill>
            <a:ln w="12700">
              <a:noFill/>
              <a:headEnd type="none" w="med" len="med"/>
              <a:tailEnd type="none" w="med" len="med"/>
            </a:ln>
            <a:effectLst>
              <a:innerShdw blurRad="430585">
                <a:schemeClr val="bg1">
                  <a:alpha val="10127"/>
                </a:scheme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algn="ctr">
                <a:lnSpc>
                  <a:spcPct val="96000"/>
                </a:lnSpc>
              </a:pPr>
              <a:r>
                <a:rPr lang="en-US" sz="900">
                  <a:solidFill>
                    <a:schemeClr val="tx1"/>
                  </a:solidFill>
                  <a:latin typeface="ES Build Neutral"/>
                  <a:cs typeface="Microsoft Sans Serif" panose="020B0604020202020204" pitchFamily="34" charset="0"/>
                </a:rPr>
                <a:t>Salesforce</a:t>
              </a:r>
            </a:p>
          </p:txBody>
        </p:sp>
        <p:sp>
          <p:nvSpPr>
            <p:cNvPr id="164" name="Rounded Rectangle 12">
              <a:extLst>
                <a:ext uri="{FF2B5EF4-FFF2-40B4-BE49-F238E27FC236}">
                  <a16:creationId xmlns:a16="http://schemas.microsoft.com/office/drawing/2014/main" id="{19AB2D50-8ECB-E164-8144-70B35534DFBF}"/>
                </a:ext>
              </a:extLst>
            </p:cNvPr>
            <p:cNvSpPr>
              <a:spLocks noChangeAspect="1"/>
            </p:cNvSpPr>
            <p:nvPr/>
          </p:nvSpPr>
          <p:spPr bwMode="auto">
            <a:xfrm>
              <a:off x="5081049" y="4666235"/>
              <a:ext cx="914400" cy="951010"/>
            </a:xfrm>
            <a:prstGeom prst="roundRect">
              <a:avLst>
                <a:gd name="adj" fmla="val 4791"/>
              </a:avLst>
            </a:prstGeom>
            <a:solidFill>
              <a:schemeClr val="bg2"/>
            </a:solidFill>
            <a:ln w="12700">
              <a:noFill/>
              <a:headEnd type="none" w="med" len="med"/>
              <a:tailEnd type="none" w="med" len="med"/>
            </a:ln>
            <a:effectLst>
              <a:innerShdw blurRad="430585">
                <a:schemeClr val="bg1">
                  <a:alpha val="10127"/>
                </a:scheme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algn="ctr">
                <a:lnSpc>
                  <a:spcPct val="96000"/>
                </a:lnSpc>
              </a:pPr>
              <a:r>
                <a:rPr lang="en-US" sz="900">
                  <a:solidFill>
                    <a:schemeClr val="tx1"/>
                  </a:solidFill>
                  <a:latin typeface="ES Build Neutral"/>
                  <a:cs typeface="Microsoft Sans Serif" panose="020B0604020202020204" pitchFamily="34" charset="0"/>
                </a:rPr>
                <a:t>Kubernetes</a:t>
              </a:r>
            </a:p>
          </p:txBody>
        </p:sp>
        <p:sp>
          <p:nvSpPr>
            <p:cNvPr id="165" name="Rounded Rectangle 12">
              <a:extLst>
                <a:ext uri="{FF2B5EF4-FFF2-40B4-BE49-F238E27FC236}">
                  <a16:creationId xmlns:a16="http://schemas.microsoft.com/office/drawing/2014/main" id="{4D41F925-E338-1F5D-645B-387472273C03}"/>
                </a:ext>
              </a:extLst>
            </p:cNvPr>
            <p:cNvSpPr>
              <a:spLocks noChangeAspect="1"/>
            </p:cNvSpPr>
            <p:nvPr/>
          </p:nvSpPr>
          <p:spPr bwMode="auto">
            <a:xfrm>
              <a:off x="6156865" y="4666235"/>
              <a:ext cx="914400" cy="951010"/>
            </a:xfrm>
            <a:prstGeom prst="roundRect">
              <a:avLst>
                <a:gd name="adj" fmla="val 4791"/>
              </a:avLst>
            </a:prstGeom>
            <a:solidFill>
              <a:schemeClr val="bg2"/>
            </a:solidFill>
            <a:ln w="12700">
              <a:noFill/>
              <a:headEnd type="none" w="med" len="med"/>
              <a:tailEnd type="none" w="med" len="med"/>
            </a:ln>
            <a:effectLst>
              <a:innerShdw blurRad="430585">
                <a:schemeClr val="bg1">
                  <a:alpha val="10127"/>
                </a:scheme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algn="ctr">
                <a:lnSpc>
                  <a:spcPct val="96000"/>
                </a:lnSpc>
              </a:pPr>
              <a:r>
                <a:rPr lang="en-US" sz="900">
                  <a:solidFill>
                    <a:schemeClr val="tx1"/>
                  </a:solidFill>
                  <a:latin typeface="ES Build Neutral"/>
                  <a:cs typeface="Microsoft Sans Serif" panose="020B0604020202020204" pitchFamily="34" charset="0"/>
                </a:rPr>
                <a:t>Entra ID</a:t>
              </a:r>
            </a:p>
          </p:txBody>
        </p:sp>
        <p:sp>
          <p:nvSpPr>
            <p:cNvPr id="166" name="Rounded Rectangle 12">
              <a:extLst>
                <a:ext uri="{FF2B5EF4-FFF2-40B4-BE49-F238E27FC236}">
                  <a16:creationId xmlns:a16="http://schemas.microsoft.com/office/drawing/2014/main" id="{5E1D68FD-87D6-C644-8EED-7F44A25015A4}"/>
                </a:ext>
              </a:extLst>
            </p:cNvPr>
            <p:cNvSpPr>
              <a:spLocks noChangeAspect="1"/>
            </p:cNvSpPr>
            <p:nvPr/>
          </p:nvSpPr>
          <p:spPr bwMode="auto">
            <a:xfrm>
              <a:off x="7232681" y="4666235"/>
              <a:ext cx="914400" cy="951010"/>
            </a:xfrm>
            <a:prstGeom prst="roundRect">
              <a:avLst>
                <a:gd name="adj" fmla="val 4791"/>
              </a:avLst>
            </a:prstGeom>
            <a:solidFill>
              <a:schemeClr val="bg2"/>
            </a:solidFill>
            <a:ln w="12700">
              <a:noFill/>
              <a:headEnd type="none" w="med" len="med"/>
              <a:tailEnd type="none" w="med" len="med"/>
            </a:ln>
            <a:effectLst>
              <a:innerShdw blurRad="430585">
                <a:schemeClr val="bg1">
                  <a:alpha val="10127"/>
                </a:scheme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algn="ctr">
                <a:lnSpc>
                  <a:spcPct val="96000"/>
                </a:lnSpc>
              </a:pPr>
              <a:r>
                <a:rPr lang="en-US" sz="900">
                  <a:solidFill>
                    <a:schemeClr val="tx1"/>
                  </a:solidFill>
                  <a:latin typeface="ES Build Neutral"/>
                  <a:cs typeface="Microsoft Sans Serif" panose="020B0604020202020204" pitchFamily="34" charset="0"/>
                </a:rPr>
                <a:t>Virtual</a:t>
              </a:r>
            </a:p>
          </p:txBody>
        </p:sp>
        <p:sp>
          <p:nvSpPr>
            <p:cNvPr id="167" name="Rounded Rectangle 12">
              <a:extLst>
                <a:ext uri="{FF2B5EF4-FFF2-40B4-BE49-F238E27FC236}">
                  <a16:creationId xmlns:a16="http://schemas.microsoft.com/office/drawing/2014/main" id="{A502CB0E-57BC-1508-919F-2D9EC6825225}"/>
                </a:ext>
              </a:extLst>
            </p:cNvPr>
            <p:cNvSpPr>
              <a:spLocks noChangeAspect="1"/>
            </p:cNvSpPr>
            <p:nvPr/>
          </p:nvSpPr>
          <p:spPr bwMode="auto">
            <a:xfrm>
              <a:off x="8308494" y="4666235"/>
              <a:ext cx="914400" cy="951010"/>
            </a:xfrm>
            <a:prstGeom prst="roundRect">
              <a:avLst>
                <a:gd name="adj" fmla="val 4791"/>
              </a:avLst>
            </a:prstGeom>
            <a:solidFill>
              <a:schemeClr val="bg2"/>
            </a:solidFill>
            <a:ln w="12700">
              <a:noFill/>
              <a:headEnd type="none" w="med" len="med"/>
              <a:tailEnd type="none" w="med" len="med"/>
            </a:ln>
            <a:effectLst>
              <a:innerShdw blurRad="430585">
                <a:schemeClr val="bg1">
                  <a:alpha val="10127"/>
                </a:scheme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algn="ctr">
                <a:lnSpc>
                  <a:spcPct val="96000"/>
                </a:lnSpc>
              </a:pPr>
              <a:r>
                <a:rPr lang="en-US" sz="900">
                  <a:solidFill>
                    <a:schemeClr val="tx1"/>
                  </a:solidFill>
                  <a:latin typeface="ES Build Neutral"/>
                  <a:cs typeface="Microsoft Sans Serif" panose="020B0604020202020204" pitchFamily="34" charset="0"/>
                </a:rPr>
                <a:t>Physical</a:t>
              </a:r>
            </a:p>
          </p:txBody>
        </p:sp>
        <p:grpSp>
          <p:nvGrpSpPr>
            <p:cNvPr id="45" name="Graphic 3">
              <a:extLst>
                <a:ext uri="{FF2B5EF4-FFF2-40B4-BE49-F238E27FC236}">
                  <a16:creationId xmlns:a16="http://schemas.microsoft.com/office/drawing/2014/main" id="{246F6226-D198-520F-21DB-074336380549}"/>
                </a:ext>
              </a:extLst>
            </p:cNvPr>
            <p:cNvGrpSpPr>
              <a:grpSpLocks noChangeAspect="1"/>
            </p:cNvGrpSpPr>
            <p:nvPr/>
          </p:nvGrpSpPr>
          <p:grpSpPr>
            <a:xfrm>
              <a:off x="1054186" y="4904029"/>
              <a:ext cx="319081" cy="346970"/>
              <a:chOff x="10640013" y="4872041"/>
              <a:chExt cx="160182" cy="174183"/>
            </a:xfrm>
            <a:solidFill>
              <a:schemeClr val="bg1"/>
            </a:solidFill>
          </p:grpSpPr>
          <p:sp>
            <p:nvSpPr>
              <p:cNvPr id="46" name="Freeform 45">
                <a:extLst>
                  <a:ext uri="{FF2B5EF4-FFF2-40B4-BE49-F238E27FC236}">
                    <a16:creationId xmlns:a16="http://schemas.microsoft.com/office/drawing/2014/main" id="{5C66C4D1-8C56-FE71-8F15-A95BDC0BBD4E}"/>
                  </a:ext>
                </a:extLst>
              </p:cNvPr>
              <p:cNvSpPr/>
              <p:nvPr/>
            </p:nvSpPr>
            <p:spPr>
              <a:xfrm>
                <a:off x="10640013" y="4884779"/>
                <a:ext cx="71524" cy="131833"/>
              </a:xfrm>
              <a:custGeom>
                <a:avLst/>
                <a:gdLst>
                  <a:gd name="connsiteX0" fmla="*/ 71525 w 71524"/>
                  <a:gd name="connsiteY0" fmla="*/ 111230 h 131833"/>
                  <a:gd name="connsiteX1" fmla="*/ 40994 w 71524"/>
                  <a:gd name="connsiteY1" fmla="*/ 127933 h 131833"/>
                  <a:gd name="connsiteX2" fmla="*/ 40076 w 71524"/>
                  <a:gd name="connsiteY2" fmla="*/ 128422 h 131833"/>
                  <a:gd name="connsiteX3" fmla="*/ 33590 w 71524"/>
                  <a:gd name="connsiteY3" fmla="*/ 130870 h 131833"/>
                  <a:gd name="connsiteX4" fmla="*/ 18233 w 71524"/>
                  <a:gd name="connsiteY4" fmla="*/ 130870 h 131833"/>
                  <a:gd name="connsiteX5" fmla="*/ 16826 w 71524"/>
                  <a:gd name="connsiteY5" fmla="*/ 130503 h 131833"/>
                  <a:gd name="connsiteX6" fmla="*/ 15663 w 71524"/>
                  <a:gd name="connsiteY6" fmla="*/ 130136 h 131833"/>
                  <a:gd name="connsiteX7" fmla="*/ 13889 w 71524"/>
                  <a:gd name="connsiteY7" fmla="*/ 129462 h 131833"/>
                  <a:gd name="connsiteX8" fmla="*/ 0 w 71524"/>
                  <a:gd name="connsiteY8" fmla="*/ 102909 h 131833"/>
                  <a:gd name="connsiteX9" fmla="*/ 0 w 71524"/>
                  <a:gd name="connsiteY9" fmla="*/ 45948 h 131833"/>
                  <a:gd name="connsiteX10" fmla="*/ 16703 w 71524"/>
                  <a:gd name="connsiteY10" fmla="*/ 17621 h 131833"/>
                  <a:gd name="connsiteX11" fmla="*/ 48887 w 71524"/>
                  <a:gd name="connsiteY11" fmla="*/ 0 h 131833"/>
                  <a:gd name="connsiteX12" fmla="*/ 47541 w 71524"/>
                  <a:gd name="connsiteY12" fmla="*/ 3671 h 131833"/>
                  <a:gd name="connsiteX13" fmla="*/ 47418 w 71524"/>
                  <a:gd name="connsiteY13" fmla="*/ 3977 h 131833"/>
                  <a:gd name="connsiteX14" fmla="*/ 46929 w 71524"/>
                  <a:gd name="connsiteY14" fmla="*/ 5629 h 131833"/>
                  <a:gd name="connsiteX15" fmla="*/ 46378 w 71524"/>
                  <a:gd name="connsiteY15" fmla="*/ 7954 h 131833"/>
                  <a:gd name="connsiteX16" fmla="*/ 46011 w 71524"/>
                  <a:gd name="connsiteY16" fmla="*/ 9850 h 131833"/>
                  <a:gd name="connsiteX17" fmla="*/ 45766 w 71524"/>
                  <a:gd name="connsiteY17" fmla="*/ 11747 h 131833"/>
                  <a:gd name="connsiteX18" fmla="*/ 45766 w 71524"/>
                  <a:gd name="connsiteY18" fmla="*/ 11992 h 131833"/>
                  <a:gd name="connsiteX19" fmla="*/ 45644 w 71524"/>
                  <a:gd name="connsiteY19" fmla="*/ 13949 h 131833"/>
                  <a:gd name="connsiteX20" fmla="*/ 45644 w 71524"/>
                  <a:gd name="connsiteY20" fmla="*/ 72501 h 131833"/>
                  <a:gd name="connsiteX21" fmla="*/ 66569 w 71524"/>
                  <a:gd name="connsiteY21" fmla="*/ 108354 h 131833"/>
                  <a:gd name="connsiteX22" fmla="*/ 71525 w 71524"/>
                  <a:gd name="connsiteY22" fmla="*/ 111107 h 131833"/>
                  <a:gd name="connsiteX23" fmla="*/ 71525 w 71524"/>
                  <a:gd name="connsiteY23" fmla="*/ 111230 h 131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1524" h="131833">
                    <a:moveTo>
                      <a:pt x="71525" y="111230"/>
                    </a:moveTo>
                    <a:lnTo>
                      <a:pt x="40994" y="127933"/>
                    </a:lnTo>
                    <a:cubicBezTo>
                      <a:pt x="40994" y="127933"/>
                      <a:pt x="40382" y="128239"/>
                      <a:pt x="40076" y="128422"/>
                    </a:cubicBezTo>
                    <a:cubicBezTo>
                      <a:pt x="37996" y="129462"/>
                      <a:pt x="35793" y="130319"/>
                      <a:pt x="33590" y="130870"/>
                    </a:cubicBezTo>
                    <a:cubicBezTo>
                      <a:pt x="28573" y="132154"/>
                      <a:pt x="23250" y="132154"/>
                      <a:pt x="18233" y="130870"/>
                    </a:cubicBezTo>
                    <a:cubicBezTo>
                      <a:pt x="17744" y="130747"/>
                      <a:pt x="17315" y="130625"/>
                      <a:pt x="16826" y="130503"/>
                    </a:cubicBezTo>
                    <a:cubicBezTo>
                      <a:pt x="16459" y="130380"/>
                      <a:pt x="16030" y="130258"/>
                      <a:pt x="15663" y="130136"/>
                    </a:cubicBezTo>
                    <a:cubicBezTo>
                      <a:pt x="15052" y="129952"/>
                      <a:pt x="14501" y="129707"/>
                      <a:pt x="13889" y="129462"/>
                    </a:cubicBezTo>
                    <a:cubicBezTo>
                      <a:pt x="5201" y="123466"/>
                      <a:pt x="0" y="113555"/>
                      <a:pt x="0" y="102909"/>
                    </a:cubicBezTo>
                    <a:lnTo>
                      <a:pt x="0" y="45948"/>
                    </a:lnTo>
                    <a:cubicBezTo>
                      <a:pt x="0" y="34140"/>
                      <a:pt x="6424" y="23249"/>
                      <a:pt x="16703" y="17621"/>
                    </a:cubicBezTo>
                    <a:lnTo>
                      <a:pt x="48887" y="0"/>
                    </a:lnTo>
                    <a:cubicBezTo>
                      <a:pt x="48397" y="1224"/>
                      <a:pt x="47908" y="2447"/>
                      <a:pt x="47541" y="3671"/>
                    </a:cubicBezTo>
                    <a:cubicBezTo>
                      <a:pt x="47541" y="3793"/>
                      <a:pt x="47479" y="3855"/>
                      <a:pt x="47418" y="3977"/>
                    </a:cubicBezTo>
                    <a:cubicBezTo>
                      <a:pt x="47235" y="4527"/>
                      <a:pt x="47112" y="5078"/>
                      <a:pt x="46929" y="5629"/>
                    </a:cubicBezTo>
                    <a:cubicBezTo>
                      <a:pt x="46745" y="6424"/>
                      <a:pt x="46562" y="7158"/>
                      <a:pt x="46378" y="7954"/>
                    </a:cubicBezTo>
                    <a:cubicBezTo>
                      <a:pt x="46256" y="8565"/>
                      <a:pt x="46133" y="9239"/>
                      <a:pt x="46011" y="9850"/>
                    </a:cubicBezTo>
                    <a:cubicBezTo>
                      <a:pt x="45889" y="10462"/>
                      <a:pt x="45827" y="11135"/>
                      <a:pt x="45766" y="11747"/>
                    </a:cubicBezTo>
                    <a:lnTo>
                      <a:pt x="45766" y="11992"/>
                    </a:lnTo>
                    <a:cubicBezTo>
                      <a:pt x="45705" y="12665"/>
                      <a:pt x="45644" y="13277"/>
                      <a:pt x="45644" y="13949"/>
                    </a:cubicBezTo>
                    <a:lnTo>
                      <a:pt x="45644" y="72501"/>
                    </a:lnTo>
                    <a:cubicBezTo>
                      <a:pt x="45644" y="87430"/>
                      <a:pt x="53659" y="101196"/>
                      <a:pt x="66569" y="108354"/>
                    </a:cubicBezTo>
                    <a:lnTo>
                      <a:pt x="71525" y="111107"/>
                    </a:lnTo>
                    <a:lnTo>
                      <a:pt x="71525" y="111230"/>
                    </a:lnTo>
                    <a:close/>
                  </a:path>
                </a:pathLst>
              </a:custGeom>
              <a:grpFill/>
              <a:ln w="0" cap="flat">
                <a:noFill/>
                <a:prstDash val="solid"/>
                <a:miter/>
              </a:ln>
            </p:spPr>
            <p:txBody>
              <a:bodyPr rtlCol="0" anchor="ctr"/>
              <a:lstStyle/>
              <a:p>
                <a:endParaRPr lang="en-US"/>
              </a:p>
            </p:txBody>
          </p:sp>
          <p:sp>
            <p:nvSpPr>
              <p:cNvPr id="48" name="Freeform 47">
                <a:extLst>
                  <a:ext uri="{FF2B5EF4-FFF2-40B4-BE49-F238E27FC236}">
                    <a16:creationId xmlns:a16="http://schemas.microsoft.com/office/drawing/2014/main" id="{33A6D3F1-A9A5-1776-93C7-6C9BFA23CD78}"/>
                  </a:ext>
                </a:extLst>
              </p:cNvPr>
              <p:cNvSpPr/>
              <p:nvPr/>
            </p:nvSpPr>
            <p:spPr>
              <a:xfrm>
                <a:off x="10672869" y="4946145"/>
                <a:ext cx="127325" cy="100079"/>
              </a:xfrm>
              <a:custGeom>
                <a:avLst/>
                <a:gdLst>
                  <a:gd name="connsiteX0" fmla="*/ 127325 w 127325"/>
                  <a:gd name="connsiteY0" fmla="*/ 42155 h 100079"/>
                  <a:gd name="connsiteX1" fmla="*/ 110683 w 127325"/>
                  <a:gd name="connsiteY1" fmla="*/ 69810 h 100079"/>
                  <a:gd name="connsiteX2" fmla="*/ 62470 w 127325"/>
                  <a:gd name="connsiteY2" fmla="*/ 96179 h 100079"/>
                  <a:gd name="connsiteX3" fmla="*/ 32183 w 127325"/>
                  <a:gd name="connsiteY3" fmla="*/ 96179 h 100079"/>
                  <a:gd name="connsiteX4" fmla="*/ 0 w 127325"/>
                  <a:gd name="connsiteY4" fmla="*/ 78559 h 100079"/>
                  <a:gd name="connsiteX5" fmla="*/ 551 w 127325"/>
                  <a:gd name="connsiteY5" fmla="*/ 78436 h 100079"/>
                  <a:gd name="connsiteX6" fmla="*/ 1775 w 127325"/>
                  <a:gd name="connsiteY6" fmla="*/ 78192 h 100079"/>
                  <a:gd name="connsiteX7" fmla="*/ 2998 w 127325"/>
                  <a:gd name="connsiteY7" fmla="*/ 77886 h 100079"/>
                  <a:gd name="connsiteX8" fmla="*/ 4222 w 127325"/>
                  <a:gd name="connsiteY8" fmla="*/ 77580 h 100079"/>
                  <a:gd name="connsiteX9" fmla="*/ 5446 w 127325"/>
                  <a:gd name="connsiteY9" fmla="*/ 77212 h 100079"/>
                  <a:gd name="connsiteX10" fmla="*/ 6669 w 127325"/>
                  <a:gd name="connsiteY10" fmla="*/ 76784 h 100079"/>
                  <a:gd name="connsiteX11" fmla="*/ 7954 w 127325"/>
                  <a:gd name="connsiteY11" fmla="*/ 76295 h 100079"/>
                  <a:gd name="connsiteX12" fmla="*/ 9484 w 127325"/>
                  <a:gd name="connsiteY12" fmla="*/ 75683 h 100079"/>
                  <a:gd name="connsiteX13" fmla="*/ 12482 w 127325"/>
                  <a:gd name="connsiteY13" fmla="*/ 74215 h 100079"/>
                  <a:gd name="connsiteX14" fmla="*/ 60695 w 127325"/>
                  <a:gd name="connsiteY14" fmla="*/ 47845 h 100079"/>
                  <a:gd name="connsiteX15" fmla="*/ 81926 w 127325"/>
                  <a:gd name="connsiteY15" fmla="*/ 11808 h 100079"/>
                  <a:gd name="connsiteX16" fmla="*/ 81926 w 127325"/>
                  <a:gd name="connsiteY16" fmla="*/ 0 h 100079"/>
                  <a:gd name="connsiteX17" fmla="*/ 110071 w 127325"/>
                  <a:gd name="connsiteY17" fmla="*/ 14378 h 100079"/>
                  <a:gd name="connsiteX18" fmla="*/ 111968 w 127325"/>
                  <a:gd name="connsiteY18" fmla="*/ 15418 h 100079"/>
                  <a:gd name="connsiteX19" fmla="*/ 120044 w 127325"/>
                  <a:gd name="connsiteY19" fmla="*/ 22332 h 100079"/>
                  <a:gd name="connsiteX20" fmla="*/ 121268 w 127325"/>
                  <a:gd name="connsiteY20" fmla="*/ 23923 h 100079"/>
                  <a:gd name="connsiteX21" fmla="*/ 121452 w 127325"/>
                  <a:gd name="connsiteY21" fmla="*/ 24106 h 100079"/>
                  <a:gd name="connsiteX22" fmla="*/ 123104 w 127325"/>
                  <a:gd name="connsiteY22" fmla="*/ 26676 h 100079"/>
                  <a:gd name="connsiteX23" fmla="*/ 123593 w 127325"/>
                  <a:gd name="connsiteY23" fmla="*/ 27532 h 100079"/>
                  <a:gd name="connsiteX24" fmla="*/ 124633 w 127325"/>
                  <a:gd name="connsiteY24" fmla="*/ 29674 h 100079"/>
                  <a:gd name="connsiteX25" fmla="*/ 125367 w 127325"/>
                  <a:gd name="connsiteY25" fmla="*/ 31509 h 100079"/>
                  <a:gd name="connsiteX26" fmla="*/ 126347 w 127325"/>
                  <a:gd name="connsiteY26" fmla="*/ 34568 h 100079"/>
                  <a:gd name="connsiteX27" fmla="*/ 126591 w 127325"/>
                  <a:gd name="connsiteY27" fmla="*/ 35608 h 100079"/>
                  <a:gd name="connsiteX28" fmla="*/ 127020 w 127325"/>
                  <a:gd name="connsiteY28" fmla="*/ 37750 h 100079"/>
                  <a:gd name="connsiteX29" fmla="*/ 127142 w 127325"/>
                  <a:gd name="connsiteY29" fmla="*/ 38667 h 100079"/>
                  <a:gd name="connsiteX30" fmla="*/ 127264 w 127325"/>
                  <a:gd name="connsiteY30" fmla="*/ 39891 h 100079"/>
                  <a:gd name="connsiteX31" fmla="*/ 127325 w 127325"/>
                  <a:gd name="connsiteY31" fmla="*/ 40992 h 100079"/>
                  <a:gd name="connsiteX32" fmla="*/ 127325 w 127325"/>
                  <a:gd name="connsiteY32" fmla="*/ 42094 h 100079"/>
                  <a:gd name="connsiteX33" fmla="*/ 127325 w 127325"/>
                  <a:gd name="connsiteY33" fmla="*/ 42094 h 100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27325" h="100079">
                    <a:moveTo>
                      <a:pt x="127325" y="42155"/>
                    </a:moveTo>
                    <a:cubicBezTo>
                      <a:pt x="127081" y="53719"/>
                      <a:pt x="120718" y="64364"/>
                      <a:pt x="110683" y="69810"/>
                    </a:cubicBezTo>
                    <a:lnTo>
                      <a:pt x="62470" y="96179"/>
                    </a:lnTo>
                    <a:cubicBezTo>
                      <a:pt x="52986" y="101380"/>
                      <a:pt x="41667" y="101380"/>
                      <a:pt x="32183" y="96179"/>
                    </a:cubicBezTo>
                    <a:lnTo>
                      <a:pt x="0" y="78559"/>
                    </a:lnTo>
                    <a:cubicBezTo>
                      <a:pt x="0" y="78559"/>
                      <a:pt x="367" y="78559"/>
                      <a:pt x="551" y="78436"/>
                    </a:cubicBezTo>
                    <a:cubicBezTo>
                      <a:pt x="979" y="78375"/>
                      <a:pt x="1346" y="78253"/>
                      <a:pt x="1775" y="78192"/>
                    </a:cubicBezTo>
                    <a:cubicBezTo>
                      <a:pt x="2203" y="78130"/>
                      <a:pt x="2570" y="78008"/>
                      <a:pt x="2998" y="77886"/>
                    </a:cubicBezTo>
                    <a:cubicBezTo>
                      <a:pt x="3426" y="77763"/>
                      <a:pt x="3793" y="77641"/>
                      <a:pt x="4222" y="77580"/>
                    </a:cubicBezTo>
                    <a:cubicBezTo>
                      <a:pt x="4650" y="77457"/>
                      <a:pt x="5017" y="77335"/>
                      <a:pt x="5446" y="77212"/>
                    </a:cubicBezTo>
                    <a:cubicBezTo>
                      <a:pt x="5874" y="77090"/>
                      <a:pt x="6241" y="76968"/>
                      <a:pt x="6669" y="76784"/>
                    </a:cubicBezTo>
                    <a:cubicBezTo>
                      <a:pt x="7098" y="76662"/>
                      <a:pt x="7526" y="76478"/>
                      <a:pt x="7954" y="76295"/>
                    </a:cubicBezTo>
                    <a:cubicBezTo>
                      <a:pt x="8444" y="76111"/>
                      <a:pt x="8994" y="75867"/>
                      <a:pt x="9484" y="75683"/>
                    </a:cubicBezTo>
                    <a:cubicBezTo>
                      <a:pt x="10524" y="75255"/>
                      <a:pt x="11503" y="74765"/>
                      <a:pt x="12482" y="74215"/>
                    </a:cubicBezTo>
                    <a:lnTo>
                      <a:pt x="60695" y="47845"/>
                    </a:lnTo>
                    <a:cubicBezTo>
                      <a:pt x="73789" y="40687"/>
                      <a:pt x="81926" y="26859"/>
                      <a:pt x="81926" y="11808"/>
                    </a:cubicBezTo>
                    <a:lnTo>
                      <a:pt x="81926" y="0"/>
                    </a:lnTo>
                    <a:lnTo>
                      <a:pt x="110071" y="14378"/>
                    </a:lnTo>
                    <a:cubicBezTo>
                      <a:pt x="110745" y="14684"/>
                      <a:pt x="111356" y="15051"/>
                      <a:pt x="111968" y="15418"/>
                    </a:cubicBezTo>
                    <a:cubicBezTo>
                      <a:pt x="115088" y="17254"/>
                      <a:pt x="117781" y="19640"/>
                      <a:pt x="120044" y="22332"/>
                    </a:cubicBezTo>
                    <a:cubicBezTo>
                      <a:pt x="120473" y="22821"/>
                      <a:pt x="120901" y="23372"/>
                      <a:pt x="121268" y="23923"/>
                    </a:cubicBezTo>
                    <a:lnTo>
                      <a:pt x="121452" y="24106"/>
                    </a:lnTo>
                    <a:cubicBezTo>
                      <a:pt x="122064" y="24963"/>
                      <a:pt x="122614" y="25758"/>
                      <a:pt x="123104" y="26676"/>
                    </a:cubicBezTo>
                    <a:cubicBezTo>
                      <a:pt x="123287" y="26982"/>
                      <a:pt x="123471" y="27288"/>
                      <a:pt x="123593" y="27532"/>
                    </a:cubicBezTo>
                    <a:cubicBezTo>
                      <a:pt x="123960" y="28205"/>
                      <a:pt x="124327" y="28940"/>
                      <a:pt x="124633" y="29674"/>
                    </a:cubicBezTo>
                    <a:cubicBezTo>
                      <a:pt x="124878" y="30285"/>
                      <a:pt x="125184" y="30898"/>
                      <a:pt x="125367" y="31509"/>
                    </a:cubicBezTo>
                    <a:cubicBezTo>
                      <a:pt x="125735" y="32488"/>
                      <a:pt x="126102" y="33528"/>
                      <a:pt x="126347" y="34568"/>
                    </a:cubicBezTo>
                    <a:cubicBezTo>
                      <a:pt x="126469" y="34874"/>
                      <a:pt x="126530" y="35241"/>
                      <a:pt x="126591" y="35608"/>
                    </a:cubicBezTo>
                    <a:cubicBezTo>
                      <a:pt x="126775" y="36281"/>
                      <a:pt x="126897" y="37016"/>
                      <a:pt x="127020" y="37750"/>
                    </a:cubicBezTo>
                    <a:cubicBezTo>
                      <a:pt x="127020" y="38056"/>
                      <a:pt x="127142" y="38362"/>
                      <a:pt x="127142" y="38667"/>
                    </a:cubicBezTo>
                    <a:cubicBezTo>
                      <a:pt x="127203" y="39096"/>
                      <a:pt x="127264" y="39524"/>
                      <a:pt x="127264" y="39891"/>
                    </a:cubicBezTo>
                    <a:cubicBezTo>
                      <a:pt x="127264" y="40258"/>
                      <a:pt x="127325" y="40625"/>
                      <a:pt x="127325" y="40992"/>
                    </a:cubicBezTo>
                    <a:lnTo>
                      <a:pt x="127325" y="42094"/>
                    </a:lnTo>
                    <a:lnTo>
                      <a:pt x="127325" y="42094"/>
                    </a:lnTo>
                    <a:close/>
                  </a:path>
                </a:pathLst>
              </a:custGeom>
              <a:grpFill/>
              <a:ln w="0" cap="flat">
                <a:noFill/>
                <a:prstDash val="solid"/>
                <a:miter/>
              </a:ln>
            </p:spPr>
            <p:txBody>
              <a:bodyPr rtlCol="0" anchor="ctr"/>
              <a:lstStyle/>
              <a:p>
                <a:endParaRPr lang="en-US"/>
              </a:p>
            </p:txBody>
          </p:sp>
          <p:sp>
            <p:nvSpPr>
              <p:cNvPr id="54" name="Freeform 53">
                <a:extLst>
                  <a:ext uri="{FF2B5EF4-FFF2-40B4-BE49-F238E27FC236}">
                    <a16:creationId xmlns:a16="http://schemas.microsoft.com/office/drawing/2014/main" id="{C9E9C3C2-0D9D-A3E8-9A7E-B7528F5F8F92}"/>
                  </a:ext>
                </a:extLst>
              </p:cNvPr>
              <p:cNvSpPr/>
              <p:nvPr/>
            </p:nvSpPr>
            <p:spPr>
              <a:xfrm>
                <a:off x="10694223" y="4872041"/>
                <a:ext cx="105972" cy="91969"/>
              </a:xfrm>
              <a:custGeom>
                <a:avLst/>
                <a:gdLst>
                  <a:gd name="connsiteX0" fmla="*/ 105972 w 105972"/>
                  <a:gd name="connsiteY0" fmla="*/ 58686 h 91969"/>
                  <a:gd name="connsiteX1" fmla="*/ 105972 w 105972"/>
                  <a:gd name="connsiteY1" fmla="*/ 91969 h 91969"/>
                  <a:gd name="connsiteX2" fmla="*/ 105360 w 105972"/>
                  <a:gd name="connsiteY2" fmla="*/ 91235 h 91969"/>
                  <a:gd name="connsiteX3" fmla="*/ 104932 w 105972"/>
                  <a:gd name="connsiteY3" fmla="*/ 90746 h 91969"/>
                  <a:gd name="connsiteX4" fmla="*/ 104320 w 105972"/>
                  <a:gd name="connsiteY4" fmla="*/ 90012 h 91969"/>
                  <a:gd name="connsiteX5" fmla="*/ 103280 w 105972"/>
                  <a:gd name="connsiteY5" fmla="*/ 88849 h 91969"/>
                  <a:gd name="connsiteX6" fmla="*/ 102546 w 105972"/>
                  <a:gd name="connsiteY6" fmla="*/ 88115 h 91969"/>
                  <a:gd name="connsiteX7" fmla="*/ 100282 w 105972"/>
                  <a:gd name="connsiteY7" fmla="*/ 85973 h 91969"/>
                  <a:gd name="connsiteX8" fmla="*/ 99425 w 105972"/>
                  <a:gd name="connsiteY8" fmla="*/ 85239 h 91969"/>
                  <a:gd name="connsiteX9" fmla="*/ 99119 w 105972"/>
                  <a:gd name="connsiteY9" fmla="*/ 84995 h 91969"/>
                  <a:gd name="connsiteX10" fmla="*/ 97528 w 105972"/>
                  <a:gd name="connsiteY10" fmla="*/ 83771 h 91969"/>
                  <a:gd name="connsiteX11" fmla="*/ 96794 w 105972"/>
                  <a:gd name="connsiteY11" fmla="*/ 83220 h 91969"/>
                  <a:gd name="connsiteX12" fmla="*/ 95999 w 105972"/>
                  <a:gd name="connsiteY12" fmla="*/ 82731 h 91969"/>
                  <a:gd name="connsiteX13" fmla="*/ 95754 w 105972"/>
                  <a:gd name="connsiteY13" fmla="*/ 82547 h 91969"/>
                  <a:gd name="connsiteX14" fmla="*/ 94531 w 105972"/>
                  <a:gd name="connsiteY14" fmla="*/ 81813 h 91969"/>
                  <a:gd name="connsiteX15" fmla="*/ 92389 w 105972"/>
                  <a:gd name="connsiteY15" fmla="*/ 80650 h 91969"/>
                  <a:gd name="connsiteX16" fmla="*/ 44176 w 105972"/>
                  <a:gd name="connsiteY16" fmla="*/ 55994 h 91969"/>
                  <a:gd name="connsiteX17" fmla="*/ 25881 w 105972"/>
                  <a:gd name="connsiteY17" fmla="*/ 51589 h 91969"/>
                  <a:gd name="connsiteX18" fmla="*/ 7587 w 105972"/>
                  <a:gd name="connsiteY18" fmla="*/ 55994 h 91969"/>
                  <a:gd name="connsiteX19" fmla="*/ 6302 w 105972"/>
                  <a:gd name="connsiteY19" fmla="*/ 56606 h 91969"/>
                  <a:gd name="connsiteX20" fmla="*/ 0 w 105972"/>
                  <a:gd name="connsiteY20" fmla="*/ 59787 h 91969"/>
                  <a:gd name="connsiteX21" fmla="*/ 0 w 105972"/>
                  <a:gd name="connsiteY21" fmla="*/ 28706 h 91969"/>
                  <a:gd name="connsiteX22" fmla="*/ 367 w 105972"/>
                  <a:gd name="connsiteY22" fmla="*/ 23934 h 91969"/>
                  <a:gd name="connsiteX23" fmla="*/ 673 w 105972"/>
                  <a:gd name="connsiteY23" fmla="*/ 22038 h 91969"/>
                  <a:gd name="connsiteX24" fmla="*/ 1101 w 105972"/>
                  <a:gd name="connsiteY24" fmla="*/ 20202 h 91969"/>
                  <a:gd name="connsiteX25" fmla="*/ 1652 w 105972"/>
                  <a:gd name="connsiteY25" fmla="*/ 18367 h 91969"/>
                  <a:gd name="connsiteX26" fmla="*/ 2325 w 105972"/>
                  <a:gd name="connsiteY26" fmla="*/ 16592 h 91969"/>
                  <a:gd name="connsiteX27" fmla="*/ 4405 w 105972"/>
                  <a:gd name="connsiteY27" fmla="*/ 12371 h 91969"/>
                  <a:gd name="connsiteX28" fmla="*/ 5384 w 105972"/>
                  <a:gd name="connsiteY28" fmla="*/ 10780 h 91969"/>
                  <a:gd name="connsiteX29" fmla="*/ 7648 w 105972"/>
                  <a:gd name="connsiteY29" fmla="*/ 7782 h 91969"/>
                  <a:gd name="connsiteX30" fmla="*/ 13216 w 105972"/>
                  <a:gd name="connsiteY30" fmla="*/ 2581 h 91969"/>
                  <a:gd name="connsiteX31" fmla="*/ 13216 w 105972"/>
                  <a:gd name="connsiteY31" fmla="*/ 2581 h 91969"/>
                  <a:gd name="connsiteX32" fmla="*/ 40933 w 105972"/>
                  <a:gd name="connsiteY32" fmla="*/ 3866 h 91969"/>
                  <a:gd name="connsiteX33" fmla="*/ 89146 w 105972"/>
                  <a:gd name="connsiteY33" fmla="*/ 30236 h 91969"/>
                  <a:gd name="connsiteX34" fmla="*/ 105850 w 105972"/>
                  <a:gd name="connsiteY34" fmla="*/ 58564 h 91969"/>
                  <a:gd name="connsiteX35" fmla="*/ 105972 w 105972"/>
                  <a:gd name="connsiteY35" fmla="*/ 58686 h 9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5972" h="91969">
                    <a:moveTo>
                      <a:pt x="105972" y="58686"/>
                    </a:moveTo>
                    <a:lnTo>
                      <a:pt x="105972" y="91969"/>
                    </a:lnTo>
                    <a:cubicBezTo>
                      <a:pt x="105972" y="91969"/>
                      <a:pt x="105605" y="91480"/>
                      <a:pt x="105360" y="91235"/>
                    </a:cubicBezTo>
                    <a:cubicBezTo>
                      <a:pt x="105238" y="91052"/>
                      <a:pt x="105115" y="90929"/>
                      <a:pt x="104932" y="90746"/>
                    </a:cubicBezTo>
                    <a:cubicBezTo>
                      <a:pt x="104748" y="90501"/>
                      <a:pt x="104504" y="90256"/>
                      <a:pt x="104320" y="90012"/>
                    </a:cubicBezTo>
                    <a:cubicBezTo>
                      <a:pt x="104014" y="89645"/>
                      <a:pt x="103647" y="89277"/>
                      <a:pt x="103280" y="88849"/>
                    </a:cubicBezTo>
                    <a:cubicBezTo>
                      <a:pt x="103035" y="88604"/>
                      <a:pt x="102791" y="88360"/>
                      <a:pt x="102546" y="88115"/>
                    </a:cubicBezTo>
                    <a:cubicBezTo>
                      <a:pt x="101812" y="87381"/>
                      <a:pt x="101077" y="86647"/>
                      <a:pt x="100282" y="85973"/>
                    </a:cubicBezTo>
                    <a:cubicBezTo>
                      <a:pt x="99976" y="85729"/>
                      <a:pt x="99731" y="85484"/>
                      <a:pt x="99425" y="85239"/>
                    </a:cubicBezTo>
                    <a:cubicBezTo>
                      <a:pt x="99303" y="85178"/>
                      <a:pt x="99242" y="85056"/>
                      <a:pt x="99119" y="84995"/>
                    </a:cubicBezTo>
                    <a:cubicBezTo>
                      <a:pt x="98630" y="84566"/>
                      <a:pt x="98079" y="84199"/>
                      <a:pt x="97528" y="83771"/>
                    </a:cubicBezTo>
                    <a:cubicBezTo>
                      <a:pt x="97284" y="83587"/>
                      <a:pt x="97039" y="83404"/>
                      <a:pt x="96794" y="83220"/>
                    </a:cubicBezTo>
                    <a:cubicBezTo>
                      <a:pt x="96550" y="83037"/>
                      <a:pt x="96305" y="82853"/>
                      <a:pt x="95999" y="82731"/>
                    </a:cubicBezTo>
                    <a:cubicBezTo>
                      <a:pt x="95938" y="82731"/>
                      <a:pt x="95816" y="82608"/>
                      <a:pt x="95754" y="82547"/>
                    </a:cubicBezTo>
                    <a:cubicBezTo>
                      <a:pt x="95387" y="82303"/>
                      <a:pt x="94959" y="82058"/>
                      <a:pt x="94531" y="81813"/>
                    </a:cubicBezTo>
                    <a:cubicBezTo>
                      <a:pt x="93796" y="81385"/>
                      <a:pt x="93123" y="81018"/>
                      <a:pt x="92389" y="80650"/>
                    </a:cubicBezTo>
                    <a:lnTo>
                      <a:pt x="44176" y="55994"/>
                    </a:lnTo>
                    <a:cubicBezTo>
                      <a:pt x="38424" y="53057"/>
                      <a:pt x="32183" y="51589"/>
                      <a:pt x="25881" y="51589"/>
                    </a:cubicBezTo>
                    <a:cubicBezTo>
                      <a:pt x="19579" y="51589"/>
                      <a:pt x="13338" y="53057"/>
                      <a:pt x="7587" y="55994"/>
                    </a:cubicBezTo>
                    <a:lnTo>
                      <a:pt x="6302" y="56606"/>
                    </a:lnTo>
                    <a:lnTo>
                      <a:pt x="0" y="59787"/>
                    </a:lnTo>
                    <a:lnTo>
                      <a:pt x="0" y="28706"/>
                    </a:lnTo>
                    <a:cubicBezTo>
                      <a:pt x="0" y="27116"/>
                      <a:pt x="122" y="25464"/>
                      <a:pt x="367" y="23934"/>
                    </a:cubicBezTo>
                    <a:cubicBezTo>
                      <a:pt x="428" y="23322"/>
                      <a:pt x="551" y="22711"/>
                      <a:pt x="673" y="22038"/>
                    </a:cubicBezTo>
                    <a:cubicBezTo>
                      <a:pt x="795" y="21426"/>
                      <a:pt x="918" y="20814"/>
                      <a:pt x="1101" y="20202"/>
                    </a:cubicBezTo>
                    <a:cubicBezTo>
                      <a:pt x="1285" y="19590"/>
                      <a:pt x="1469" y="18979"/>
                      <a:pt x="1652" y="18367"/>
                    </a:cubicBezTo>
                    <a:cubicBezTo>
                      <a:pt x="1836" y="17755"/>
                      <a:pt x="2080" y="17143"/>
                      <a:pt x="2325" y="16592"/>
                    </a:cubicBezTo>
                    <a:cubicBezTo>
                      <a:pt x="2937" y="15124"/>
                      <a:pt x="3610" y="13717"/>
                      <a:pt x="4405" y="12371"/>
                    </a:cubicBezTo>
                    <a:cubicBezTo>
                      <a:pt x="4711" y="11820"/>
                      <a:pt x="5017" y="11270"/>
                      <a:pt x="5384" y="10780"/>
                    </a:cubicBezTo>
                    <a:cubicBezTo>
                      <a:pt x="6058" y="9740"/>
                      <a:pt x="6853" y="8761"/>
                      <a:pt x="7648" y="7782"/>
                    </a:cubicBezTo>
                    <a:cubicBezTo>
                      <a:pt x="9300" y="5885"/>
                      <a:pt x="11136" y="4111"/>
                      <a:pt x="13216" y="2581"/>
                    </a:cubicBezTo>
                    <a:lnTo>
                      <a:pt x="13216" y="2581"/>
                    </a:lnTo>
                    <a:cubicBezTo>
                      <a:pt x="22088" y="-1273"/>
                      <a:pt x="32428" y="-784"/>
                      <a:pt x="40933" y="3866"/>
                    </a:cubicBezTo>
                    <a:lnTo>
                      <a:pt x="89146" y="30236"/>
                    </a:lnTo>
                    <a:cubicBezTo>
                      <a:pt x="99425" y="35865"/>
                      <a:pt x="105850" y="46694"/>
                      <a:pt x="105850" y="58564"/>
                    </a:cubicBezTo>
                    <a:lnTo>
                      <a:pt x="105972" y="58686"/>
                    </a:lnTo>
                    <a:close/>
                  </a:path>
                </a:pathLst>
              </a:custGeom>
              <a:grpFill/>
              <a:ln w="0" cap="flat">
                <a:noFill/>
                <a:prstDash val="solid"/>
                <a:miter/>
              </a:ln>
            </p:spPr>
            <p:txBody>
              <a:bodyPr rtlCol="0" anchor="ctr"/>
              <a:lstStyle/>
              <a:p>
                <a:endParaRPr lang="en-US"/>
              </a:p>
            </p:txBody>
          </p:sp>
        </p:grpSp>
        <p:sp>
          <p:nvSpPr>
            <p:cNvPr id="26" name="Freeform 25">
              <a:extLst>
                <a:ext uri="{FF2B5EF4-FFF2-40B4-BE49-F238E27FC236}">
                  <a16:creationId xmlns:a16="http://schemas.microsoft.com/office/drawing/2014/main" id="{E68FCA2B-FE00-B3B4-BFE6-B98759D2EA6C}"/>
                </a:ext>
              </a:extLst>
            </p:cNvPr>
            <p:cNvSpPr>
              <a:spLocks noChangeAspect="1"/>
            </p:cNvSpPr>
            <p:nvPr/>
          </p:nvSpPr>
          <p:spPr>
            <a:xfrm>
              <a:off x="2131226" y="4933776"/>
              <a:ext cx="340089" cy="306525"/>
            </a:xfrm>
            <a:custGeom>
              <a:avLst/>
              <a:gdLst>
                <a:gd name="connsiteX0" fmla="*/ 97590 w 154430"/>
                <a:gd name="connsiteY0" fmla="*/ 132216 h 139190"/>
                <a:gd name="connsiteX1" fmla="*/ 94347 w 154430"/>
                <a:gd name="connsiteY1" fmla="*/ 138823 h 139190"/>
                <a:gd name="connsiteX2" fmla="*/ 92695 w 154430"/>
                <a:gd name="connsiteY2" fmla="*/ 139129 h 139190"/>
                <a:gd name="connsiteX3" fmla="*/ 91165 w 154430"/>
                <a:gd name="connsiteY3" fmla="*/ 139129 h 139190"/>
                <a:gd name="connsiteX4" fmla="*/ 87555 w 154430"/>
                <a:gd name="connsiteY4" fmla="*/ 137722 h 139190"/>
                <a:gd name="connsiteX5" fmla="*/ 41789 w 154430"/>
                <a:gd name="connsiteY5" fmla="*/ 95017 h 139190"/>
                <a:gd name="connsiteX6" fmla="*/ 41361 w 154430"/>
                <a:gd name="connsiteY6" fmla="*/ 93976 h 139190"/>
                <a:gd name="connsiteX7" fmla="*/ 42768 w 154430"/>
                <a:gd name="connsiteY7" fmla="*/ 92631 h 139190"/>
                <a:gd name="connsiteX8" fmla="*/ 84251 w 154430"/>
                <a:gd name="connsiteY8" fmla="*/ 92631 h 139190"/>
                <a:gd name="connsiteX9" fmla="*/ 97590 w 154430"/>
                <a:gd name="connsiteY9" fmla="*/ 132277 h 139190"/>
                <a:gd name="connsiteX10" fmla="*/ 97590 w 154430"/>
                <a:gd name="connsiteY10" fmla="*/ 132277 h 139190"/>
                <a:gd name="connsiteX11" fmla="*/ 149230 w 154430"/>
                <a:gd name="connsiteY11" fmla="*/ 139129 h 139190"/>
                <a:gd name="connsiteX12" fmla="*/ 154430 w 154430"/>
                <a:gd name="connsiteY12" fmla="*/ 133929 h 139190"/>
                <a:gd name="connsiteX13" fmla="*/ 154124 w 154430"/>
                <a:gd name="connsiteY13" fmla="*/ 132277 h 139190"/>
                <a:gd name="connsiteX14" fmla="*/ 110683 w 154430"/>
                <a:gd name="connsiteY14" fmla="*/ 3549 h 139190"/>
                <a:gd name="connsiteX15" fmla="*/ 105727 w 154430"/>
                <a:gd name="connsiteY15" fmla="*/ 0 h 139190"/>
                <a:gd name="connsiteX16" fmla="*/ 63081 w 154430"/>
                <a:gd name="connsiteY16" fmla="*/ 0 h 139190"/>
                <a:gd name="connsiteX17" fmla="*/ 64244 w 154430"/>
                <a:gd name="connsiteY17" fmla="*/ 2325 h 139190"/>
                <a:gd name="connsiteX18" fmla="*/ 107685 w 154430"/>
                <a:gd name="connsiteY18" fmla="*/ 131053 h 139190"/>
                <a:gd name="connsiteX19" fmla="*/ 106523 w 154430"/>
                <a:gd name="connsiteY19" fmla="*/ 139190 h 139190"/>
                <a:gd name="connsiteX20" fmla="*/ 149230 w 154430"/>
                <a:gd name="connsiteY20" fmla="*/ 139190 h 139190"/>
                <a:gd name="connsiteX21" fmla="*/ 54210 w 154430"/>
                <a:gd name="connsiteY21" fmla="*/ 3549 h 139190"/>
                <a:gd name="connsiteX22" fmla="*/ 49254 w 154430"/>
                <a:gd name="connsiteY22" fmla="*/ 0 h 139190"/>
                <a:gd name="connsiteX23" fmla="*/ 48703 w 154430"/>
                <a:gd name="connsiteY23" fmla="*/ 0 h 139190"/>
                <a:gd name="connsiteX24" fmla="*/ 43747 w 154430"/>
                <a:gd name="connsiteY24" fmla="*/ 3549 h 139190"/>
                <a:gd name="connsiteX25" fmla="*/ 306 w 154430"/>
                <a:gd name="connsiteY25" fmla="*/ 132277 h 139190"/>
                <a:gd name="connsiteX26" fmla="*/ 0 w 154430"/>
                <a:gd name="connsiteY26" fmla="*/ 133929 h 139190"/>
                <a:gd name="connsiteX27" fmla="*/ 5201 w 154430"/>
                <a:gd name="connsiteY27" fmla="*/ 139129 h 139190"/>
                <a:gd name="connsiteX28" fmla="*/ 40137 w 154430"/>
                <a:gd name="connsiteY28" fmla="*/ 139129 h 139190"/>
                <a:gd name="connsiteX29" fmla="*/ 45093 w 154430"/>
                <a:gd name="connsiteY29" fmla="*/ 135581 h 139190"/>
                <a:gd name="connsiteX30" fmla="*/ 50906 w 154430"/>
                <a:gd name="connsiteY30" fmla="*/ 118388 h 139190"/>
                <a:gd name="connsiteX31" fmla="*/ 34386 w 154430"/>
                <a:gd name="connsiteY31" fmla="*/ 102970 h 139190"/>
                <a:gd name="connsiteX32" fmla="*/ 30470 w 154430"/>
                <a:gd name="connsiteY32" fmla="*/ 94038 h 139190"/>
                <a:gd name="connsiteX33" fmla="*/ 42646 w 154430"/>
                <a:gd name="connsiteY33" fmla="*/ 81862 h 139190"/>
                <a:gd name="connsiteX34" fmla="*/ 63204 w 154430"/>
                <a:gd name="connsiteY34" fmla="*/ 81862 h 139190"/>
                <a:gd name="connsiteX35" fmla="*/ 71831 w 154430"/>
                <a:gd name="connsiteY35" fmla="*/ 56227 h 139190"/>
                <a:gd name="connsiteX36" fmla="*/ 54087 w 154430"/>
                <a:gd name="connsiteY36" fmla="*/ 3610 h 139190"/>
                <a:gd name="connsiteX37" fmla="*/ 54210 w 154430"/>
                <a:gd name="connsiteY37" fmla="*/ 3610 h 139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4430" h="139190">
                  <a:moveTo>
                    <a:pt x="97590" y="132216"/>
                  </a:moveTo>
                  <a:cubicBezTo>
                    <a:pt x="98507" y="134908"/>
                    <a:pt x="97039" y="137906"/>
                    <a:pt x="94347" y="138823"/>
                  </a:cubicBezTo>
                  <a:cubicBezTo>
                    <a:pt x="93796" y="139007"/>
                    <a:pt x="93246" y="139129"/>
                    <a:pt x="92695" y="139129"/>
                  </a:cubicBezTo>
                  <a:lnTo>
                    <a:pt x="91165" y="139129"/>
                  </a:lnTo>
                  <a:cubicBezTo>
                    <a:pt x="89819" y="139129"/>
                    <a:pt x="88534" y="138640"/>
                    <a:pt x="87555" y="137722"/>
                  </a:cubicBezTo>
                  <a:lnTo>
                    <a:pt x="41789" y="95017"/>
                  </a:lnTo>
                  <a:cubicBezTo>
                    <a:pt x="41789" y="95017"/>
                    <a:pt x="41361" y="94405"/>
                    <a:pt x="41361" y="93976"/>
                  </a:cubicBezTo>
                  <a:cubicBezTo>
                    <a:pt x="41361" y="93181"/>
                    <a:pt x="41973" y="92631"/>
                    <a:pt x="42768" y="92631"/>
                  </a:cubicBezTo>
                  <a:lnTo>
                    <a:pt x="84251" y="92631"/>
                  </a:lnTo>
                  <a:lnTo>
                    <a:pt x="97590" y="132277"/>
                  </a:lnTo>
                  <a:lnTo>
                    <a:pt x="97590" y="132277"/>
                  </a:lnTo>
                  <a:close/>
                  <a:moveTo>
                    <a:pt x="149230" y="139129"/>
                  </a:moveTo>
                  <a:cubicBezTo>
                    <a:pt x="152105" y="139129"/>
                    <a:pt x="154430" y="136804"/>
                    <a:pt x="154430" y="133929"/>
                  </a:cubicBezTo>
                  <a:cubicBezTo>
                    <a:pt x="154430" y="133378"/>
                    <a:pt x="154308" y="132766"/>
                    <a:pt x="154124" y="132277"/>
                  </a:cubicBezTo>
                  <a:lnTo>
                    <a:pt x="110683" y="3549"/>
                  </a:lnTo>
                  <a:cubicBezTo>
                    <a:pt x="109949" y="1407"/>
                    <a:pt x="107991" y="0"/>
                    <a:pt x="105727" y="0"/>
                  </a:cubicBezTo>
                  <a:lnTo>
                    <a:pt x="63081" y="0"/>
                  </a:lnTo>
                  <a:cubicBezTo>
                    <a:pt x="63571" y="673"/>
                    <a:pt x="63999" y="1468"/>
                    <a:pt x="64244" y="2325"/>
                  </a:cubicBezTo>
                  <a:lnTo>
                    <a:pt x="107685" y="131053"/>
                  </a:lnTo>
                  <a:cubicBezTo>
                    <a:pt x="108664" y="133929"/>
                    <a:pt x="108113" y="136927"/>
                    <a:pt x="106523" y="139190"/>
                  </a:cubicBezTo>
                  <a:lnTo>
                    <a:pt x="149230" y="139190"/>
                  </a:lnTo>
                  <a:close/>
                  <a:moveTo>
                    <a:pt x="54210" y="3549"/>
                  </a:moveTo>
                  <a:cubicBezTo>
                    <a:pt x="53475" y="1407"/>
                    <a:pt x="51518" y="0"/>
                    <a:pt x="49254" y="0"/>
                  </a:cubicBezTo>
                  <a:lnTo>
                    <a:pt x="48703" y="0"/>
                  </a:lnTo>
                  <a:cubicBezTo>
                    <a:pt x="46439" y="0"/>
                    <a:pt x="44481" y="1407"/>
                    <a:pt x="43747" y="3549"/>
                  </a:cubicBezTo>
                  <a:lnTo>
                    <a:pt x="306" y="132277"/>
                  </a:lnTo>
                  <a:cubicBezTo>
                    <a:pt x="122" y="132828"/>
                    <a:pt x="0" y="133378"/>
                    <a:pt x="0" y="133929"/>
                  </a:cubicBezTo>
                  <a:cubicBezTo>
                    <a:pt x="0" y="136804"/>
                    <a:pt x="2325" y="139129"/>
                    <a:pt x="5201" y="139129"/>
                  </a:cubicBezTo>
                  <a:lnTo>
                    <a:pt x="40137" y="139129"/>
                  </a:lnTo>
                  <a:cubicBezTo>
                    <a:pt x="42401" y="139129"/>
                    <a:pt x="44359" y="137722"/>
                    <a:pt x="45093" y="135581"/>
                  </a:cubicBezTo>
                  <a:lnTo>
                    <a:pt x="50906" y="118388"/>
                  </a:lnTo>
                  <a:lnTo>
                    <a:pt x="34386" y="102970"/>
                  </a:lnTo>
                  <a:cubicBezTo>
                    <a:pt x="31938" y="100645"/>
                    <a:pt x="30470" y="97464"/>
                    <a:pt x="30470" y="94038"/>
                  </a:cubicBezTo>
                  <a:cubicBezTo>
                    <a:pt x="30470" y="87308"/>
                    <a:pt x="35915" y="81862"/>
                    <a:pt x="42646" y="81862"/>
                  </a:cubicBezTo>
                  <a:lnTo>
                    <a:pt x="63204" y="81862"/>
                  </a:lnTo>
                  <a:lnTo>
                    <a:pt x="71831" y="56227"/>
                  </a:lnTo>
                  <a:lnTo>
                    <a:pt x="54087" y="3610"/>
                  </a:lnTo>
                  <a:lnTo>
                    <a:pt x="54210" y="3610"/>
                  </a:lnTo>
                  <a:close/>
                </a:path>
              </a:pathLst>
            </a:custGeom>
            <a:solidFill>
              <a:schemeClr val="bg1"/>
            </a:solidFill>
            <a:ln w="0" cap="flat">
              <a:noFill/>
              <a:prstDash val="solid"/>
              <a:miter/>
            </a:ln>
          </p:spPr>
          <p:txBody>
            <a:bodyPr rtlCol="0" anchor="ctr"/>
            <a:lstStyle/>
            <a:p>
              <a:endParaRPr lang="en-US"/>
            </a:p>
          </p:txBody>
        </p:sp>
        <p:grpSp>
          <p:nvGrpSpPr>
            <p:cNvPr id="168" name="Graphic 3">
              <a:extLst>
                <a:ext uri="{FF2B5EF4-FFF2-40B4-BE49-F238E27FC236}">
                  <a16:creationId xmlns:a16="http://schemas.microsoft.com/office/drawing/2014/main" id="{CCA904F7-BFC2-7AFC-853F-FC60B9831A46}"/>
                </a:ext>
              </a:extLst>
            </p:cNvPr>
            <p:cNvGrpSpPr>
              <a:grpSpLocks noChangeAspect="1"/>
            </p:cNvGrpSpPr>
            <p:nvPr/>
          </p:nvGrpSpPr>
          <p:grpSpPr>
            <a:xfrm>
              <a:off x="3125536" y="4929627"/>
              <a:ext cx="516451" cy="309184"/>
              <a:chOff x="5482225" y="4888484"/>
              <a:chExt cx="194354" cy="116353"/>
            </a:xfrm>
            <a:solidFill>
              <a:schemeClr val="tx1">
                <a:alpha val="70000"/>
              </a:schemeClr>
            </a:solidFill>
          </p:grpSpPr>
          <p:sp>
            <p:nvSpPr>
              <p:cNvPr id="169" name="Freeform 168">
                <a:extLst>
                  <a:ext uri="{FF2B5EF4-FFF2-40B4-BE49-F238E27FC236}">
                    <a16:creationId xmlns:a16="http://schemas.microsoft.com/office/drawing/2014/main" id="{F1FC1FCC-58AC-AAB3-286D-995C47164A24}"/>
                  </a:ext>
                </a:extLst>
              </p:cNvPr>
              <p:cNvSpPr/>
              <p:nvPr/>
            </p:nvSpPr>
            <p:spPr>
              <a:xfrm>
                <a:off x="5482225" y="4964643"/>
                <a:ext cx="176522" cy="40194"/>
              </a:xfrm>
              <a:custGeom>
                <a:avLst/>
                <a:gdLst>
                  <a:gd name="connsiteX0" fmla="*/ 96158 w 176522"/>
                  <a:gd name="connsiteY0" fmla="*/ 40115 h 40194"/>
                  <a:gd name="connsiteX1" fmla="*/ 5972 w 176522"/>
                  <a:gd name="connsiteY1" fmla="*/ 7444 h 40194"/>
                  <a:gd name="connsiteX2" fmla="*/ 1260 w 176522"/>
                  <a:gd name="connsiteY2" fmla="*/ 3283 h 40194"/>
                  <a:gd name="connsiteX3" fmla="*/ 343 w 176522"/>
                  <a:gd name="connsiteY3" fmla="*/ 591 h 40194"/>
                  <a:gd name="connsiteX4" fmla="*/ 3218 w 176522"/>
                  <a:gd name="connsiteY4" fmla="*/ 714 h 40194"/>
                  <a:gd name="connsiteX5" fmla="*/ 41214 w 176522"/>
                  <a:gd name="connsiteY5" fmla="*/ 17539 h 40194"/>
                  <a:gd name="connsiteX6" fmla="*/ 72846 w 176522"/>
                  <a:gd name="connsiteY6" fmla="*/ 24636 h 40194"/>
                  <a:gd name="connsiteX7" fmla="*/ 101359 w 176522"/>
                  <a:gd name="connsiteY7" fmla="*/ 26472 h 40194"/>
                  <a:gd name="connsiteX8" fmla="*/ 170314 w 176522"/>
                  <a:gd name="connsiteY8" fmla="*/ 11910 h 40194"/>
                  <a:gd name="connsiteX9" fmla="*/ 172516 w 176522"/>
                  <a:gd name="connsiteY9" fmla="*/ 10992 h 40194"/>
                  <a:gd name="connsiteX10" fmla="*/ 174597 w 176522"/>
                  <a:gd name="connsiteY10" fmla="*/ 10870 h 40194"/>
                  <a:gd name="connsiteX11" fmla="*/ 176249 w 176522"/>
                  <a:gd name="connsiteY11" fmla="*/ 12094 h 40194"/>
                  <a:gd name="connsiteX12" fmla="*/ 176371 w 176522"/>
                  <a:gd name="connsiteY12" fmla="*/ 14174 h 40194"/>
                  <a:gd name="connsiteX13" fmla="*/ 175025 w 176522"/>
                  <a:gd name="connsiteY13" fmla="*/ 15765 h 40194"/>
                  <a:gd name="connsiteX14" fmla="*/ 159545 w 176522"/>
                  <a:gd name="connsiteY14" fmla="*/ 25309 h 40194"/>
                  <a:gd name="connsiteX15" fmla="*/ 117878 w 176522"/>
                  <a:gd name="connsiteY15" fmla="*/ 38586 h 40194"/>
                  <a:gd name="connsiteX16" fmla="*/ 96035 w 176522"/>
                  <a:gd name="connsiteY16" fmla="*/ 40177 h 40194"/>
                  <a:gd name="connsiteX17" fmla="*/ 96158 w 176522"/>
                  <a:gd name="connsiteY17" fmla="*/ 40177 h 40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6522" h="40194">
                    <a:moveTo>
                      <a:pt x="96158" y="40115"/>
                    </a:moveTo>
                    <a:cubicBezTo>
                      <a:pt x="63179" y="40299"/>
                      <a:pt x="31180" y="28674"/>
                      <a:pt x="5972" y="7444"/>
                    </a:cubicBezTo>
                    <a:cubicBezTo>
                      <a:pt x="4381" y="6098"/>
                      <a:pt x="2851" y="4691"/>
                      <a:pt x="1260" y="3283"/>
                    </a:cubicBezTo>
                    <a:cubicBezTo>
                      <a:pt x="404" y="2549"/>
                      <a:pt x="-514" y="1632"/>
                      <a:pt x="343" y="591"/>
                    </a:cubicBezTo>
                    <a:cubicBezTo>
                      <a:pt x="1199" y="-510"/>
                      <a:pt x="2300" y="163"/>
                      <a:pt x="3218" y="714"/>
                    </a:cubicBezTo>
                    <a:cubicBezTo>
                      <a:pt x="15210" y="7750"/>
                      <a:pt x="27998" y="13440"/>
                      <a:pt x="41214" y="17539"/>
                    </a:cubicBezTo>
                    <a:cubicBezTo>
                      <a:pt x="51554" y="20782"/>
                      <a:pt x="62139" y="23168"/>
                      <a:pt x="72846" y="24636"/>
                    </a:cubicBezTo>
                    <a:cubicBezTo>
                      <a:pt x="82269" y="25982"/>
                      <a:pt x="91814" y="26594"/>
                      <a:pt x="101359" y="26472"/>
                    </a:cubicBezTo>
                    <a:cubicBezTo>
                      <a:pt x="125037" y="25982"/>
                      <a:pt x="148471" y="21026"/>
                      <a:pt x="170314" y="11910"/>
                    </a:cubicBezTo>
                    <a:cubicBezTo>
                      <a:pt x="171048" y="11604"/>
                      <a:pt x="171782" y="11298"/>
                      <a:pt x="172516" y="10992"/>
                    </a:cubicBezTo>
                    <a:cubicBezTo>
                      <a:pt x="173128" y="10687"/>
                      <a:pt x="173862" y="10625"/>
                      <a:pt x="174597" y="10870"/>
                    </a:cubicBezTo>
                    <a:cubicBezTo>
                      <a:pt x="175331" y="11115"/>
                      <a:pt x="175820" y="11482"/>
                      <a:pt x="176249" y="12094"/>
                    </a:cubicBezTo>
                    <a:cubicBezTo>
                      <a:pt x="176555" y="12767"/>
                      <a:pt x="176616" y="13501"/>
                      <a:pt x="176371" y="14174"/>
                    </a:cubicBezTo>
                    <a:cubicBezTo>
                      <a:pt x="176187" y="14847"/>
                      <a:pt x="175698" y="15398"/>
                      <a:pt x="175025" y="15765"/>
                    </a:cubicBezTo>
                    <a:cubicBezTo>
                      <a:pt x="169885" y="19007"/>
                      <a:pt x="164929" y="22495"/>
                      <a:pt x="159545" y="25309"/>
                    </a:cubicBezTo>
                    <a:cubicBezTo>
                      <a:pt x="146513" y="31978"/>
                      <a:pt x="132440" y="36506"/>
                      <a:pt x="117878" y="38586"/>
                    </a:cubicBezTo>
                    <a:cubicBezTo>
                      <a:pt x="110659" y="39810"/>
                      <a:pt x="103378" y="40299"/>
                      <a:pt x="96035" y="40177"/>
                    </a:cubicBezTo>
                    <a:lnTo>
                      <a:pt x="96158" y="40177"/>
                    </a:lnTo>
                    <a:close/>
                  </a:path>
                </a:pathLst>
              </a:custGeom>
              <a:grpFill/>
              <a:ln w="0" cap="flat">
                <a:noFill/>
                <a:prstDash val="solid"/>
                <a:miter/>
              </a:ln>
            </p:spPr>
            <p:txBody>
              <a:bodyPr rtlCol="0" anchor="ctr"/>
              <a:lstStyle/>
              <a:p>
                <a:endParaRPr lang="en-US"/>
              </a:p>
            </p:txBody>
          </p:sp>
          <p:sp>
            <p:nvSpPr>
              <p:cNvPr id="170" name="Freeform 169">
                <a:extLst>
                  <a:ext uri="{FF2B5EF4-FFF2-40B4-BE49-F238E27FC236}">
                    <a16:creationId xmlns:a16="http://schemas.microsoft.com/office/drawing/2014/main" id="{E04D4B12-9576-890D-AADA-2D92589C110D}"/>
                  </a:ext>
                </a:extLst>
              </p:cNvPr>
              <p:cNvSpPr/>
              <p:nvPr/>
            </p:nvSpPr>
            <p:spPr>
              <a:xfrm>
                <a:off x="5542786" y="4890286"/>
                <a:ext cx="78282" cy="57205"/>
              </a:xfrm>
              <a:custGeom>
                <a:avLst/>
                <a:gdLst>
                  <a:gd name="connsiteX0" fmla="*/ 55910 w 78282"/>
                  <a:gd name="connsiteY0" fmla="*/ 45704 h 57205"/>
                  <a:gd name="connsiteX1" fmla="*/ 58297 w 78282"/>
                  <a:gd name="connsiteY1" fmla="*/ 36771 h 57205"/>
                  <a:gd name="connsiteX2" fmla="*/ 66740 w 78282"/>
                  <a:gd name="connsiteY2" fmla="*/ 4100 h 57205"/>
                  <a:gd name="connsiteX3" fmla="*/ 72063 w 78282"/>
                  <a:gd name="connsiteY3" fmla="*/ 0 h 57205"/>
                  <a:gd name="connsiteX4" fmla="*/ 76407 w 78282"/>
                  <a:gd name="connsiteY4" fmla="*/ 0 h 57205"/>
                  <a:gd name="connsiteX5" fmla="*/ 78243 w 78282"/>
                  <a:gd name="connsiteY5" fmla="*/ 2142 h 57205"/>
                  <a:gd name="connsiteX6" fmla="*/ 77815 w 78282"/>
                  <a:gd name="connsiteY6" fmla="*/ 3855 h 57205"/>
                  <a:gd name="connsiteX7" fmla="*/ 62212 w 78282"/>
                  <a:gd name="connsiteY7" fmla="*/ 53719 h 57205"/>
                  <a:gd name="connsiteX8" fmla="*/ 57624 w 78282"/>
                  <a:gd name="connsiteY8" fmla="*/ 57145 h 57205"/>
                  <a:gd name="connsiteX9" fmla="*/ 53096 w 78282"/>
                  <a:gd name="connsiteY9" fmla="*/ 57145 h 57205"/>
                  <a:gd name="connsiteX10" fmla="*/ 48997 w 78282"/>
                  <a:gd name="connsiteY10" fmla="*/ 53841 h 57205"/>
                  <a:gd name="connsiteX11" fmla="*/ 40002 w 78282"/>
                  <a:gd name="connsiteY11" fmla="*/ 16825 h 57205"/>
                  <a:gd name="connsiteX12" fmla="*/ 38718 w 78282"/>
                  <a:gd name="connsiteY12" fmla="*/ 12849 h 57205"/>
                  <a:gd name="connsiteX13" fmla="*/ 34802 w 78282"/>
                  <a:gd name="connsiteY13" fmla="*/ 29123 h 57205"/>
                  <a:gd name="connsiteX14" fmla="*/ 28928 w 78282"/>
                  <a:gd name="connsiteY14" fmla="*/ 53657 h 57205"/>
                  <a:gd name="connsiteX15" fmla="*/ 24461 w 78282"/>
                  <a:gd name="connsiteY15" fmla="*/ 57206 h 57205"/>
                  <a:gd name="connsiteX16" fmla="*/ 20423 w 78282"/>
                  <a:gd name="connsiteY16" fmla="*/ 57206 h 57205"/>
                  <a:gd name="connsiteX17" fmla="*/ 15529 w 78282"/>
                  <a:gd name="connsiteY17" fmla="*/ 53535 h 57205"/>
                  <a:gd name="connsiteX18" fmla="*/ 2313 w 78282"/>
                  <a:gd name="connsiteY18" fmla="*/ 9973 h 57205"/>
                  <a:gd name="connsiteX19" fmla="*/ 232 w 78282"/>
                  <a:gd name="connsiteY19" fmla="*/ 2876 h 57205"/>
                  <a:gd name="connsiteX20" fmla="*/ 2435 w 78282"/>
                  <a:gd name="connsiteY20" fmla="*/ 0 h 57205"/>
                  <a:gd name="connsiteX21" fmla="*/ 7085 w 78282"/>
                  <a:gd name="connsiteY21" fmla="*/ 0 h 57205"/>
                  <a:gd name="connsiteX22" fmla="*/ 11796 w 78282"/>
                  <a:gd name="connsiteY22" fmla="*/ 3794 h 57205"/>
                  <a:gd name="connsiteX23" fmla="*/ 16691 w 78282"/>
                  <a:gd name="connsiteY23" fmla="*/ 23127 h 57205"/>
                  <a:gd name="connsiteX24" fmla="*/ 22626 w 78282"/>
                  <a:gd name="connsiteY24" fmla="*/ 45153 h 57205"/>
                  <a:gd name="connsiteX25" fmla="*/ 23115 w 78282"/>
                  <a:gd name="connsiteY25" fmla="*/ 43317 h 57205"/>
                  <a:gd name="connsiteX26" fmla="*/ 32477 w 78282"/>
                  <a:gd name="connsiteY26" fmla="*/ 3732 h 57205"/>
                  <a:gd name="connsiteX27" fmla="*/ 37066 w 78282"/>
                  <a:gd name="connsiteY27" fmla="*/ 61 h 57205"/>
                  <a:gd name="connsiteX28" fmla="*/ 41716 w 78282"/>
                  <a:gd name="connsiteY28" fmla="*/ 61 h 57205"/>
                  <a:gd name="connsiteX29" fmla="*/ 45325 w 78282"/>
                  <a:gd name="connsiteY29" fmla="*/ 2998 h 57205"/>
                  <a:gd name="connsiteX30" fmla="*/ 48874 w 78282"/>
                  <a:gd name="connsiteY30" fmla="*/ 17866 h 57205"/>
                  <a:gd name="connsiteX31" fmla="*/ 55421 w 78282"/>
                  <a:gd name="connsiteY31" fmla="*/ 45704 h 57205"/>
                  <a:gd name="connsiteX32" fmla="*/ 55788 w 78282"/>
                  <a:gd name="connsiteY32" fmla="*/ 45826 h 57205"/>
                  <a:gd name="connsiteX33" fmla="*/ 55910 w 78282"/>
                  <a:gd name="connsiteY33" fmla="*/ 45826 h 57205"/>
                  <a:gd name="connsiteX34" fmla="*/ 55910 w 78282"/>
                  <a:gd name="connsiteY34" fmla="*/ 45704 h 57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78282" h="57205">
                    <a:moveTo>
                      <a:pt x="55910" y="45704"/>
                    </a:moveTo>
                    <a:cubicBezTo>
                      <a:pt x="56706" y="42706"/>
                      <a:pt x="57501" y="39769"/>
                      <a:pt x="58297" y="36771"/>
                    </a:cubicBezTo>
                    <a:cubicBezTo>
                      <a:pt x="61111" y="25881"/>
                      <a:pt x="63926" y="14990"/>
                      <a:pt x="66740" y="4100"/>
                    </a:cubicBezTo>
                    <a:cubicBezTo>
                      <a:pt x="67719" y="428"/>
                      <a:pt x="68209" y="0"/>
                      <a:pt x="72063" y="0"/>
                    </a:cubicBezTo>
                    <a:lnTo>
                      <a:pt x="76407" y="0"/>
                    </a:lnTo>
                    <a:cubicBezTo>
                      <a:pt x="77998" y="0"/>
                      <a:pt x="78426" y="612"/>
                      <a:pt x="78243" y="2142"/>
                    </a:cubicBezTo>
                    <a:cubicBezTo>
                      <a:pt x="78182" y="2753"/>
                      <a:pt x="78059" y="3304"/>
                      <a:pt x="77815" y="3855"/>
                    </a:cubicBezTo>
                    <a:cubicBezTo>
                      <a:pt x="72614" y="20435"/>
                      <a:pt x="67413" y="37077"/>
                      <a:pt x="62212" y="53719"/>
                    </a:cubicBezTo>
                    <a:cubicBezTo>
                      <a:pt x="61295" y="56655"/>
                      <a:pt x="60683" y="57145"/>
                      <a:pt x="57624" y="57145"/>
                    </a:cubicBezTo>
                    <a:lnTo>
                      <a:pt x="53096" y="57145"/>
                    </a:lnTo>
                    <a:cubicBezTo>
                      <a:pt x="50343" y="57145"/>
                      <a:pt x="49670" y="56533"/>
                      <a:pt x="48997" y="53841"/>
                    </a:cubicBezTo>
                    <a:cubicBezTo>
                      <a:pt x="45937" y="41482"/>
                      <a:pt x="43000" y="29184"/>
                      <a:pt x="40002" y="16825"/>
                    </a:cubicBezTo>
                    <a:cubicBezTo>
                      <a:pt x="39696" y="15479"/>
                      <a:pt x="39268" y="14133"/>
                      <a:pt x="38718" y="12849"/>
                    </a:cubicBezTo>
                    <a:cubicBezTo>
                      <a:pt x="37433" y="18294"/>
                      <a:pt x="36087" y="23678"/>
                      <a:pt x="34802" y="29123"/>
                    </a:cubicBezTo>
                    <a:cubicBezTo>
                      <a:pt x="32844" y="37322"/>
                      <a:pt x="30886" y="45459"/>
                      <a:pt x="28928" y="53657"/>
                    </a:cubicBezTo>
                    <a:cubicBezTo>
                      <a:pt x="28255" y="56594"/>
                      <a:pt x="27521" y="57145"/>
                      <a:pt x="24461" y="57206"/>
                    </a:cubicBezTo>
                    <a:lnTo>
                      <a:pt x="20423" y="57206"/>
                    </a:lnTo>
                    <a:cubicBezTo>
                      <a:pt x="17058" y="57206"/>
                      <a:pt x="16507" y="56778"/>
                      <a:pt x="15529" y="53535"/>
                    </a:cubicBezTo>
                    <a:cubicBezTo>
                      <a:pt x="11123" y="39035"/>
                      <a:pt x="6718" y="24473"/>
                      <a:pt x="2313" y="9973"/>
                    </a:cubicBezTo>
                    <a:cubicBezTo>
                      <a:pt x="1578" y="7587"/>
                      <a:pt x="844" y="5262"/>
                      <a:pt x="232" y="2876"/>
                    </a:cubicBezTo>
                    <a:cubicBezTo>
                      <a:pt x="-380" y="673"/>
                      <a:pt x="171" y="0"/>
                      <a:pt x="2435" y="0"/>
                    </a:cubicBezTo>
                    <a:lnTo>
                      <a:pt x="7085" y="0"/>
                    </a:lnTo>
                    <a:cubicBezTo>
                      <a:pt x="10328" y="0"/>
                      <a:pt x="11001" y="551"/>
                      <a:pt x="11796" y="3794"/>
                    </a:cubicBezTo>
                    <a:cubicBezTo>
                      <a:pt x="13448" y="10218"/>
                      <a:pt x="15039" y="16703"/>
                      <a:pt x="16691" y="23127"/>
                    </a:cubicBezTo>
                    <a:cubicBezTo>
                      <a:pt x="18588" y="30408"/>
                      <a:pt x="20423" y="37750"/>
                      <a:pt x="22626" y="45153"/>
                    </a:cubicBezTo>
                    <a:cubicBezTo>
                      <a:pt x="22809" y="44541"/>
                      <a:pt x="22993" y="43929"/>
                      <a:pt x="23115" y="43317"/>
                    </a:cubicBezTo>
                    <a:cubicBezTo>
                      <a:pt x="26236" y="30102"/>
                      <a:pt x="29356" y="16948"/>
                      <a:pt x="32477" y="3732"/>
                    </a:cubicBezTo>
                    <a:cubicBezTo>
                      <a:pt x="33272" y="551"/>
                      <a:pt x="33823" y="61"/>
                      <a:pt x="37066" y="61"/>
                    </a:cubicBezTo>
                    <a:lnTo>
                      <a:pt x="41716" y="61"/>
                    </a:lnTo>
                    <a:cubicBezTo>
                      <a:pt x="44041" y="184"/>
                      <a:pt x="44775" y="673"/>
                      <a:pt x="45325" y="2998"/>
                    </a:cubicBezTo>
                    <a:cubicBezTo>
                      <a:pt x="46549" y="7954"/>
                      <a:pt x="47712" y="12910"/>
                      <a:pt x="48874" y="17866"/>
                    </a:cubicBezTo>
                    <a:cubicBezTo>
                      <a:pt x="51077" y="27104"/>
                      <a:pt x="53279" y="36404"/>
                      <a:pt x="55421" y="45704"/>
                    </a:cubicBezTo>
                    <a:lnTo>
                      <a:pt x="55788" y="45826"/>
                    </a:lnTo>
                    <a:lnTo>
                      <a:pt x="55910" y="45826"/>
                    </a:lnTo>
                    <a:lnTo>
                      <a:pt x="55910" y="45704"/>
                    </a:lnTo>
                    <a:close/>
                  </a:path>
                </a:pathLst>
              </a:custGeom>
              <a:grpFill/>
              <a:ln w="0" cap="flat">
                <a:noFill/>
                <a:prstDash val="solid"/>
                <a:miter/>
              </a:ln>
            </p:spPr>
            <p:txBody>
              <a:bodyPr rtlCol="0" anchor="ctr"/>
              <a:lstStyle/>
              <a:p>
                <a:endParaRPr lang="en-US"/>
              </a:p>
            </p:txBody>
          </p:sp>
          <p:sp>
            <p:nvSpPr>
              <p:cNvPr id="171" name="Freeform 170">
                <a:extLst>
                  <a:ext uri="{FF2B5EF4-FFF2-40B4-BE49-F238E27FC236}">
                    <a16:creationId xmlns:a16="http://schemas.microsoft.com/office/drawing/2014/main" id="{CCFBFFC3-4847-D5B2-40E4-6D4BE853A269}"/>
                  </a:ext>
                </a:extLst>
              </p:cNvPr>
              <p:cNvSpPr/>
              <p:nvPr/>
            </p:nvSpPr>
            <p:spPr>
              <a:xfrm>
                <a:off x="5489734" y="4888709"/>
                <a:ext cx="49966" cy="60229"/>
              </a:xfrm>
              <a:custGeom>
                <a:avLst/>
                <a:gdLst>
                  <a:gd name="connsiteX0" fmla="*/ 36765 w 49966"/>
                  <a:gd name="connsiteY0" fmla="*/ 51196 h 60229"/>
                  <a:gd name="connsiteX1" fmla="*/ 34073 w 49966"/>
                  <a:gd name="connsiteY1" fmla="*/ 54010 h 60229"/>
                  <a:gd name="connsiteX2" fmla="*/ 24100 w 49966"/>
                  <a:gd name="connsiteY2" fmla="*/ 59455 h 60229"/>
                  <a:gd name="connsiteX3" fmla="*/ 12780 w 49966"/>
                  <a:gd name="connsiteY3" fmla="*/ 59578 h 60229"/>
                  <a:gd name="connsiteX4" fmla="*/ 7090 w 49966"/>
                  <a:gd name="connsiteY4" fmla="*/ 57253 h 60229"/>
                  <a:gd name="connsiteX5" fmla="*/ 2685 w 49966"/>
                  <a:gd name="connsiteY5" fmla="*/ 52909 h 60229"/>
                  <a:gd name="connsiteX6" fmla="*/ 299 w 49966"/>
                  <a:gd name="connsiteY6" fmla="*/ 47219 h 60229"/>
                  <a:gd name="connsiteX7" fmla="*/ 299 w 49966"/>
                  <a:gd name="connsiteY7" fmla="*/ 41039 h 60229"/>
                  <a:gd name="connsiteX8" fmla="*/ 5683 w 49966"/>
                  <a:gd name="connsiteY8" fmla="*/ 30271 h 60229"/>
                  <a:gd name="connsiteX9" fmla="*/ 16757 w 49966"/>
                  <a:gd name="connsiteY9" fmla="*/ 25376 h 60229"/>
                  <a:gd name="connsiteX10" fmla="*/ 34134 w 49966"/>
                  <a:gd name="connsiteY10" fmla="*/ 26478 h 60229"/>
                  <a:gd name="connsiteX11" fmla="*/ 36092 w 49966"/>
                  <a:gd name="connsiteY11" fmla="*/ 26845 h 60229"/>
                  <a:gd name="connsiteX12" fmla="*/ 34256 w 49966"/>
                  <a:gd name="connsiteY12" fmla="*/ 13385 h 60229"/>
                  <a:gd name="connsiteX13" fmla="*/ 30463 w 49966"/>
                  <a:gd name="connsiteY13" fmla="*/ 9959 h 60229"/>
                  <a:gd name="connsiteX14" fmla="*/ 25507 w 49966"/>
                  <a:gd name="connsiteY14" fmla="*/ 8857 h 60229"/>
                  <a:gd name="connsiteX15" fmla="*/ 8253 w 49966"/>
                  <a:gd name="connsiteY15" fmla="*/ 11916 h 60229"/>
                  <a:gd name="connsiteX16" fmla="*/ 3909 w 49966"/>
                  <a:gd name="connsiteY16" fmla="*/ 9041 h 60229"/>
                  <a:gd name="connsiteX17" fmla="*/ 4704 w 49966"/>
                  <a:gd name="connsiteY17" fmla="*/ 5553 h 60229"/>
                  <a:gd name="connsiteX18" fmla="*/ 7580 w 49966"/>
                  <a:gd name="connsiteY18" fmla="*/ 3473 h 60229"/>
                  <a:gd name="connsiteX19" fmla="*/ 31381 w 49966"/>
                  <a:gd name="connsiteY19" fmla="*/ 536 h 60229"/>
                  <a:gd name="connsiteX20" fmla="*/ 42088 w 49966"/>
                  <a:gd name="connsiteY20" fmla="*/ 5982 h 60229"/>
                  <a:gd name="connsiteX21" fmla="*/ 46432 w 49966"/>
                  <a:gd name="connsiteY21" fmla="*/ 17178 h 60229"/>
                  <a:gd name="connsiteX22" fmla="*/ 46677 w 49966"/>
                  <a:gd name="connsiteY22" fmla="*/ 40550 h 60229"/>
                  <a:gd name="connsiteX23" fmla="*/ 49430 w 49966"/>
                  <a:gd name="connsiteY23" fmla="*/ 52297 h 60229"/>
                  <a:gd name="connsiteX24" fmla="*/ 48573 w 49966"/>
                  <a:gd name="connsiteY24" fmla="*/ 55846 h 60229"/>
                  <a:gd name="connsiteX25" fmla="*/ 44719 w 49966"/>
                  <a:gd name="connsiteY25" fmla="*/ 58415 h 60229"/>
                  <a:gd name="connsiteX26" fmla="*/ 43801 w 49966"/>
                  <a:gd name="connsiteY26" fmla="*/ 58905 h 60229"/>
                  <a:gd name="connsiteX27" fmla="*/ 42761 w 49966"/>
                  <a:gd name="connsiteY27" fmla="*/ 58966 h 60229"/>
                  <a:gd name="connsiteX28" fmla="*/ 41782 w 49966"/>
                  <a:gd name="connsiteY28" fmla="*/ 58599 h 60229"/>
                  <a:gd name="connsiteX29" fmla="*/ 40987 w 49966"/>
                  <a:gd name="connsiteY29" fmla="*/ 57926 h 60229"/>
                  <a:gd name="connsiteX30" fmla="*/ 37805 w 49966"/>
                  <a:gd name="connsiteY30" fmla="*/ 53276 h 60229"/>
                  <a:gd name="connsiteX31" fmla="*/ 36642 w 49966"/>
                  <a:gd name="connsiteY31" fmla="*/ 51318 h 60229"/>
                  <a:gd name="connsiteX32" fmla="*/ 36765 w 49966"/>
                  <a:gd name="connsiteY32" fmla="*/ 51196 h 60229"/>
                  <a:gd name="connsiteX33" fmla="*/ 36765 w 49966"/>
                  <a:gd name="connsiteY33" fmla="*/ 51196 h 60229"/>
                  <a:gd name="connsiteX34" fmla="*/ 24956 w 49966"/>
                  <a:gd name="connsiteY34" fmla="*/ 32290 h 60229"/>
                  <a:gd name="connsiteX35" fmla="*/ 24956 w 49966"/>
                  <a:gd name="connsiteY35" fmla="*/ 32413 h 60229"/>
                  <a:gd name="connsiteX36" fmla="*/ 20734 w 49966"/>
                  <a:gd name="connsiteY36" fmla="*/ 32718 h 60229"/>
                  <a:gd name="connsiteX37" fmla="*/ 16329 w 49966"/>
                  <a:gd name="connsiteY37" fmla="*/ 33881 h 60229"/>
                  <a:gd name="connsiteX38" fmla="*/ 12903 w 49966"/>
                  <a:gd name="connsiteY38" fmla="*/ 36940 h 60229"/>
                  <a:gd name="connsiteX39" fmla="*/ 11251 w 49966"/>
                  <a:gd name="connsiteY39" fmla="*/ 41223 h 60229"/>
                  <a:gd name="connsiteX40" fmla="*/ 11679 w 49966"/>
                  <a:gd name="connsiteY40" fmla="*/ 45812 h 60229"/>
                  <a:gd name="connsiteX41" fmla="*/ 13637 w 49966"/>
                  <a:gd name="connsiteY41" fmla="*/ 49544 h 60229"/>
                  <a:gd name="connsiteX42" fmla="*/ 17369 w 49966"/>
                  <a:gd name="connsiteY42" fmla="*/ 51440 h 60229"/>
                  <a:gd name="connsiteX43" fmla="*/ 24773 w 49966"/>
                  <a:gd name="connsiteY43" fmla="*/ 51440 h 60229"/>
                  <a:gd name="connsiteX44" fmla="*/ 31503 w 49966"/>
                  <a:gd name="connsiteY44" fmla="*/ 48259 h 60229"/>
                  <a:gd name="connsiteX45" fmla="*/ 34501 w 49966"/>
                  <a:gd name="connsiteY45" fmla="*/ 44894 h 60229"/>
                  <a:gd name="connsiteX46" fmla="*/ 35847 w 49966"/>
                  <a:gd name="connsiteY46" fmla="*/ 40611 h 60229"/>
                  <a:gd name="connsiteX47" fmla="*/ 36214 w 49966"/>
                  <a:gd name="connsiteY47" fmla="*/ 35472 h 60229"/>
                  <a:gd name="connsiteX48" fmla="*/ 34746 w 49966"/>
                  <a:gd name="connsiteY48" fmla="*/ 33697 h 60229"/>
                  <a:gd name="connsiteX49" fmla="*/ 24895 w 49966"/>
                  <a:gd name="connsiteY49" fmla="*/ 32351 h 60229"/>
                  <a:gd name="connsiteX50" fmla="*/ 24895 w 49966"/>
                  <a:gd name="connsiteY50" fmla="*/ 32351 h 60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9966" h="60229">
                    <a:moveTo>
                      <a:pt x="36765" y="51196"/>
                    </a:moveTo>
                    <a:cubicBezTo>
                      <a:pt x="35786" y="52236"/>
                      <a:pt x="34990" y="53154"/>
                      <a:pt x="34073" y="54010"/>
                    </a:cubicBezTo>
                    <a:cubicBezTo>
                      <a:pt x="31258" y="56641"/>
                      <a:pt x="27832" y="58476"/>
                      <a:pt x="24100" y="59455"/>
                    </a:cubicBezTo>
                    <a:cubicBezTo>
                      <a:pt x="20367" y="60434"/>
                      <a:pt x="16513" y="60495"/>
                      <a:pt x="12780" y="59578"/>
                    </a:cubicBezTo>
                    <a:cubicBezTo>
                      <a:pt x="10700" y="59211"/>
                      <a:pt x="8803" y="58415"/>
                      <a:pt x="7090" y="57253"/>
                    </a:cubicBezTo>
                    <a:cubicBezTo>
                      <a:pt x="5377" y="56090"/>
                      <a:pt x="3847" y="54622"/>
                      <a:pt x="2685" y="52909"/>
                    </a:cubicBezTo>
                    <a:cubicBezTo>
                      <a:pt x="1522" y="51196"/>
                      <a:pt x="727" y="49238"/>
                      <a:pt x="299" y="47219"/>
                    </a:cubicBezTo>
                    <a:cubicBezTo>
                      <a:pt x="-130" y="45139"/>
                      <a:pt x="-68" y="43058"/>
                      <a:pt x="299" y="41039"/>
                    </a:cubicBezTo>
                    <a:cubicBezTo>
                      <a:pt x="788" y="36940"/>
                      <a:pt x="2685" y="33086"/>
                      <a:pt x="5683" y="30271"/>
                    </a:cubicBezTo>
                    <a:cubicBezTo>
                      <a:pt x="8681" y="27396"/>
                      <a:pt x="12597" y="25682"/>
                      <a:pt x="16757" y="25376"/>
                    </a:cubicBezTo>
                    <a:cubicBezTo>
                      <a:pt x="22570" y="24765"/>
                      <a:pt x="28444" y="25132"/>
                      <a:pt x="34134" y="26478"/>
                    </a:cubicBezTo>
                    <a:lnTo>
                      <a:pt x="36092" y="26845"/>
                    </a:lnTo>
                    <a:cubicBezTo>
                      <a:pt x="36704" y="22256"/>
                      <a:pt x="36092" y="17667"/>
                      <a:pt x="34256" y="13385"/>
                    </a:cubicBezTo>
                    <a:cubicBezTo>
                      <a:pt x="33277" y="11977"/>
                      <a:pt x="31992" y="10754"/>
                      <a:pt x="30463" y="9959"/>
                    </a:cubicBezTo>
                    <a:cubicBezTo>
                      <a:pt x="28933" y="9163"/>
                      <a:pt x="27220" y="8796"/>
                      <a:pt x="25507" y="8857"/>
                    </a:cubicBezTo>
                    <a:cubicBezTo>
                      <a:pt x="19572" y="8429"/>
                      <a:pt x="13698" y="9469"/>
                      <a:pt x="8253" y="11916"/>
                    </a:cubicBezTo>
                    <a:cubicBezTo>
                      <a:pt x="4337" y="13507"/>
                      <a:pt x="4153" y="13201"/>
                      <a:pt x="3909" y="9041"/>
                    </a:cubicBezTo>
                    <a:cubicBezTo>
                      <a:pt x="3725" y="7817"/>
                      <a:pt x="4031" y="6593"/>
                      <a:pt x="4704" y="5553"/>
                    </a:cubicBezTo>
                    <a:cubicBezTo>
                      <a:pt x="5377" y="4513"/>
                      <a:pt x="6417" y="3779"/>
                      <a:pt x="7580" y="3473"/>
                    </a:cubicBezTo>
                    <a:cubicBezTo>
                      <a:pt x="15044" y="292"/>
                      <a:pt x="23304" y="-748"/>
                      <a:pt x="31381" y="536"/>
                    </a:cubicBezTo>
                    <a:cubicBezTo>
                      <a:pt x="35480" y="965"/>
                      <a:pt x="39335" y="2861"/>
                      <a:pt x="42088" y="5982"/>
                    </a:cubicBezTo>
                    <a:cubicBezTo>
                      <a:pt x="44902" y="9041"/>
                      <a:pt x="46432" y="13079"/>
                      <a:pt x="46432" y="17178"/>
                    </a:cubicBezTo>
                    <a:cubicBezTo>
                      <a:pt x="46799" y="24948"/>
                      <a:pt x="46738" y="32718"/>
                      <a:pt x="46677" y="40550"/>
                    </a:cubicBezTo>
                    <a:cubicBezTo>
                      <a:pt x="46493" y="44649"/>
                      <a:pt x="47472" y="48687"/>
                      <a:pt x="49430" y="52297"/>
                    </a:cubicBezTo>
                    <a:cubicBezTo>
                      <a:pt x="50348" y="53949"/>
                      <a:pt x="50103" y="54744"/>
                      <a:pt x="48573" y="55846"/>
                    </a:cubicBezTo>
                    <a:cubicBezTo>
                      <a:pt x="47289" y="56763"/>
                      <a:pt x="46004" y="57559"/>
                      <a:pt x="44719" y="58415"/>
                    </a:cubicBezTo>
                    <a:cubicBezTo>
                      <a:pt x="44413" y="58599"/>
                      <a:pt x="44107" y="58782"/>
                      <a:pt x="43801" y="58905"/>
                    </a:cubicBezTo>
                    <a:cubicBezTo>
                      <a:pt x="43434" y="59027"/>
                      <a:pt x="43128" y="59027"/>
                      <a:pt x="42761" y="58966"/>
                    </a:cubicBezTo>
                    <a:cubicBezTo>
                      <a:pt x="42394" y="58905"/>
                      <a:pt x="42088" y="58782"/>
                      <a:pt x="41782" y="58599"/>
                    </a:cubicBezTo>
                    <a:cubicBezTo>
                      <a:pt x="41476" y="58415"/>
                      <a:pt x="41231" y="58170"/>
                      <a:pt x="40987" y="57926"/>
                    </a:cubicBezTo>
                    <a:cubicBezTo>
                      <a:pt x="39824" y="56457"/>
                      <a:pt x="38845" y="54867"/>
                      <a:pt x="37805" y="53276"/>
                    </a:cubicBezTo>
                    <a:cubicBezTo>
                      <a:pt x="37438" y="52725"/>
                      <a:pt x="37132" y="52113"/>
                      <a:pt x="36642" y="51318"/>
                    </a:cubicBezTo>
                    <a:lnTo>
                      <a:pt x="36765" y="51196"/>
                    </a:lnTo>
                    <a:lnTo>
                      <a:pt x="36765" y="51196"/>
                    </a:lnTo>
                    <a:close/>
                    <a:moveTo>
                      <a:pt x="24956" y="32290"/>
                    </a:moveTo>
                    <a:lnTo>
                      <a:pt x="24956" y="32413"/>
                    </a:lnTo>
                    <a:cubicBezTo>
                      <a:pt x="23549" y="32535"/>
                      <a:pt x="22142" y="32535"/>
                      <a:pt x="20734" y="32718"/>
                    </a:cubicBezTo>
                    <a:cubicBezTo>
                      <a:pt x="19205" y="32718"/>
                      <a:pt x="17675" y="33147"/>
                      <a:pt x="16329" y="33881"/>
                    </a:cubicBezTo>
                    <a:cubicBezTo>
                      <a:pt x="14983" y="34615"/>
                      <a:pt x="13759" y="35655"/>
                      <a:pt x="12903" y="36940"/>
                    </a:cubicBezTo>
                    <a:cubicBezTo>
                      <a:pt x="12046" y="38225"/>
                      <a:pt x="11434" y="39693"/>
                      <a:pt x="11251" y="41223"/>
                    </a:cubicBezTo>
                    <a:cubicBezTo>
                      <a:pt x="11067" y="42753"/>
                      <a:pt x="11251" y="44343"/>
                      <a:pt x="11679" y="45812"/>
                    </a:cubicBezTo>
                    <a:cubicBezTo>
                      <a:pt x="11985" y="47219"/>
                      <a:pt x="12658" y="48504"/>
                      <a:pt x="13637" y="49544"/>
                    </a:cubicBezTo>
                    <a:cubicBezTo>
                      <a:pt x="14616" y="50584"/>
                      <a:pt x="15962" y="51196"/>
                      <a:pt x="17369" y="51440"/>
                    </a:cubicBezTo>
                    <a:cubicBezTo>
                      <a:pt x="19817" y="51991"/>
                      <a:pt x="22325" y="51991"/>
                      <a:pt x="24773" y="51440"/>
                    </a:cubicBezTo>
                    <a:cubicBezTo>
                      <a:pt x="27220" y="50890"/>
                      <a:pt x="29484" y="49788"/>
                      <a:pt x="31503" y="48259"/>
                    </a:cubicBezTo>
                    <a:cubicBezTo>
                      <a:pt x="32727" y="47341"/>
                      <a:pt x="33706" y="46240"/>
                      <a:pt x="34501" y="44894"/>
                    </a:cubicBezTo>
                    <a:cubicBezTo>
                      <a:pt x="35296" y="43548"/>
                      <a:pt x="35725" y="42140"/>
                      <a:pt x="35847" y="40611"/>
                    </a:cubicBezTo>
                    <a:cubicBezTo>
                      <a:pt x="36031" y="38898"/>
                      <a:pt x="36031" y="37185"/>
                      <a:pt x="36214" y="35472"/>
                    </a:cubicBezTo>
                    <a:cubicBezTo>
                      <a:pt x="36337" y="34309"/>
                      <a:pt x="35847" y="33820"/>
                      <a:pt x="34746" y="33697"/>
                    </a:cubicBezTo>
                    <a:cubicBezTo>
                      <a:pt x="31503" y="33269"/>
                      <a:pt x="28138" y="32780"/>
                      <a:pt x="24895" y="32351"/>
                    </a:cubicBezTo>
                    <a:lnTo>
                      <a:pt x="24895" y="32351"/>
                    </a:lnTo>
                    <a:close/>
                  </a:path>
                </a:pathLst>
              </a:custGeom>
              <a:grpFill/>
              <a:ln w="0" cap="flat">
                <a:noFill/>
                <a:prstDash val="solid"/>
                <a:miter/>
              </a:ln>
            </p:spPr>
            <p:txBody>
              <a:bodyPr rtlCol="0" anchor="ctr"/>
              <a:lstStyle/>
              <a:p>
                <a:endParaRPr lang="en-US"/>
              </a:p>
            </p:txBody>
          </p:sp>
          <p:sp>
            <p:nvSpPr>
              <p:cNvPr id="174" name="Freeform 173">
                <a:extLst>
                  <a:ext uri="{FF2B5EF4-FFF2-40B4-BE49-F238E27FC236}">
                    <a16:creationId xmlns:a16="http://schemas.microsoft.com/office/drawing/2014/main" id="{43450FD6-7A46-C974-1B62-0EBDB016836F}"/>
                  </a:ext>
                </a:extLst>
              </p:cNvPr>
              <p:cNvSpPr/>
              <p:nvPr/>
            </p:nvSpPr>
            <p:spPr>
              <a:xfrm>
                <a:off x="5625251" y="4888484"/>
                <a:ext cx="43089" cy="60676"/>
              </a:xfrm>
              <a:custGeom>
                <a:avLst/>
                <a:gdLst>
                  <a:gd name="connsiteX0" fmla="*/ 19946 w 43089"/>
                  <a:gd name="connsiteY0" fmla="*/ 60598 h 60676"/>
                  <a:gd name="connsiteX1" fmla="*/ 4222 w 43089"/>
                  <a:gd name="connsiteY1" fmla="*/ 57539 h 60676"/>
                  <a:gd name="connsiteX2" fmla="*/ 2019 w 43089"/>
                  <a:gd name="connsiteY2" fmla="*/ 56193 h 60676"/>
                  <a:gd name="connsiteX3" fmla="*/ 551 w 43089"/>
                  <a:gd name="connsiteY3" fmla="*/ 54113 h 60676"/>
                  <a:gd name="connsiteX4" fmla="*/ 0 w 43089"/>
                  <a:gd name="connsiteY4" fmla="*/ 51604 h 60676"/>
                  <a:gd name="connsiteX5" fmla="*/ 489 w 43089"/>
                  <a:gd name="connsiteY5" fmla="*/ 49096 h 60676"/>
                  <a:gd name="connsiteX6" fmla="*/ 795 w 43089"/>
                  <a:gd name="connsiteY6" fmla="*/ 48545 h 60676"/>
                  <a:gd name="connsiteX7" fmla="*/ 1346 w 43089"/>
                  <a:gd name="connsiteY7" fmla="*/ 48178 h 60676"/>
                  <a:gd name="connsiteX8" fmla="*/ 1958 w 43089"/>
                  <a:gd name="connsiteY8" fmla="*/ 48055 h 60676"/>
                  <a:gd name="connsiteX9" fmla="*/ 2570 w 43089"/>
                  <a:gd name="connsiteY9" fmla="*/ 48178 h 60676"/>
                  <a:gd name="connsiteX10" fmla="*/ 5874 w 43089"/>
                  <a:gd name="connsiteY10" fmla="*/ 49463 h 60676"/>
                  <a:gd name="connsiteX11" fmla="*/ 25453 w 43089"/>
                  <a:gd name="connsiteY11" fmla="*/ 51298 h 60676"/>
                  <a:gd name="connsiteX12" fmla="*/ 29613 w 43089"/>
                  <a:gd name="connsiteY12" fmla="*/ 49463 h 60676"/>
                  <a:gd name="connsiteX13" fmla="*/ 32061 w 43089"/>
                  <a:gd name="connsiteY13" fmla="*/ 45608 h 60676"/>
                  <a:gd name="connsiteX14" fmla="*/ 31938 w 43089"/>
                  <a:gd name="connsiteY14" fmla="*/ 41325 h 60676"/>
                  <a:gd name="connsiteX15" fmla="*/ 29124 w 43089"/>
                  <a:gd name="connsiteY15" fmla="*/ 38083 h 60676"/>
                  <a:gd name="connsiteX16" fmla="*/ 23128 w 43089"/>
                  <a:gd name="connsiteY16" fmla="*/ 35452 h 60676"/>
                  <a:gd name="connsiteX17" fmla="*/ 13032 w 43089"/>
                  <a:gd name="connsiteY17" fmla="*/ 32209 h 60676"/>
                  <a:gd name="connsiteX18" fmla="*/ 4161 w 43089"/>
                  <a:gd name="connsiteY18" fmla="*/ 26091 h 60676"/>
                  <a:gd name="connsiteX19" fmla="*/ 1530 w 43089"/>
                  <a:gd name="connsiteY19" fmla="*/ 20585 h 60676"/>
                  <a:gd name="connsiteX20" fmla="*/ 1285 w 43089"/>
                  <a:gd name="connsiteY20" fmla="*/ 14466 h 60676"/>
                  <a:gd name="connsiteX21" fmla="*/ 3488 w 43089"/>
                  <a:gd name="connsiteY21" fmla="*/ 8776 h 60676"/>
                  <a:gd name="connsiteX22" fmla="*/ 7770 w 43089"/>
                  <a:gd name="connsiteY22" fmla="*/ 4371 h 60676"/>
                  <a:gd name="connsiteX23" fmla="*/ 24780 w 43089"/>
                  <a:gd name="connsiteY23" fmla="*/ 211 h 60676"/>
                  <a:gd name="connsiteX24" fmla="*/ 36221 w 43089"/>
                  <a:gd name="connsiteY24" fmla="*/ 2781 h 60676"/>
                  <a:gd name="connsiteX25" fmla="*/ 38363 w 43089"/>
                  <a:gd name="connsiteY25" fmla="*/ 4065 h 60676"/>
                  <a:gd name="connsiteX26" fmla="*/ 39770 w 43089"/>
                  <a:gd name="connsiteY26" fmla="*/ 6145 h 60676"/>
                  <a:gd name="connsiteX27" fmla="*/ 40198 w 43089"/>
                  <a:gd name="connsiteY27" fmla="*/ 8593 h 60676"/>
                  <a:gd name="connsiteX28" fmla="*/ 39648 w 43089"/>
                  <a:gd name="connsiteY28" fmla="*/ 10979 h 60676"/>
                  <a:gd name="connsiteX29" fmla="*/ 37200 w 43089"/>
                  <a:gd name="connsiteY29" fmla="*/ 11652 h 60676"/>
                  <a:gd name="connsiteX30" fmla="*/ 29430 w 43089"/>
                  <a:gd name="connsiteY30" fmla="*/ 9205 h 60676"/>
                  <a:gd name="connsiteX31" fmla="*/ 17438 w 43089"/>
                  <a:gd name="connsiteY31" fmla="*/ 9327 h 60676"/>
                  <a:gd name="connsiteX32" fmla="*/ 13216 w 43089"/>
                  <a:gd name="connsiteY32" fmla="*/ 11774 h 60676"/>
                  <a:gd name="connsiteX33" fmla="*/ 11809 w 43089"/>
                  <a:gd name="connsiteY33" fmla="*/ 16424 h 60676"/>
                  <a:gd name="connsiteX34" fmla="*/ 12665 w 43089"/>
                  <a:gd name="connsiteY34" fmla="*/ 19545 h 60676"/>
                  <a:gd name="connsiteX35" fmla="*/ 14990 w 43089"/>
                  <a:gd name="connsiteY35" fmla="*/ 21747 h 60676"/>
                  <a:gd name="connsiteX36" fmla="*/ 21292 w 43089"/>
                  <a:gd name="connsiteY36" fmla="*/ 24500 h 60676"/>
                  <a:gd name="connsiteX37" fmla="*/ 32734 w 43089"/>
                  <a:gd name="connsiteY37" fmla="*/ 28355 h 60676"/>
                  <a:gd name="connsiteX38" fmla="*/ 39892 w 43089"/>
                  <a:gd name="connsiteY38" fmla="*/ 33249 h 60676"/>
                  <a:gd name="connsiteX39" fmla="*/ 43013 w 43089"/>
                  <a:gd name="connsiteY39" fmla="*/ 41387 h 60676"/>
                  <a:gd name="connsiteX40" fmla="*/ 41300 w 43089"/>
                  <a:gd name="connsiteY40" fmla="*/ 50380 h 60676"/>
                  <a:gd name="connsiteX41" fmla="*/ 34936 w 43089"/>
                  <a:gd name="connsiteY41" fmla="*/ 56988 h 60676"/>
                  <a:gd name="connsiteX42" fmla="*/ 20130 w 43089"/>
                  <a:gd name="connsiteY42" fmla="*/ 60659 h 60676"/>
                  <a:gd name="connsiteX43" fmla="*/ 19946 w 43089"/>
                  <a:gd name="connsiteY43" fmla="*/ 60659 h 60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3089" h="60676">
                    <a:moveTo>
                      <a:pt x="19946" y="60598"/>
                    </a:moveTo>
                    <a:cubicBezTo>
                      <a:pt x="14562" y="60598"/>
                      <a:pt x="9239" y="59497"/>
                      <a:pt x="4222" y="57539"/>
                    </a:cubicBezTo>
                    <a:cubicBezTo>
                      <a:pt x="3426" y="57233"/>
                      <a:pt x="2631" y="56744"/>
                      <a:pt x="2019" y="56193"/>
                    </a:cubicBezTo>
                    <a:cubicBezTo>
                      <a:pt x="1407" y="55642"/>
                      <a:pt x="918" y="54908"/>
                      <a:pt x="551" y="54113"/>
                    </a:cubicBezTo>
                    <a:cubicBezTo>
                      <a:pt x="184" y="53317"/>
                      <a:pt x="0" y="52461"/>
                      <a:pt x="0" y="51604"/>
                    </a:cubicBezTo>
                    <a:cubicBezTo>
                      <a:pt x="0" y="50747"/>
                      <a:pt x="184" y="49891"/>
                      <a:pt x="489" y="49096"/>
                    </a:cubicBezTo>
                    <a:cubicBezTo>
                      <a:pt x="551" y="48912"/>
                      <a:pt x="673" y="48667"/>
                      <a:pt x="795" y="48545"/>
                    </a:cubicBezTo>
                    <a:cubicBezTo>
                      <a:pt x="918" y="48362"/>
                      <a:pt x="1101" y="48239"/>
                      <a:pt x="1346" y="48178"/>
                    </a:cubicBezTo>
                    <a:cubicBezTo>
                      <a:pt x="1530" y="48055"/>
                      <a:pt x="1774" y="48055"/>
                      <a:pt x="1958" y="48055"/>
                    </a:cubicBezTo>
                    <a:cubicBezTo>
                      <a:pt x="2141" y="48055"/>
                      <a:pt x="2386" y="48117"/>
                      <a:pt x="2570" y="48178"/>
                    </a:cubicBezTo>
                    <a:cubicBezTo>
                      <a:pt x="3671" y="48545"/>
                      <a:pt x="4772" y="49035"/>
                      <a:pt x="5874" y="49463"/>
                    </a:cubicBezTo>
                    <a:cubicBezTo>
                      <a:pt x="12053" y="52032"/>
                      <a:pt x="18906" y="52644"/>
                      <a:pt x="25453" y="51298"/>
                    </a:cubicBezTo>
                    <a:cubicBezTo>
                      <a:pt x="26982" y="51115"/>
                      <a:pt x="28451" y="50442"/>
                      <a:pt x="29613" y="49463"/>
                    </a:cubicBezTo>
                    <a:cubicBezTo>
                      <a:pt x="30776" y="48423"/>
                      <a:pt x="31633" y="47138"/>
                      <a:pt x="32061" y="45608"/>
                    </a:cubicBezTo>
                    <a:cubicBezTo>
                      <a:pt x="32489" y="44201"/>
                      <a:pt x="32489" y="42672"/>
                      <a:pt x="31938" y="41325"/>
                    </a:cubicBezTo>
                    <a:cubicBezTo>
                      <a:pt x="31388" y="39980"/>
                      <a:pt x="30409" y="38817"/>
                      <a:pt x="29124" y="38083"/>
                    </a:cubicBezTo>
                    <a:cubicBezTo>
                      <a:pt x="27227" y="37043"/>
                      <a:pt x="25208" y="36186"/>
                      <a:pt x="23128" y="35452"/>
                    </a:cubicBezTo>
                    <a:cubicBezTo>
                      <a:pt x="19763" y="34289"/>
                      <a:pt x="16398" y="33372"/>
                      <a:pt x="13032" y="32209"/>
                    </a:cubicBezTo>
                    <a:cubicBezTo>
                      <a:pt x="9545" y="31108"/>
                      <a:pt x="6424" y="28966"/>
                      <a:pt x="4161" y="26091"/>
                    </a:cubicBezTo>
                    <a:cubicBezTo>
                      <a:pt x="2937" y="24439"/>
                      <a:pt x="2019" y="22604"/>
                      <a:pt x="1530" y="20585"/>
                    </a:cubicBezTo>
                    <a:cubicBezTo>
                      <a:pt x="1040" y="18627"/>
                      <a:pt x="918" y="16485"/>
                      <a:pt x="1285" y="14466"/>
                    </a:cubicBezTo>
                    <a:cubicBezTo>
                      <a:pt x="1652" y="12447"/>
                      <a:pt x="2386" y="10490"/>
                      <a:pt x="3488" y="8776"/>
                    </a:cubicBezTo>
                    <a:cubicBezTo>
                      <a:pt x="4589" y="7063"/>
                      <a:pt x="6057" y="5534"/>
                      <a:pt x="7770" y="4371"/>
                    </a:cubicBezTo>
                    <a:cubicBezTo>
                      <a:pt x="12726" y="884"/>
                      <a:pt x="18784" y="-584"/>
                      <a:pt x="24780" y="211"/>
                    </a:cubicBezTo>
                    <a:cubicBezTo>
                      <a:pt x="28634" y="700"/>
                      <a:pt x="32489" y="1557"/>
                      <a:pt x="36221" y="2781"/>
                    </a:cubicBezTo>
                    <a:cubicBezTo>
                      <a:pt x="37017" y="3086"/>
                      <a:pt x="37690" y="3515"/>
                      <a:pt x="38363" y="4065"/>
                    </a:cubicBezTo>
                    <a:cubicBezTo>
                      <a:pt x="38975" y="4677"/>
                      <a:pt x="39464" y="5289"/>
                      <a:pt x="39770" y="6145"/>
                    </a:cubicBezTo>
                    <a:cubicBezTo>
                      <a:pt x="40076" y="6941"/>
                      <a:pt x="40260" y="7736"/>
                      <a:pt x="40198" y="8593"/>
                    </a:cubicBezTo>
                    <a:cubicBezTo>
                      <a:pt x="40198" y="9449"/>
                      <a:pt x="40015" y="10245"/>
                      <a:pt x="39648" y="10979"/>
                    </a:cubicBezTo>
                    <a:cubicBezTo>
                      <a:pt x="39158" y="12203"/>
                      <a:pt x="38240" y="12019"/>
                      <a:pt x="37200" y="11652"/>
                    </a:cubicBezTo>
                    <a:cubicBezTo>
                      <a:pt x="34631" y="10734"/>
                      <a:pt x="32061" y="9878"/>
                      <a:pt x="29430" y="9205"/>
                    </a:cubicBezTo>
                    <a:cubicBezTo>
                      <a:pt x="25514" y="8287"/>
                      <a:pt x="21415" y="8348"/>
                      <a:pt x="17438" y="9327"/>
                    </a:cubicBezTo>
                    <a:cubicBezTo>
                      <a:pt x="15786" y="9572"/>
                      <a:pt x="14256" y="10428"/>
                      <a:pt x="13216" y="11774"/>
                    </a:cubicBezTo>
                    <a:cubicBezTo>
                      <a:pt x="12176" y="13120"/>
                      <a:pt x="11625" y="14772"/>
                      <a:pt x="11809" y="16424"/>
                    </a:cubicBezTo>
                    <a:cubicBezTo>
                      <a:pt x="11809" y="17525"/>
                      <a:pt x="12115" y="18566"/>
                      <a:pt x="12665" y="19545"/>
                    </a:cubicBezTo>
                    <a:cubicBezTo>
                      <a:pt x="13216" y="20523"/>
                      <a:pt x="14011" y="21258"/>
                      <a:pt x="14990" y="21747"/>
                    </a:cubicBezTo>
                    <a:cubicBezTo>
                      <a:pt x="17009" y="22848"/>
                      <a:pt x="19151" y="23705"/>
                      <a:pt x="21292" y="24500"/>
                    </a:cubicBezTo>
                    <a:cubicBezTo>
                      <a:pt x="25086" y="25846"/>
                      <a:pt x="28940" y="26948"/>
                      <a:pt x="32734" y="28355"/>
                    </a:cubicBezTo>
                    <a:cubicBezTo>
                      <a:pt x="35548" y="29211"/>
                      <a:pt x="38057" y="30924"/>
                      <a:pt x="39892" y="33249"/>
                    </a:cubicBezTo>
                    <a:cubicBezTo>
                      <a:pt x="41728" y="35574"/>
                      <a:pt x="42829" y="38389"/>
                      <a:pt x="43013" y="41387"/>
                    </a:cubicBezTo>
                    <a:cubicBezTo>
                      <a:pt x="43319" y="44507"/>
                      <a:pt x="42707" y="47627"/>
                      <a:pt x="41300" y="50380"/>
                    </a:cubicBezTo>
                    <a:cubicBezTo>
                      <a:pt x="39892" y="53134"/>
                      <a:pt x="37629" y="55459"/>
                      <a:pt x="34936" y="56988"/>
                    </a:cubicBezTo>
                    <a:cubicBezTo>
                      <a:pt x="30470" y="59558"/>
                      <a:pt x="25330" y="60843"/>
                      <a:pt x="20130" y="60659"/>
                    </a:cubicBezTo>
                    <a:lnTo>
                      <a:pt x="19946" y="60659"/>
                    </a:lnTo>
                    <a:close/>
                  </a:path>
                </a:pathLst>
              </a:custGeom>
              <a:grpFill/>
              <a:ln w="0" cap="flat">
                <a:noFill/>
                <a:prstDash val="solid"/>
                <a:miter/>
              </a:ln>
            </p:spPr>
            <p:txBody>
              <a:bodyPr rtlCol="0" anchor="ctr"/>
              <a:lstStyle/>
              <a:p>
                <a:endParaRPr lang="en-US"/>
              </a:p>
            </p:txBody>
          </p:sp>
          <p:sp>
            <p:nvSpPr>
              <p:cNvPr id="175" name="Freeform 174">
                <a:extLst>
                  <a:ext uri="{FF2B5EF4-FFF2-40B4-BE49-F238E27FC236}">
                    <a16:creationId xmlns:a16="http://schemas.microsoft.com/office/drawing/2014/main" id="{615E4F3A-F8F4-17AB-A9E4-30369D7ECDD4}"/>
                  </a:ext>
                </a:extLst>
              </p:cNvPr>
              <p:cNvSpPr/>
              <p:nvPr/>
            </p:nvSpPr>
            <p:spPr>
              <a:xfrm>
                <a:off x="5640669" y="4961616"/>
                <a:ext cx="35910" cy="35066"/>
              </a:xfrm>
              <a:custGeom>
                <a:avLst/>
                <a:gdLst>
                  <a:gd name="connsiteX0" fmla="*/ 15969 w 35910"/>
                  <a:gd name="connsiteY0" fmla="*/ 6861 h 35066"/>
                  <a:gd name="connsiteX1" fmla="*/ 1897 w 35910"/>
                  <a:gd name="connsiteY1" fmla="*/ 8146 h 35066"/>
                  <a:gd name="connsiteX2" fmla="*/ 0 w 35910"/>
                  <a:gd name="connsiteY2" fmla="*/ 7779 h 35066"/>
                  <a:gd name="connsiteX3" fmla="*/ 918 w 35910"/>
                  <a:gd name="connsiteY3" fmla="*/ 5943 h 35066"/>
                  <a:gd name="connsiteX4" fmla="*/ 12726 w 35910"/>
                  <a:gd name="connsiteY4" fmla="*/ 1049 h 35066"/>
                  <a:gd name="connsiteX5" fmla="*/ 30959 w 35910"/>
                  <a:gd name="connsiteY5" fmla="*/ 926 h 35066"/>
                  <a:gd name="connsiteX6" fmla="*/ 35793 w 35910"/>
                  <a:gd name="connsiteY6" fmla="*/ 8146 h 35066"/>
                  <a:gd name="connsiteX7" fmla="*/ 28023 w 35910"/>
                  <a:gd name="connsiteY7" fmla="*/ 29315 h 35066"/>
                  <a:gd name="connsiteX8" fmla="*/ 23373 w 35910"/>
                  <a:gd name="connsiteY8" fmla="*/ 34393 h 35066"/>
                  <a:gd name="connsiteX9" fmla="*/ 21231 w 35910"/>
                  <a:gd name="connsiteY9" fmla="*/ 35066 h 35066"/>
                  <a:gd name="connsiteX10" fmla="*/ 21353 w 35910"/>
                  <a:gd name="connsiteY10" fmla="*/ 32925 h 35066"/>
                  <a:gd name="connsiteX11" fmla="*/ 26860 w 35910"/>
                  <a:gd name="connsiteY11" fmla="*/ 16345 h 35066"/>
                  <a:gd name="connsiteX12" fmla="*/ 27350 w 35910"/>
                  <a:gd name="connsiteY12" fmla="*/ 13652 h 35066"/>
                  <a:gd name="connsiteX13" fmla="*/ 22271 w 35910"/>
                  <a:gd name="connsiteY13" fmla="*/ 7412 h 35066"/>
                  <a:gd name="connsiteX14" fmla="*/ 16030 w 35910"/>
                  <a:gd name="connsiteY14" fmla="*/ 6861 h 35066"/>
                  <a:gd name="connsiteX15" fmla="*/ 15969 w 35910"/>
                  <a:gd name="connsiteY15" fmla="*/ 6861 h 35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910" h="35066">
                    <a:moveTo>
                      <a:pt x="15969" y="6861"/>
                    </a:moveTo>
                    <a:cubicBezTo>
                      <a:pt x="11625" y="7290"/>
                      <a:pt x="6730" y="7718"/>
                      <a:pt x="1897" y="8146"/>
                    </a:cubicBezTo>
                    <a:cubicBezTo>
                      <a:pt x="1224" y="8146"/>
                      <a:pt x="612" y="7963"/>
                      <a:pt x="0" y="7779"/>
                    </a:cubicBezTo>
                    <a:cubicBezTo>
                      <a:pt x="306" y="7167"/>
                      <a:pt x="428" y="6310"/>
                      <a:pt x="918" y="5943"/>
                    </a:cubicBezTo>
                    <a:cubicBezTo>
                      <a:pt x="4466" y="3496"/>
                      <a:pt x="8505" y="1844"/>
                      <a:pt x="12726" y="1049"/>
                    </a:cubicBezTo>
                    <a:cubicBezTo>
                      <a:pt x="18723" y="-297"/>
                      <a:pt x="24902" y="-358"/>
                      <a:pt x="30959" y="926"/>
                    </a:cubicBezTo>
                    <a:cubicBezTo>
                      <a:pt x="34998" y="1844"/>
                      <a:pt x="36344" y="1844"/>
                      <a:pt x="35793" y="8146"/>
                    </a:cubicBezTo>
                    <a:cubicBezTo>
                      <a:pt x="35181" y="15794"/>
                      <a:pt x="32428" y="23075"/>
                      <a:pt x="28023" y="29315"/>
                    </a:cubicBezTo>
                    <a:cubicBezTo>
                      <a:pt x="26615" y="31151"/>
                      <a:pt x="25086" y="32803"/>
                      <a:pt x="23373" y="34393"/>
                    </a:cubicBezTo>
                    <a:cubicBezTo>
                      <a:pt x="22883" y="34822"/>
                      <a:pt x="21965" y="34822"/>
                      <a:pt x="21231" y="35066"/>
                    </a:cubicBezTo>
                    <a:cubicBezTo>
                      <a:pt x="21170" y="34393"/>
                      <a:pt x="21231" y="33659"/>
                      <a:pt x="21353" y="32925"/>
                    </a:cubicBezTo>
                    <a:cubicBezTo>
                      <a:pt x="23189" y="27419"/>
                      <a:pt x="25025" y="21851"/>
                      <a:pt x="26860" y="16345"/>
                    </a:cubicBezTo>
                    <a:cubicBezTo>
                      <a:pt x="27105" y="15488"/>
                      <a:pt x="27288" y="14570"/>
                      <a:pt x="27350" y="13652"/>
                    </a:cubicBezTo>
                    <a:cubicBezTo>
                      <a:pt x="27900" y="9798"/>
                      <a:pt x="26371" y="7901"/>
                      <a:pt x="22271" y="7412"/>
                    </a:cubicBezTo>
                    <a:cubicBezTo>
                      <a:pt x="20375" y="7167"/>
                      <a:pt x="18417" y="7045"/>
                      <a:pt x="16030" y="6861"/>
                    </a:cubicBezTo>
                    <a:lnTo>
                      <a:pt x="15969" y="6861"/>
                    </a:lnTo>
                    <a:close/>
                  </a:path>
                </a:pathLst>
              </a:custGeom>
              <a:grpFill/>
              <a:ln w="0" cap="flat">
                <a:noFill/>
                <a:prstDash val="solid"/>
                <a:miter/>
              </a:ln>
            </p:spPr>
            <p:txBody>
              <a:bodyPr rtlCol="0" anchor="ctr"/>
              <a:lstStyle/>
              <a:p>
                <a:endParaRPr lang="en-US"/>
              </a:p>
            </p:txBody>
          </p:sp>
        </p:grpSp>
        <p:pic>
          <p:nvPicPr>
            <p:cNvPr id="176" name="Graphic 175">
              <a:extLst>
                <a:ext uri="{FF2B5EF4-FFF2-40B4-BE49-F238E27FC236}">
                  <a16:creationId xmlns:a16="http://schemas.microsoft.com/office/drawing/2014/main" id="{492082CC-89E8-195F-FA99-8C82730C11F9}"/>
                </a:ext>
              </a:extLst>
            </p:cNvPr>
            <p:cNvPicPr>
              <a:picLocks noChangeAspect="1"/>
            </p:cNvPicPr>
            <p:nvPr/>
          </p:nvPicPr>
          <p:blipFill>
            <a:blip r:embed="rId23">
              <a:extLst>
                <a:ext uri="{96DAC541-7B7A-43D3-8B79-37D633B846F1}">
                  <asvg:svgBlip xmlns:asvg="http://schemas.microsoft.com/office/drawing/2016/SVG/main" r:embed="rId24"/>
                </a:ext>
              </a:extLst>
            </a:blip>
            <a:srcRect/>
            <a:stretch/>
          </p:blipFill>
          <p:spPr>
            <a:xfrm>
              <a:off x="4212563" y="4908764"/>
              <a:ext cx="499739" cy="354360"/>
            </a:xfrm>
            <a:prstGeom prst="rect">
              <a:avLst/>
            </a:prstGeom>
          </p:spPr>
        </p:pic>
        <p:pic>
          <p:nvPicPr>
            <p:cNvPr id="178" name="Graphic 177">
              <a:extLst>
                <a:ext uri="{FF2B5EF4-FFF2-40B4-BE49-F238E27FC236}">
                  <a16:creationId xmlns:a16="http://schemas.microsoft.com/office/drawing/2014/main" id="{6781EAA1-A419-3104-1233-0E145D18B790}"/>
                </a:ext>
              </a:extLst>
            </p:cNvPr>
            <p:cNvPicPr>
              <a:picLocks noChangeAspect="1"/>
            </p:cNvPicPr>
            <p:nvPr/>
          </p:nvPicPr>
          <p:blipFill>
            <a:blip r:embed="rId25">
              <a:extLst>
                <a:ext uri="{96DAC541-7B7A-43D3-8B79-37D633B846F1}">
                  <asvg:svgBlip xmlns:asvg="http://schemas.microsoft.com/office/drawing/2016/SVG/main" r:embed="rId26"/>
                </a:ext>
              </a:extLst>
            </a:blip>
            <a:srcRect/>
            <a:stretch/>
          </p:blipFill>
          <p:spPr>
            <a:xfrm>
              <a:off x="5307725" y="4872798"/>
              <a:ext cx="420413" cy="412769"/>
            </a:xfrm>
            <a:prstGeom prst="rect">
              <a:avLst/>
            </a:prstGeom>
          </p:spPr>
        </p:pic>
        <p:pic>
          <p:nvPicPr>
            <p:cNvPr id="7" name="Graphic 6">
              <a:extLst>
                <a:ext uri="{FF2B5EF4-FFF2-40B4-BE49-F238E27FC236}">
                  <a16:creationId xmlns:a16="http://schemas.microsoft.com/office/drawing/2014/main" id="{7D81F9A2-CFF6-B549-1A78-EE5C7F43F960}"/>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6364820" y="4814780"/>
              <a:ext cx="498489" cy="498489"/>
            </a:xfrm>
            <a:prstGeom prst="rect">
              <a:avLst/>
            </a:prstGeom>
          </p:spPr>
        </p:pic>
        <p:pic>
          <p:nvPicPr>
            <p:cNvPr id="14" name="Graphic 13">
              <a:extLst>
                <a:ext uri="{FF2B5EF4-FFF2-40B4-BE49-F238E27FC236}">
                  <a16:creationId xmlns:a16="http://schemas.microsoft.com/office/drawing/2014/main" id="{2969F2EA-C33B-B141-09BB-26E55E6A244E}"/>
                </a:ext>
              </a:extLst>
            </p:cNvPr>
            <p:cNvPicPr>
              <a:picLocks noChangeAspect="1"/>
            </p:cNvPicPr>
            <p:nvPr/>
          </p:nvPicPr>
          <p:blipFill>
            <a:blip r:embed="rId29">
              <a:extLst>
                <a:ext uri="{96DAC541-7B7A-43D3-8B79-37D633B846F1}">
                  <asvg:svgBlip xmlns:asvg="http://schemas.microsoft.com/office/drawing/2016/SVG/main" r:embed="rId30"/>
                </a:ext>
              </a:extLst>
            </a:blip>
            <a:srcRect/>
            <a:stretch/>
          </p:blipFill>
          <p:spPr>
            <a:xfrm>
              <a:off x="8518536" y="4836700"/>
              <a:ext cx="498489" cy="498489"/>
            </a:xfrm>
            <a:prstGeom prst="rect">
              <a:avLst/>
            </a:prstGeom>
          </p:spPr>
        </p:pic>
        <p:pic>
          <p:nvPicPr>
            <p:cNvPr id="17" name="Graphic 16">
              <a:extLst>
                <a:ext uri="{FF2B5EF4-FFF2-40B4-BE49-F238E27FC236}">
                  <a16:creationId xmlns:a16="http://schemas.microsoft.com/office/drawing/2014/main" id="{D8F5B704-C18C-9690-E535-F8136918FEA8}"/>
                </a:ext>
              </a:extLst>
            </p:cNvPr>
            <p:cNvPicPr>
              <a:picLocks noChangeAspect="1"/>
            </p:cNvPicPr>
            <p:nvPr/>
          </p:nvPicPr>
          <p:blipFill>
            <a:blip r:embed="rId31">
              <a:extLst>
                <a:ext uri="{96DAC541-7B7A-43D3-8B79-37D633B846F1}">
                  <asvg:svgBlip xmlns:asvg="http://schemas.microsoft.com/office/drawing/2016/SVG/main" r:embed="rId32"/>
                </a:ext>
              </a:extLst>
            </a:blip>
            <a:srcRect/>
            <a:stretch/>
          </p:blipFill>
          <p:spPr>
            <a:xfrm>
              <a:off x="7440636" y="4820505"/>
              <a:ext cx="498489" cy="498489"/>
            </a:xfrm>
            <a:prstGeom prst="rect">
              <a:avLst/>
            </a:prstGeom>
          </p:spPr>
        </p:pic>
      </p:grpSp>
      <p:sp>
        <p:nvSpPr>
          <p:cNvPr id="50" name="Rounded Rectangle 13">
            <a:extLst>
              <a:ext uri="{FF2B5EF4-FFF2-40B4-BE49-F238E27FC236}">
                <a16:creationId xmlns:a16="http://schemas.microsoft.com/office/drawing/2014/main" id="{464D4CBA-9E58-CA38-6B34-CFCA4CBFCA9A}"/>
              </a:ext>
            </a:extLst>
          </p:cNvPr>
          <p:cNvSpPr/>
          <p:nvPr/>
        </p:nvSpPr>
        <p:spPr>
          <a:xfrm>
            <a:off x="4953186" y="3626008"/>
            <a:ext cx="2131791" cy="48703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77240" tIns="0" rIns="457200" bIns="0" rtlCol="0" anchor="ctr">
            <a:noAutofit/>
          </a:bodyPr>
          <a:lstStyle/>
          <a:p>
            <a:pPr marL="0" marR="0" lvl="0" indent="0" defTabSz="914400" rtl="0" eaLnBrk="1" fontAlgn="auto" latinLnBrk="0" hangingPunct="1">
              <a:lnSpc>
                <a:spcPct val="89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ES Build" pitchFamily="50" charset="0"/>
              <a:ea typeface="+mn-ea"/>
              <a:cs typeface="Microsoft Sans Serif" panose="020B0604020202020204" pitchFamily="34" charset="0"/>
            </a:endParaRPr>
          </a:p>
        </p:txBody>
      </p:sp>
      <p:sp>
        <p:nvSpPr>
          <p:cNvPr id="51" name="Rounded Rectangle 13">
            <a:extLst>
              <a:ext uri="{FF2B5EF4-FFF2-40B4-BE49-F238E27FC236}">
                <a16:creationId xmlns:a16="http://schemas.microsoft.com/office/drawing/2014/main" id="{7CE80B42-14B3-9C56-0873-CB1FFB30AAE9}"/>
              </a:ext>
            </a:extLst>
          </p:cNvPr>
          <p:cNvSpPr/>
          <p:nvPr/>
        </p:nvSpPr>
        <p:spPr>
          <a:xfrm>
            <a:off x="2824795" y="3626008"/>
            <a:ext cx="2131792" cy="487039"/>
          </a:xfrm>
          <a:prstGeom prst="rect">
            <a:avLst/>
          </a:prstGeom>
          <a:solidFill>
            <a:srgbClr val="8E71F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77240" tIns="0" rIns="457200" bIns="0" rtlCol="0" anchor="ctr">
            <a:noAutofit/>
          </a:bodyPr>
          <a:lstStyle/>
          <a:p>
            <a:pPr marL="0" marR="0" lvl="0" indent="0" defTabSz="914400" rtl="0" eaLnBrk="1" fontAlgn="auto" latinLnBrk="0" hangingPunct="1">
              <a:lnSpc>
                <a:spcPct val="89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ES Build" pitchFamily="50" charset="0"/>
              <a:ea typeface="+mn-ea"/>
              <a:cs typeface="Microsoft Sans Serif" panose="020B0604020202020204" pitchFamily="34" charset="0"/>
            </a:endParaRPr>
          </a:p>
        </p:txBody>
      </p:sp>
      <p:sp>
        <p:nvSpPr>
          <p:cNvPr id="52" name="Rounded Rectangle 13">
            <a:extLst>
              <a:ext uri="{FF2B5EF4-FFF2-40B4-BE49-F238E27FC236}">
                <a16:creationId xmlns:a16="http://schemas.microsoft.com/office/drawing/2014/main" id="{CD260F39-7CCE-1DE8-1711-7A97AE14C32F}"/>
              </a:ext>
            </a:extLst>
          </p:cNvPr>
          <p:cNvSpPr/>
          <p:nvPr/>
        </p:nvSpPr>
        <p:spPr>
          <a:xfrm>
            <a:off x="7078880" y="3626008"/>
            <a:ext cx="2131792" cy="48703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77240" tIns="0" rIns="457200" bIns="0" rtlCol="0" anchor="ctr">
            <a:noAutofit/>
          </a:bodyPr>
          <a:lstStyle/>
          <a:p>
            <a:pPr marL="0" marR="0" lvl="0" indent="0" defTabSz="914400" rtl="0" eaLnBrk="1" fontAlgn="auto" latinLnBrk="0" hangingPunct="1">
              <a:lnSpc>
                <a:spcPct val="89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ES Build" pitchFamily="50" charset="0"/>
              <a:ea typeface="+mn-ea"/>
              <a:cs typeface="Microsoft Sans Serif" panose="020B0604020202020204" pitchFamily="34" charset="0"/>
            </a:endParaRPr>
          </a:p>
        </p:txBody>
      </p:sp>
      <p:sp>
        <p:nvSpPr>
          <p:cNvPr id="53" name="bkup-text">
            <a:extLst>
              <a:ext uri="{FF2B5EF4-FFF2-40B4-BE49-F238E27FC236}">
                <a16:creationId xmlns:a16="http://schemas.microsoft.com/office/drawing/2014/main" id="{A95404FE-B357-B33D-8D57-2923A6EF5D50}"/>
              </a:ext>
            </a:extLst>
          </p:cNvPr>
          <p:cNvSpPr/>
          <p:nvPr/>
        </p:nvSpPr>
        <p:spPr>
          <a:xfrm>
            <a:off x="776464" y="3631120"/>
            <a:ext cx="2059638" cy="48703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77240" tIns="0" rIns="457200" bIns="0" rtlCol="0" anchor="ctr">
            <a:noAutofit/>
          </a:bodyPr>
          <a:lstStyle/>
          <a:p>
            <a:pPr marL="0" marR="0" lvl="0" indent="0" defTabSz="914400" rtl="0" eaLnBrk="1" fontAlgn="auto" latinLnBrk="0" hangingPunct="1">
              <a:lnSpc>
                <a:spcPct val="89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ES Build" pitchFamily="50" charset="0"/>
              <a:ea typeface="+mn-ea"/>
              <a:cs typeface="Microsoft Sans Serif" panose="020B0604020202020204" pitchFamily="34" charset="0"/>
            </a:endParaRPr>
          </a:p>
        </p:txBody>
      </p:sp>
      <p:sp>
        <p:nvSpPr>
          <p:cNvPr id="55" name="Rounded Rectangle 13">
            <a:extLst>
              <a:ext uri="{FF2B5EF4-FFF2-40B4-BE49-F238E27FC236}">
                <a16:creationId xmlns:a16="http://schemas.microsoft.com/office/drawing/2014/main" id="{3864CEAC-C8AC-601F-15F4-89FC418179C8}"/>
              </a:ext>
            </a:extLst>
          </p:cNvPr>
          <p:cNvSpPr/>
          <p:nvPr/>
        </p:nvSpPr>
        <p:spPr>
          <a:xfrm>
            <a:off x="750602" y="4105678"/>
            <a:ext cx="8464316" cy="45589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74320" tIns="0" rIns="274320" bIns="0" rtlCol="0" anchor="ctr">
            <a:noAutofit/>
          </a:bodyP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ES Build" pitchFamily="50" charset="0"/>
              <a:ea typeface="+mn-ea"/>
              <a:cs typeface="Microsoft Sans Serif" panose="020B0604020202020204" pitchFamily="34" charset="0"/>
            </a:endParaRPr>
          </a:p>
        </p:txBody>
      </p:sp>
      <p:sp>
        <p:nvSpPr>
          <p:cNvPr id="130" name="Rounded Rectangle 129">
            <a:extLst>
              <a:ext uri="{FF2B5EF4-FFF2-40B4-BE49-F238E27FC236}">
                <a16:creationId xmlns:a16="http://schemas.microsoft.com/office/drawing/2014/main" id="{71810B85-AA42-28B1-E327-C0D7A656BBA1}"/>
              </a:ext>
            </a:extLst>
          </p:cNvPr>
          <p:cNvSpPr/>
          <p:nvPr/>
        </p:nvSpPr>
        <p:spPr>
          <a:xfrm>
            <a:off x="750603" y="3611020"/>
            <a:ext cx="8464316" cy="961241"/>
          </a:xfrm>
          <a:prstGeom prst="roundRect">
            <a:avLst>
              <a:gd name="adj" fmla="val 6836"/>
            </a:avLst>
          </a:prstGeom>
          <a:no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sz="1600">
              <a:solidFill>
                <a:schemeClr val="bg1"/>
              </a:solidFill>
              <a:latin typeface="ES Build" pitchFamily="50" charset="0"/>
              <a:cs typeface="Microsoft Sans Serif" panose="020B0604020202020204" pitchFamily="34" charset="0"/>
            </a:endParaRPr>
          </a:p>
        </p:txBody>
      </p:sp>
      <p:sp>
        <p:nvSpPr>
          <p:cNvPr id="138" name="TextBox 137">
            <a:extLst>
              <a:ext uri="{FF2B5EF4-FFF2-40B4-BE49-F238E27FC236}">
                <a16:creationId xmlns:a16="http://schemas.microsoft.com/office/drawing/2014/main" id="{DDB75857-DECC-4237-1331-78CF8BBD1042}"/>
              </a:ext>
            </a:extLst>
          </p:cNvPr>
          <p:cNvSpPr txBox="1"/>
          <p:nvPr/>
        </p:nvSpPr>
        <p:spPr>
          <a:xfrm>
            <a:off x="776463" y="3775463"/>
            <a:ext cx="2059638" cy="271228"/>
          </a:xfrm>
          <a:prstGeom prst="rect">
            <a:avLst/>
          </a:prstGeom>
          <a:noFill/>
        </p:spPr>
        <p:txBody>
          <a:bodyPr wrap="square" rtlCol="0">
            <a:spAutoFit/>
          </a:bodyPr>
          <a:lstStyle/>
          <a:p>
            <a:pPr algn="ctr">
              <a:lnSpc>
                <a:spcPts val="1280"/>
              </a:lnSpc>
            </a:pPr>
            <a:r>
              <a:rPr kumimoji="0" lang="en-US" sz="1400" b="0" i="0" u="none" strike="noStrike" kern="1200" cap="none" spc="0" normalizeH="0" baseline="0" noProof="0">
                <a:ln>
                  <a:noFill/>
                </a:ln>
                <a:solidFill>
                  <a:srgbClr val="FFFFFF"/>
                </a:solidFill>
                <a:effectLst/>
                <a:uLnTx/>
                <a:uFillTx/>
                <a:latin typeface="ES Build" pitchFamily="50" charset="0"/>
                <a:ea typeface="+mn-ea"/>
                <a:cs typeface="Microsoft Sans Serif" panose="020B0604020202020204" pitchFamily="34" charset="0"/>
              </a:rPr>
              <a:t>Data Backup</a:t>
            </a:r>
          </a:p>
        </p:txBody>
      </p:sp>
      <p:sp>
        <p:nvSpPr>
          <p:cNvPr id="139" name="TextBox 138">
            <a:extLst>
              <a:ext uri="{FF2B5EF4-FFF2-40B4-BE49-F238E27FC236}">
                <a16:creationId xmlns:a16="http://schemas.microsoft.com/office/drawing/2014/main" id="{159D408D-E5F6-FA6F-F3A9-4A159DCF8897}"/>
              </a:ext>
            </a:extLst>
          </p:cNvPr>
          <p:cNvSpPr txBox="1"/>
          <p:nvPr/>
        </p:nvSpPr>
        <p:spPr>
          <a:xfrm>
            <a:off x="2824794" y="3775463"/>
            <a:ext cx="2120485" cy="271228"/>
          </a:xfrm>
          <a:prstGeom prst="rect">
            <a:avLst/>
          </a:prstGeom>
          <a:noFill/>
        </p:spPr>
        <p:txBody>
          <a:bodyPr wrap="square" rtlCol="0">
            <a:spAutoFit/>
          </a:bodyPr>
          <a:lstStyle/>
          <a:p>
            <a:pPr algn="ctr">
              <a:lnSpc>
                <a:spcPts val="1280"/>
              </a:lnSpc>
            </a:pPr>
            <a:r>
              <a:rPr kumimoji="0" lang="en-US" sz="1400" b="0" i="0" u="none" strike="noStrike" kern="1200" cap="none" spc="0" normalizeH="0" baseline="0" noProof="0">
                <a:ln>
                  <a:noFill/>
                </a:ln>
                <a:solidFill>
                  <a:srgbClr val="FFFFFF"/>
                </a:solidFill>
                <a:effectLst/>
                <a:uLnTx/>
                <a:uFillTx/>
                <a:latin typeface="ES Build" pitchFamily="50" charset="0"/>
                <a:ea typeface="+mn-ea"/>
                <a:cs typeface="Microsoft Sans Serif" panose="020B0604020202020204" pitchFamily="34" charset="0"/>
              </a:rPr>
              <a:t>Data </a:t>
            </a:r>
            <a:r>
              <a:rPr lang="en-US" sz="1400">
                <a:solidFill>
                  <a:srgbClr val="FFFFFF"/>
                </a:solidFill>
                <a:latin typeface="ES Build" pitchFamily="50" charset="0"/>
                <a:cs typeface="Microsoft Sans Serif" panose="020B0604020202020204" pitchFamily="34" charset="0"/>
              </a:rPr>
              <a:t>Recovery</a:t>
            </a:r>
            <a:endParaRPr kumimoji="0" lang="en-US" sz="1400" b="0" i="0" u="none" strike="noStrike" kern="1200" cap="none" spc="0" normalizeH="0" baseline="0" noProof="0">
              <a:ln>
                <a:noFill/>
              </a:ln>
              <a:solidFill>
                <a:srgbClr val="FFFFFF"/>
              </a:solidFill>
              <a:effectLst/>
              <a:uLnTx/>
              <a:uFillTx/>
              <a:latin typeface="ES Build" pitchFamily="50" charset="0"/>
              <a:ea typeface="+mn-ea"/>
              <a:cs typeface="Microsoft Sans Serif" panose="020B0604020202020204" pitchFamily="34" charset="0"/>
            </a:endParaRPr>
          </a:p>
        </p:txBody>
      </p:sp>
      <p:sp>
        <p:nvSpPr>
          <p:cNvPr id="140" name="TextBox 139">
            <a:extLst>
              <a:ext uri="{FF2B5EF4-FFF2-40B4-BE49-F238E27FC236}">
                <a16:creationId xmlns:a16="http://schemas.microsoft.com/office/drawing/2014/main" id="{4228E39B-D4A2-D015-C9A6-6E96440D5CCD}"/>
              </a:ext>
            </a:extLst>
          </p:cNvPr>
          <p:cNvSpPr txBox="1"/>
          <p:nvPr/>
        </p:nvSpPr>
        <p:spPr>
          <a:xfrm>
            <a:off x="7061517" y="3773235"/>
            <a:ext cx="2137847" cy="271228"/>
          </a:xfrm>
          <a:prstGeom prst="rect">
            <a:avLst/>
          </a:prstGeom>
          <a:noFill/>
        </p:spPr>
        <p:txBody>
          <a:bodyPr wrap="square" rtlCol="0">
            <a:spAutoFit/>
          </a:bodyPr>
          <a:lstStyle/>
          <a:p>
            <a:pPr algn="ctr">
              <a:lnSpc>
                <a:spcPts val="1280"/>
              </a:lnSpc>
            </a:pPr>
            <a:r>
              <a:rPr kumimoji="0" lang="en-US" sz="1400" b="0" i="0" u="none" strike="noStrike" kern="1200" cap="none" spc="0" normalizeH="0" baseline="0" noProof="0">
                <a:ln>
                  <a:noFill/>
                </a:ln>
                <a:solidFill>
                  <a:srgbClr val="FFFFFF"/>
                </a:solidFill>
                <a:effectLst/>
                <a:uLnTx/>
                <a:uFillTx/>
                <a:latin typeface="ES Build" pitchFamily="50" charset="0"/>
                <a:ea typeface="+mn-ea"/>
                <a:cs typeface="Microsoft Sans Serif" panose="020B0604020202020204" pitchFamily="34" charset="0"/>
              </a:rPr>
              <a:t>Data </a:t>
            </a:r>
            <a:r>
              <a:rPr lang="en-US" sz="1400">
                <a:solidFill>
                  <a:srgbClr val="FFFFFF"/>
                </a:solidFill>
                <a:latin typeface="ES Build" pitchFamily="50" charset="0"/>
                <a:cs typeface="Microsoft Sans Serif" panose="020B0604020202020204" pitchFamily="34" charset="0"/>
              </a:rPr>
              <a:t>Security</a:t>
            </a:r>
            <a:endParaRPr kumimoji="0" lang="en-US" sz="1400" b="0" i="0" u="none" strike="noStrike" kern="1200" cap="none" spc="0" normalizeH="0" baseline="0" noProof="0">
              <a:ln>
                <a:noFill/>
              </a:ln>
              <a:solidFill>
                <a:srgbClr val="FFFFFF"/>
              </a:solidFill>
              <a:effectLst/>
              <a:uLnTx/>
              <a:uFillTx/>
              <a:latin typeface="ES Build" pitchFamily="50" charset="0"/>
              <a:ea typeface="+mn-ea"/>
              <a:cs typeface="Microsoft Sans Serif" panose="020B0604020202020204" pitchFamily="34" charset="0"/>
            </a:endParaRPr>
          </a:p>
        </p:txBody>
      </p:sp>
      <p:sp>
        <p:nvSpPr>
          <p:cNvPr id="141" name="TextBox 140">
            <a:extLst>
              <a:ext uri="{FF2B5EF4-FFF2-40B4-BE49-F238E27FC236}">
                <a16:creationId xmlns:a16="http://schemas.microsoft.com/office/drawing/2014/main" id="{EBAEF439-D390-442A-2D65-7FB699A03FC2}"/>
              </a:ext>
            </a:extLst>
          </p:cNvPr>
          <p:cNvSpPr txBox="1"/>
          <p:nvPr/>
        </p:nvSpPr>
        <p:spPr>
          <a:xfrm>
            <a:off x="4981855" y="3773235"/>
            <a:ext cx="2087665" cy="271228"/>
          </a:xfrm>
          <a:prstGeom prst="rect">
            <a:avLst/>
          </a:prstGeom>
          <a:noFill/>
        </p:spPr>
        <p:txBody>
          <a:bodyPr wrap="square" rtlCol="0">
            <a:spAutoFit/>
          </a:bodyPr>
          <a:lstStyle/>
          <a:p>
            <a:pPr algn="ctr">
              <a:lnSpc>
                <a:spcPts val="1280"/>
              </a:lnSpc>
            </a:pPr>
            <a:r>
              <a:rPr kumimoji="0" lang="en-US" sz="1400" b="0" i="0" u="none" strike="noStrike" kern="1200" cap="none" spc="0" normalizeH="0" baseline="0" noProof="0">
                <a:ln>
                  <a:noFill/>
                </a:ln>
                <a:solidFill>
                  <a:srgbClr val="FFFFFF"/>
                </a:solidFill>
                <a:effectLst/>
                <a:uLnTx/>
                <a:uFillTx/>
                <a:latin typeface="ES Build" pitchFamily="50" charset="0"/>
                <a:ea typeface="+mn-ea"/>
                <a:cs typeface="Microsoft Sans Serif" panose="020B0604020202020204" pitchFamily="34" charset="0"/>
              </a:rPr>
              <a:t>Data </a:t>
            </a:r>
            <a:r>
              <a:rPr lang="en-US" sz="1400">
                <a:solidFill>
                  <a:srgbClr val="FFFFFF"/>
                </a:solidFill>
                <a:latin typeface="ES Build" pitchFamily="50" charset="0"/>
                <a:cs typeface="Microsoft Sans Serif" panose="020B0604020202020204" pitchFamily="34" charset="0"/>
              </a:rPr>
              <a:t>Freedom</a:t>
            </a:r>
            <a:endParaRPr kumimoji="0" lang="en-US" sz="1400" b="0" i="0" u="none" strike="noStrike" kern="1200" cap="none" spc="0" normalizeH="0" baseline="0" noProof="0">
              <a:ln>
                <a:noFill/>
              </a:ln>
              <a:solidFill>
                <a:srgbClr val="FFFFFF"/>
              </a:solidFill>
              <a:effectLst/>
              <a:uLnTx/>
              <a:uFillTx/>
              <a:latin typeface="ES Build" pitchFamily="50" charset="0"/>
              <a:ea typeface="+mn-ea"/>
              <a:cs typeface="Microsoft Sans Serif" panose="020B0604020202020204" pitchFamily="34" charset="0"/>
            </a:endParaRPr>
          </a:p>
        </p:txBody>
      </p:sp>
      <p:sp>
        <p:nvSpPr>
          <p:cNvPr id="145" name="Rounded Rectangle 22">
            <a:extLst>
              <a:ext uri="{FF2B5EF4-FFF2-40B4-BE49-F238E27FC236}">
                <a16:creationId xmlns:a16="http://schemas.microsoft.com/office/drawing/2014/main" id="{B27FF646-E42A-F614-7F0A-932ABCDCE832}"/>
              </a:ext>
            </a:extLst>
          </p:cNvPr>
          <p:cNvSpPr/>
          <p:nvPr/>
        </p:nvSpPr>
        <p:spPr bwMode="auto">
          <a:xfrm>
            <a:off x="776464" y="3173925"/>
            <a:ext cx="8403956" cy="342492"/>
          </a:xfrm>
          <a:prstGeom prst="roundRect">
            <a:avLst>
              <a:gd name="adj" fmla="val 13677"/>
            </a:avLst>
          </a:prstGeom>
          <a:solidFill>
            <a:schemeClr val="bg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8768"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ES Build"/>
                <a:ea typeface="Segoe UI" pitchFamily="34" charset="0"/>
                <a:cs typeface="Segoe UI" pitchFamily="34" charset="0"/>
              </a:rPr>
              <a:t>AI Copilot</a:t>
            </a:r>
          </a:p>
        </p:txBody>
      </p:sp>
      <p:sp>
        <p:nvSpPr>
          <p:cNvPr id="5" name="TextBox 4">
            <a:extLst>
              <a:ext uri="{FF2B5EF4-FFF2-40B4-BE49-F238E27FC236}">
                <a16:creationId xmlns:a16="http://schemas.microsoft.com/office/drawing/2014/main" id="{F6A22DF2-C60C-981D-01CD-64507B426043}"/>
              </a:ext>
            </a:extLst>
          </p:cNvPr>
          <p:cNvSpPr txBox="1"/>
          <p:nvPr/>
        </p:nvSpPr>
        <p:spPr>
          <a:xfrm>
            <a:off x="776463" y="4218390"/>
            <a:ext cx="8403957" cy="271228"/>
          </a:xfrm>
          <a:prstGeom prst="rect">
            <a:avLst/>
          </a:prstGeom>
          <a:noFill/>
        </p:spPr>
        <p:txBody>
          <a:bodyPr wrap="square" rtlCol="0">
            <a:spAutoFit/>
          </a:bodyPr>
          <a:lstStyle/>
          <a:p>
            <a:pPr algn="ctr">
              <a:lnSpc>
                <a:spcPts val="1280"/>
              </a:lnSpc>
            </a:pPr>
            <a:r>
              <a:rPr kumimoji="0" lang="en-US" sz="1400" b="0" i="0" u="none" strike="noStrike" kern="1200" cap="none" spc="0" normalizeH="0" baseline="0" noProof="0">
                <a:ln>
                  <a:noFill/>
                </a:ln>
                <a:solidFill>
                  <a:srgbClr val="FFFFFF"/>
                </a:solidFill>
                <a:effectLst/>
                <a:uLnTx/>
                <a:uFillTx/>
                <a:latin typeface="ES Build" pitchFamily="50" charset="0"/>
                <a:ea typeface="+mn-ea"/>
                <a:cs typeface="Microsoft Sans Serif" panose="020B0604020202020204" pitchFamily="34" charset="0"/>
              </a:rPr>
              <a:t>Data </a:t>
            </a:r>
            <a:r>
              <a:rPr lang="en-US" sz="1400">
                <a:solidFill>
                  <a:srgbClr val="FFFFFF"/>
                </a:solidFill>
                <a:latin typeface="ES Build" pitchFamily="50" charset="0"/>
                <a:cs typeface="Microsoft Sans Serif" panose="020B0604020202020204" pitchFamily="34" charset="0"/>
              </a:rPr>
              <a:t>Intelligence</a:t>
            </a:r>
            <a:endParaRPr kumimoji="0" lang="en-US" sz="1400" b="0" i="0" u="none" strike="noStrike" kern="1200" cap="none" spc="0" normalizeH="0" baseline="0" noProof="0">
              <a:ln>
                <a:noFill/>
              </a:ln>
              <a:solidFill>
                <a:srgbClr val="FFFFFF"/>
              </a:solidFill>
              <a:effectLst/>
              <a:uLnTx/>
              <a:uFillTx/>
              <a:latin typeface="ES Build" pitchFamily="50" charset="0"/>
              <a:ea typeface="+mn-ea"/>
              <a:cs typeface="Microsoft Sans Serif" panose="020B0604020202020204" pitchFamily="34" charset="0"/>
            </a:endParaRPr>
          </a:p>
        </p:txBody>
      </p:sp>
    </p:spTree>
    <p:extLst>
      <p:ext uri="{BB962C8B-B14F-4D97-AF65-F5344CB8AC3E}">
        <p14:creationId xmlns:p14="http://schemas.microsoft.com/office/powerpoint/2010/main" val="4188948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206CFBAD-8AB4-6A7A-CE33-6E250C278B7F}"/>
              </a:ext>
            </a:extLst>
          </p:cNvPr>
          <p:cNvGraphicFramePr>
            <a:graphicFrameLocks noGrp="1"/>
          </p:cNvGraphicFramePr>
          <p:nvPr/>
        </p:nvGraphicFramePr>
        <p:xfrm>
          <a:off x="493288" y="2782240"/>
          <a:ext cx="11203000" cy="670077"/>
        </p:xfrm>
        <a:graphic>
          <a:graphicData uri="http://schemas.openxmlformats.org/drawingml/2006/table">
            <a:tbl>
              <a:tblPr firstRow="1" bandRow="1">
                <a:tableStyleId>{2D5ABB26-0587-4C30-8999-92F81FD0307C}</a:tableStyleId>
              </a:tblPr>
              <a:tblGrid>
                <a:gridCol w="659000">
                  <a:extLst>
                    <a:ext uri="{9D8B030D-6E8A-4147-A177-3AD203B41FA5}">
                      <a16:colId xmlns:a16="http://schemas.microsoft.com/office/drawing/2014/main" val="3700860947"/>
                    </a:ext>
                  </a:extLst>
                </a:gridCol>
                <a:gridCol w="659000">
                  <a:extLst>
                    <a:ext uri="{9D8B030D-6E8A-4147-A177-3AD203B41FA5}">
                      <a16:colId xmlns:a16="http://schemas.microsoft.com/office/drawing/2014/main" val="3790091010"/>
                    </a:ext>
                  </a:extLst>
                </a:gridCol>
                <a:gridCol w="659000">
                  <a:extLst>
                    <a:ext uri="{9D8B030D-6E8A-4147-A177-3AD203B41FA5}">
                      <a16:colId xmlns:a16="http://schemas.microsoft.com/office/drawing/2014/main" val="129630005"/>
                    </a:ext>
                  </a:extLst>
                </a:gridCol>
                <a:gridCol w="659000">
                  <a:extLst>
                    <a:ext uri="{9D8B030D-6E8A-4147-A177-3AD203B41FA5}">
                      <a16:colId xmlns:a16="http://schemas.microsoft.com/office/drawing/2014/main" val="2084862144"/>
                    </a:ext>
                  </a:extLst>
                </a:gridCol>
                <a:gridCol w="659000">
                  <a:extLst>
                    <a:ext uri="{9D8B030D-6E8A-4147-A177-3AD203B41FA5}">
                      <a16:colId xmlns:a16="http://schemas.microsoft.com/office/drawing/2014/main" val="124129262"/>
                    </a:ext>
                  </a:extLst>
                </a:gridCol>
                <a:gridCol w="659000">
                  <a:extLst>
                    <a:ext uri="{9D8B030D-6E8A-4147-A177-3AD203B41FA5}">
                      <a16:colId xmlns:a16="http://schemas.microsoft.com/office/drawing/2014/main" val="415074162"/>
                    </a:ext>
                  </a:extLst>
                </a:gridCol>
                <a:gridCol w="659000">
                  <a:extLst>
                    <a:ext uri="{9D8B030D-6E8A-4147-A177-3AD203B41FA5}">
                      <a16:colId xmlns:a16="http://schemas.microsoft.com/office/drawing/2014/main" val="2175068478"/>
                    </a:ext>
                  </a:extLst>
                </a:gridCol>
                <a:gridCol w="659000">
                  <a:extLst>
                    <a:ext uri="{9D8B030D-6E8A-4147-A177-3AD203B41FA5}">
                      <a16:colId xmlns:a16="http://schemas.microsoft.com/office/drawing/2014/main" val="379303850"/>
                    </a:ext>
                  </a:extLst>
                </a:gridCol>
                <a:gridCol w="659000">
                  <a:extLst>
                    <a:ext uri="{9D8B030D-6E8A-4147-A177-3AD203B41FA5}">
                      <a16:colId xmlns:a16="http://schemas.microsoft.com/office/drawing/2014/main" val="59410329"/>
                    </a:ext>
                  </a:extLst>
                </a:gridCol>
                <a:gridCol w="659000">
                  <a:extLst>
                    <a:ext uri="{9D8B030D-6E8A-4147-A177-3AD203B41FA5}">
                      <a16:colId xmlns:a16="http://schemas.microsoft.com/office/drawing/2014/main" val="859983497"/>
                    </a:ext>
                  </a:extLst>
                </a:gridCol>
                <a:gridCol w="659000">
                  <a:extLst>
                    <a:ext uri="{9D8B030D-6E8A-4147-A177-3AD203B41FA5}">
                      <a16:colId xmlns:a16="http://schemas.microsoft.com/office/drawing/2014/main" val="2657266619"/>
                    </a:ext>
                  </a:extLst>
                </a:gridCol>
                <a:gridCol w="659000">
                  <a:extLst>
                    <a:ext uri="{9D8B030D-6E8A-4147-A177-3AD203B41FA5}">
                      <a16:colId xmlns:a16="http://schemas.microsoft.com/office/drawing/2014/main" val="2873300459"/>
                    </a:ext>
                  </a:extLst>
                </a:gridCol>
                <a:gridCol w="659000">
                  <a:extLst>
                    <a:ext uri="{9D8B030D-6E8A-4147-A177-3AD203B41FA5}">
                      <a16:colId xmlns:a16="http://schemas.microsoft.com/office/drawing/2014/main" val="3466441349"/>
                    </a:ext>
                  </a:extLst>
                </a:gridCol>
                <a:gridCol w="659000">
                  <a:extLst>
                    <a:ext uri="{9D8B030D-6E8A-4147-A177-3AD203B41FA5}">
                      <a16:colId xmlns:a16="http://schemas.microsoft.com/office/drawing/2014/main" val="2400130796"/>
                    </a:ext>
                  </a:extLst>
                </a:gridCol>
                <a:gridCol w="659000">
                  <a:extLst>
                    <a:ext uri="{9D8B030D-6E8A-4147-A177-3AD203B41FA5}">
                      <a16:colId xmlns:a16="http://schemas.microsoft.com/office/drawing/2014/main" val="923746634"/>
                    </a:ext>
                  </a:extLst>
                </a:gridCol>
                <a:gridCol w="659000">
                  <a:extLst>
                    <a:ext uri="{9D8B030D-6E8A-4147-A177-3AD203B41FA5}">
                      <a16:colId xmlns:a16="http://schemas.microsoft.com/office/drawing/2014/main" val="915119584"/>
                    </a:ext>
                  </a:extLst>
                </a:gridCol>
                <a:gridCol w="659000">
                  <a:extLst>
                    <a:ext uri="{9D8B030D-6E8A-4147-A177-3AD203B41FA5}">
                      <a16:colId xmlns:a16="http://schemas.microsoft.com/office/drawing/2014/main" val="2117496414"/>
                    </a:ext>
                  </a:extLst>
                </a:gridCol>
              </a:tblGrid>
              <a:tr h="670077">
                <a:tc>
                  <a:txBody>
                    <a:bodyPr/>
                    <a:lstStyle/>
                    <a:p>
                      <a:r>
                        <a:rPr lang="en-US" sz="700">
                          <a:solidFill>
                            <a:srgbClr val="00D15F"/>
                          </a:solidFill>
                        </a:rPr>
                        <a:t>2008</a:t>
                      </a:r>
                    </a:p>
                  </a:txBody>
                  <a:tcPr marT="0">
                    <a:lnR w="3175" cap="flat" cmpd="sng" algn="ctr">
                      <a:solidFill>
                        <a:schemeClr val="bg1">
                          <a:lumMod val="75000"/>
                        </a:schemeClr>
                      </a:solidFill>
                      <a:prstDash val="solid"/>
                      <a:round/>
                      <a:headEnd type="none" w="med" len="med"/>
                      <a:tailEnd type="none" w="med" len="med"/>
                    </a:lnR>
                  </a:tcPr>
                </a:tc>
                <a:tc>
                  <a:txBody>
                    <a:bodyPr/>
                    <a:lstStyle/>
                    <a:p>
                      <a:r>
                        <a:rPr lang="en-US" sz="700">
                          <a:solidFill>
                            <a:srgbClr val="00D15F"/>
                          </a:solidFill>
                        </a:rPr>
                        <a:t>2009</a:t>
                      </a:r>
                    </a:p>
                  </a:txBody>
                  <a:tcPr marT="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tcPr>
                </a:tc>
                <a:tc>
                  <a:txBody>
                    <a:bodyPr/>
                    <a:lstStyle/>
                    <a:p>
                      <a:r>
                        <a:rPr lang="en-US" sz="700">
                          <a:solidFill>
                            <a:srgbClr val="00D15F"/>
                          </a:solidFill>
                        </a:rPr>
                        <a:t>2010</a:t>
                      </a:r>
                    </a:p>
                  </a:txBody>
                  <a:tcPr marT="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tcPr>
                </a:tc>
                <a:tc>
                  <a:txBody>
                    <a:bodyPr/>
                    <a:lstStyle/>
                    <a:p>
                      <a:r>
                        <a:rPr lang="en-US" sz="700">
                          <a:solidFill>
                            <a:srgbClr val="00D15F"/>
                          </a:solidFill>
                        </a:rPr>
                        <a:t>2011</a:t>
                      </a:r>
                    </a:p>
                  </a:txBody>
                  <a:tcPr marT="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tcPr>
                </a:tc>
                <a:tc>
                  <a:txBody>
                    <a:bodyPr/>
                    <a:lstStyle/>
                    <a:p>
                      <a:r>
                        <a:rPr lang="en-US" sz="700">
                          <a:solidFill>
                            <a:srgbClr val="00D15F"/>
                          </a:solidFill>
                        </a:rPr>
                        <a:t>2012</a:t>
                      </a:r>
                    </a:p>
                  </a:txBody>
                  <a:tcPr marT="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tcPr>
                </a:tc>
                <a:tc>
                  <a:txBody>
                    <a:bodyPr/>
                    <a:lstStyle/>
                    <a:p>
                      <a:r>
                        <a:rPr lang="en-US" sz="700">
                          <a:solidFill>
                            <a:srgbClr val="00D15F"/>
                          </a:solidFill>
                        </a:rPr>
                        <a:t>2013</a:t>
                      </a:r>
                    </a:p>
                  </a:txBody>
                  <a:tcPr marT="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tcPr>
                </a:tc>
                <a:tc>
                  <a:txBody>
                    <a:bodyPr/>
                    <a:lstStyle/>
                    <a:p>
                      <a:r>
                        <a:rPr lang="en-US" sz="700">
                          <a:solidFill>
                            <a:srgbClr val="00D15F"/>
                          </a:solidFill>
                        </a:rPr>
                        <a:t>2014</a:t>
                      </a:r>
                    </a:p>
                  </a:txBody>
                  <a:tcPr marT="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tcPr>
                </a:tc>
                <a:tc>
                  <a:txBody>
                    <a:bodyPr/>
                    <a:lstStyle/>
                    <a:p>
                      <a:r>
                        <a:rPr lang="en-US" sz="700">
                          <a:solidFill>
                            <a:srgbClr val="00D15F"/>
                          </a:solidFill>
                        </a:rPr>
                        <a:t>2015</a:t>
                      </a:r>
                    </a:p>
                  </a:txBody>
                  <a:tcPr marT="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tcPr>
                </a:tc>
                <a:tc>
                  <a:txBody>
                    <a:bodyPr/>
                    <a:lstStyle/>
                    <a:p>
                      <a:r>
                        <a:rPr lang="en-US" sz="700">
                          <a:solidFill>
                            <a:srgbClr val="00D15F"/>
                          </a:solidFill>
                        </a:rPr>
                        <a:t>2016</a:t>
                      </a:r>
                    </a:p>
                  </a:txBody>
                  <a:tcPr marT="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tcPr>
                </a:tc>
                <a:tc>
                  <a:txBody>
                    <a:bodyPr/>
                    <a:lstStyle/>
                    <a:p>
                      <a:r>
                        <a:rPr lang="en-US" sz="700">
                          <a:solidFill>
                            <a:srgbClr val="00D15F"/>
                          </a:solidFill>
                        </a:rPr>
                        <a:t>2017</a:t>
                      </a:r>
                    </a:p>
                  </a:txBody>
                  <a:tcPr marT="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tcPr>
                </a:tc>
                <a:tc>
                  <a:txBody>
                    <a:bodyPr/>
                    <a:lstStyle/>
                    <a:p>
                      <a:r>
                        <a:rPr lang="en-US" sz="700">
                          <a:solidFill>
                            <a:srgbClr val="00D15F"/>
                          </a:solidFill>
                        </a:rPr>
                        <a:t>2018</a:t>
                      </a:r>
                    </a:p>
                  </a:txBody>
                  <a:tcPr marT="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tcPr>
                </a:tc>
                <a:tc>
                  <a:txBody>
                    <a:bodyPr/>
                    <a:lstStyle/>
                    <a:p>
                      <a:r>
                        <a:rPr lang="en-US" sz="700">
                          <a:solidFill>
                            <a:srgbClr val="00D15F"/>
                          </a:solidFill>
                        </a:rPr>
                        <a:t>2019</a:t>
                      </a:r>
                    </a:p>
                  </a:txBody>
                  <a:tcPr marT="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tcPr>
                </a:tc>
                <a:tc>
                  <a:txBody>
                    <a:bodyPr/>
                    <a:lstStyle/>
                    <a:p>
                      <a:r>
                        <a:rPr lang="en-US" sz="700">
                          <a:solidFill>
                            <a:srgbClr val="00D15F"/>
                          </a:solidFill>
                        </a:rPr>
                        <a:t>2020</a:t>
                      </a:r>
                    </a:p>
                  </a:txBody>
                  <a:tcPr marT="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tcPr>
                </a:tc>
                <a:tc>
                  <a:txBody>
                    <a:bodyPr/>
                    <a:lstStyle/>
                    <a:p>
                      <a:r>
                        <a:rPr lang="en-US" sz="700">
                          <a:solidFill>
                            <a:srgbClr val="00D15F"/>
                          </a:solidFill>
                        </a:rPr>
                        <a:t>2021</a:t>
                      </a:r>
                    </a:p>
                  </a:txBody>
                  <a:tcPr marT="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tcPr>
                </a:tc>
                <a:tc>
                  <a:txBody>
                    <a:bodyPr/>
                    <a:lstStyle/>
                    <a:p>
                      <a:r>
                        <a:rPr lang="en-US" sz="700">
                          <a:solidFill>
                            <a:srgbClr val="00D15F"/>
                          </a:solidFill>
                        </a:rPr>
                        <a:t>2022</a:t>
                      </a:r>
                    </a:p>
                  </a:txBody>
                  <a:tcPr marT="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tcPr>
                </a:tc>
                <a:tc>
                  <a:txBody>
                    <a:bodyPr/>
                    <a:lstStyle/>
                    <a:p>
                      <a:r>
                        <a:rPr lang="en-US" sz="700">
                          <a:solidFill>
                            <a:srgbClr val="00D15F"/>
                          </a:solidFill>
                        </a:rPr>
                        <a:t>2023</a:t>
                      </a:r>
                    </a:p>
                  </a:txBody>
                  <a:tcPr marT="0">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tcPr>
                </a:tc>
                <a:tc>
                  <a:txBody>
                    <a:bodyPr/>
                    <a:lstStyle/>
                    <a:p>
                      <a:r>
                        <a:rPr lang="en-US" sz="700">
                          <a:solidFill>
                            <a:srgbClr val="00D15F"/>
                          </a:solidFill>
                        </a:rPr>
                        <a:t>2024</a:t>
                      </a:r>
                    </a:p>
                  </a:txBody>
                  <a:tcPr marT="0">
                    <a:lnL w="3175"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971411329"/>
                  </a:ext>
                </a:extLst>
              </a:tr>
            </a:tbl>
          </a:graphicData>
        </a:graphic>
      </p:graphicFrame>
      <p:cxnSp>
        <p:nvCxnSpPr>
          <p:cNvPr id="8" name="Straight Connector 7">
            <a:extLst>
              <a:ext uri="{FF2B5EF4-FFF2-40B4-BE49-F238E27FC236}">
                <a16:creationId xmlns:a16="http://schemas.microsoft.com/office/drawing/2014/main" id="{D2C09E08-1758-3F12-CD1A-C7B5CDD97BEA}"/>
              </a:ext>
            </a:extLst>
          </p:cNvPr>
          <p:cNvCxnSpPr>
            <a:cxnSpLocks/>
          </p:cNvCxnSpPr>
          <p:nvPr/>
        </p:nvCxnSpPr>
        <p:spPr>
          <a:xfrm>
            <a:off x="399044" y="3117278"/>
            <a:ext cx="11393912" cy="0"/>
          </a:xfrm>
          <a:prstGeom prst="line">
            <a:avLst/>
          </a:prstGeom>
          <a:ln w="117475" cap="rnd">
            <a:solidFill>
              <a:schemeClr val="accent2"/>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EDBCC107-EF95-5333-73F8-4DF3A6D1A68E}"/>
              </a:ext>
            </a:extLst>
          </p:cNvPr>
          <p:cNvSpPr>
            <a:spLocks noGrp="1"/>
          </p:cNvSpPr>
          <p:nvPr>
            <p:ph type="title"/>
          </p:nvPr>
        </p:nvSpPr>
        <p:spPr/>
        <p:txBody>
          <a:bodyPr/>
          <a:lstStyle/>
          <a:p>
            <a:r>
              <a:rPr lang="en-US"/>
              <a:t>Veeam has a relentless track record on disruptive innovation in data resilience</a:t>
            </a:r>
          </a:p>
        </p:txBody>
      </p:sp>
      <p:sp>
        <p:nvSpPr>
          <p:cNvPr id="13" name="TextBox 12">
            <a:extLst>
              <a:ext uri="{FF2B5EF4-FFF2-40B4-BE49-F238E27FC236}">
                <a16:creationId xmlns:a16="http://schemas.microsoft.com/office/drawing/2014/main" id="{BF1564F9-4C74-BB06-CD8B-B3EFBE43482C}"/>
              </a:ext>
            </a:extLst>
          </p:cNvPr>
          <p:cNvSpPr txBox="1"/>
          <p:nvPr/>
        </p:nvSpPr>
        <p:spPr>
          <a:xfrm>
            <a:off x="248418" y="1828137"/>
            <a:ext cx="1214100" cy="671338"/>
          </a:xfrm>
          <a:prstGeom prst="rect">
            <a:avLst/>
          </a:prstGeom>
          <a:noFill/>
        </p:spPr>
        <p:txBody>
          <a:bodyPr wrap="square" rtlCol="0" anchor="b">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effectLst/>
                <a:uLnTx/>
                <a:uFillTx/>
                <a:latin typeface="ES Build Neutral"/>
                <a:ea typeface="+mn-ea"/>
                <a:cs typeface="+mn-cs"/>
              </a:rPr>
              <a:t>2-in-1: Backup</a:t>
            </a:r>
            <a:br>
              <a:rPr kumimoji="0" lang="en-US" sz="900" b="0" i="0" u="none" strike="noStrike" kern="1200" cap="none" spc="0" normalizeH="0" baseline="0" noProof="0">
                <a:ln>
                  <a:noFill/>
                </a:ln>
                <a:effectLst/>
                <a:uLnTx/>
                <a:uFillTx/>
                <a:latin typeface="ES Build Neutral"/>
                <a:ea typeface="+mn-ea"/>
                <a:cs typeface="+mn-cs"/>
              </a:rPr>
            </a:br>
            <a:r>
              <a:rPr kumimoji="0" lang="en-US" sz="900" b="0" i="0" u="none" strike="noStrike" kern="1200" cap="none" spc="0" normalizeH="0" baseline="0" noProof="0">
                <a:ln>
                  <a:noFill/>
                </a:ln>
                <a:effectLst/>
                <a:uLnTx/>
                <a:uFillTx/>
                <a:latin typeface="ES Build Neutral"/>
                <a:ea typeface="+mn-ea"/>
                <a:cs typeface="+mn-cs"/>
              </a:rPr>
              <a:t>and Replication</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effectLst/>
                <a:uLnTx/>
                <a:uFillTx/>
                <a:latin typeface="ES Build Neutral"/>
                <a:ea typeface="+mn-ea"/>
                <a:cs typeface="+mn-cs"/>
              </a:rPr>
              <a:t>Built-in deduplication</a:t>
            </a:r>
          </a:p>
        </p:txBody>
      </p:sp>
      <p:sp>
        <p:nvSpPr>
          <p:cNvPr id="15" name="Oval 14">
            <a:extLst>
              <a:ext uri="{FF2B5EF4-FFF2-40B4-BE49-F238E27FC236}">
                <a16:creationId xmlns:a16="http://schemas.microsoft.com/office/drawing/2014/main" id="{06EE8660-6C59-2275-926D-E31BC1018262}"/>
              </a:ext>
            </a:extLst>
          </p:cNvPr>
          <p:cNvSpPr>
            <a:spLocks/>
          </p:cNvSpPr>
          <p:nvPr/>
        </p:nvSpPr>
        <p:spPr>
          <a:xfrm>
            <a:off x="800604" y="3062414"/>
            <a:ext cx="109728" cy="109728"/>
          </a:xfrm>
          <a:prstGeom prst="ellipse">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ES Build" pitchFamily="50" charset="0"/>
              <a:ea typeface="+mn-ea"/>
              <a:cs typeface="Microsoft Sans Serif" panose="020B0604020202020204" pitchFamily="34" charset="0"/>
            </a:endParaRPr>
          </a:p>
        </p:txBody>
      </p:sp>
      <p:sp>
        <p:nvSpPr>
          <p:cNvPr id="11" name="TextBox 10">
            <a:extLst>
              <a:ext uri="{FF2B5EF4-FFF2-40B4-BE49-F238E27FC236}">
                <a16:creationId xmlns:a16="http://schemas.microsoft.com/office/drawing/2014/main" id="{3827A5D5-880D-CEA5-F66A-17FE4FA2BDB4}"/>
              </a:ext>
            </a:extLst>
          </p:cNvPr>
          <p:cNvSpPr txBox="1"/>
          <p:nvPr/>
        </p:nvSpPr>
        <p:spPr>
          <a:xfrm>
            <a:off x="793470" y="3735634"/>
            <a:ext cx="1347136" cy="469744"/>
          </a:xfrm>
          <a:prstGeom prst="rect">
            <a:avLst/>
          </a:prstGeom>
          <a:noFill/>
        </p:spPr>
        <p:txBody>
          <a:bodyPr wrap="square" rtlCol="0">
            <a:spAutoFit/>
          </a:bodyPr>
          <a:lstStyle>
            <a:defPPr>
              <a:defRPr lang="en-US"/>
            </a:defPPr>
            <a:lvl1pPr algn="ctr">
              <a:lnSpc>
                <a:spcPct val="90000"/>
              </a:lnSpc>
              <a:spcAft>
                <a:spcPts val="600"/>
              </a:spcAft>
              <a:defRPr sz="1100"/>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effectLst/>
                <a:uLnTx/>
                <a:uFillTx/>
                <a:latin typeface="ES Build Neutral"/>
                <a:ea typeface="+mn-ea"/>
                <a:cs typeface="+mn-cs"/>
              </a:rPr>
              <a:t>VMware </a:t>
            </a:r>
            <a:r>
              <a:rPr kumimoji="0" lang="en-US" sz="900" b="0" i="0" u="none" strike="noStrike" kern="1200" cap="none" spc="0" normalizeH="0" baseline="0" noProof="0" err="1">
                <a:ln>
                  <a:noFill/>
                </a:ln>
                <a:effectLst/>
                <a:uLnTx/>
                <a:uFillTx/>
                <a:latin typeface="ES Build Neutral"/>
                <a:ea typeface="+mn-ea"/>
                <a:cs typeface="+mn-cs"/>
              </a:rPr>
              <a:t>vStorage</a:t>
            </a:r>
            <a:r>
              <a:rPr kumimoji="0" lang="en-US" sz="900" b="0" i="0" u="none" strike="noStrike" kern="1200" cap="none" spc="0" normalizeH="0" baseline="0" noProof="0">
                <a:ln>
                  <a:noFill/>
                </a:ln>
                <a:effectLst/>
                <a:uLnTx/>
                <a:uFillTx/>
                <a:latin typeface="ES Build Neutral"/>
                <a:ea typeface="+mn-ea"/>
                <a:cs typeface="+mn-cs"/>
              </a:rPr>
              <a:t> API and Changed Block Tracking (CBT)</a:t>
            </a:r>
          </a:p>
        </p:txBody>
      </p:sp>
      <p:sp>
        <p:nvSpPr>
          <p:cNvPr id="3" name="Oval 2">
            <a:extLst>
              <a:ext uri="{FF2B5EF4-FFF2-40B4-BE49-F238E27FC236}">
                <a16:creationId xmlns:a16="http://schemas.microsoft.com/office/drawing/2014/main" id="{572E0EA9-7F13-5791-D7F3-B00ADA7549D9}"/>
              </a:ext>
            </a:extLst>
          </p:cNvPr>
          <p:cNvSpPr>
            <a:spLocks/>
          </p:cNvSpPr>
          <p:nvPr/>
        </p:nvSpPr>
        <p:spPr>
          <a:xfrm>
            <a:off x="1412174" y="3062414"/>
            <a:ext cx="109728" cy="109728"/>
          </a:xfrm>
          <a:prstGeom prst="ellipse">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ES Build" pitchFamily="50" charset="0"/>
              <a:ea typeface="+mn-ea"/>
              <a:cs typeface="Microsoft Sans Serif" panose="020B0604020202020204" pitchFamily="34" charset="0"/>
            </a:endParaRPr>
          </a:p>
        </p:txBody>
      </p:sp>
      <p:sp>
        <p:nvSpPr>
          <p:cNvPr id="10" name="TextBox 9">
            <a:extLst>
              <a:ext uri="{FF2B5EF4-FFF2-40B4-BE49-F238E27FC236}">
                <a16:creationId xmlns:a16="http://schemas.microsoft.com/office/drawing/2014/main" id="{2D5F2D17-DC73-3D1D-3D39-C3DF1748AD8D}"/>
              </a:ext>
            </a:extLst>
          </p:cNvPr>
          <p:cNvSpPr txBox="1"/>
          <p:nvPr/>
        </p:nvSpPr>
        <p:spPr>
          <a:xfrm>
            <a:off x="1217649" y="1754734"/>
            <a:ext cx="1920967" cy="748282"/>
          </a:xfrm>
          <a:prstGeom prst="rect">
            <a:avLst/>
          </a:prstGeom>
          <a:noFill/>
        </p:spPr>
        <p:txBody>
          <a:bodyPr wrap="square" rtlCol="0" anchor="b">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effectLst/>
                <a:uLnTx/>
                <a:uFillTx/>
                <a:latin typeface="ES Build Neutral"/>
                <a:ea typeface="+mn-ea"/>
                <a:cs typeface="+mn-cs"/>
              </a:rPr>
              <a:t>Instant VM Recovery</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err="1">
                <a:ln>
                  <a:noFill/>
                </a:ln>
                <a:effectLst/>
                <a:uLnTx/>
                <a:uFillTx/>
                <a:latin typeface="ES Build Neutral"/>
                <a:ea typeface="+mn-ea"/>
                <a:cs typeface="+mn-cs"/>
              </a:rPr>
              <a:t>SureBackup</a:t>
            </a:r>
            <a:endParaRPr kumimoji="0" lang="en-US" sz="900" b="0" i="0" u="none" strike="noStrike" kern="1200" cap="none" spc="0" normalizeH="0" baseline="0" noProof="0">
              <a:ln>
                <a:noFill/>
              </a:ln>
              <a:effectLst/>
              <a:uLnTx/>
              <a:uFillTx/>
              <a:latin typeface="ES Build Neutral"/>
              <a:ea typeface="+mn-ea"/>
              <a:cs typeface="+mn-cs"/>
            </a:endParaRP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effectLst/>
                <a:uLnTx/>
                <a:uFillTx/>
                <a:latin typeface="ES Build Neutral"/>
                <a:ea typeface="+mn-ea"/>
                <a:cs typeface="+mn-cs"/>
              </a:rPr>
              <a:t>Universal Application Item Recovery</a:t>
            </a:r>
          </a:p>
        </p:txBody>
      </p:sp>
      <p:sp>
        <p:nvSpPr>
          <p:cNvPr id="17" name="Oval 16">
            <a:extLst>
              <a:ext uri="{FF2B5EF4-FFF2-40B4-BE49-F238E27FC236}">
                <a16:creationId xmlns:a16="http://schemas.microsoft.com/office/drawing/2014/main" id="{35E952B2-151D-196C-92D6-E48A8542357F}"/>
              </a:ext>
            </a:extLst>
          </p:cNvPr>
          <p:cNvSpPr>
            <a:spLocks/>
          </p:cNvSpPr>
          <p:nvPr/>
        </p:nvSpPr>
        <p:spPr>
          <a:xfrm>
            <a:off x="2123268" y="3065955"/>
            <a:ext cx="109728" cy="109728"/>
          </a:xfrm>
          <a:prstGeom prst="ellipse">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ES Build" pitchFamily="50" charset="0"/>
              <a:ea typeface="+mn-ea"/>
              <a:cs typeface="Microsoft Sans Serif" panose="020B0604020202020204" pitchFamily="34" charset="0"/>
            </a:endParaRPr>
          </a:p>
        </p:txBody>
      </p:sp>
      <p:sp>
        <p:nvSpPr>
          <p:cNvPr id="20" name="TextBox 19">
            <a:extLst>
              <a:ext uri="{FF2B5EF4-FFF2-40B4-BE49-F238E27FC236}">
                <a16:creationId xmlns:a16="http://schemas.microsoft.com/office/drawing/2014/main" id="{14C4C09F-657A-6012-93DD-F087ED718A24}"/>
              </a:ext>
            </a:extLst>
          </p:cNvPr>
          <p:cNvSpPr txBox="1"/>
          <p:nvPr/>
        </p:nvSpPr>
        <p:spPr>
          <a:xfrm>
            <a:off x="2152813" y="3735634"/>
            <a:ext cx="1347136" cy="345094"/>
          </a:xfrm>
          <a:prstGeom prst="rect">
            <a:avLst/>
          </a:prstGeom>
          <a:noFill/>
        </p:spPr>
        <p:txBody>
          <a:bodyPr wrap="square" rtlCol="0">
            <a:spAutoFit/>
          </a:bodyPr>
          <a:lstStyle>
            <a:defPPr>
              <a:defRPr lang="en-US"/>
            </a:defPPr>
            <a:lvl1pPr algn="ctr">
              <a:lnSpc>
                <a:spcPct val="90000"/>
              </a:lnSpc>
              <a:spcAft>
                <a:spcPts val="600"/>
              </a:spcAft>
              <a:defRPr sz="1100"/>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effectLst/>
                <a:uLnTx/>
                <a:uFillTx/>
                <a:latin typeface="ES Build Neutral"/>
                <a:ea typeface="+mn-ea"/>
                <a:cs typeface="+mn-cs"/>
              </a:rPr>
              <a:t>Microsoft </a:t>
            </a:r>
            <a:br>
              <a:rPr kumimoji="0" lang="en-US" sz="900" b="0" i="0" u="none" strike="noStrike" kern="1200" cap="none" spc="0" normalizeH="0" baseline="0" noProof="0">
                <a:ln>
                  <a:noFill/>
                </a:ln>
                <a:effectLst/>
                <a:uLnTx/>
                <a:uFillTx/>
                <a:latin typeface="ES Build Neutral"/>
                <a:ea typeface="+mn-ea"/>
                <a:cs typeface="+mn-cs"/>
              </a:rPr>
            </a:br>
            <a:r>
              <a:rPr kumimoji="0" lang="en-US" sz="900" b="0" i="0" u="none" strike="noStrike" kern="1200" cap="none" spc="0" normalizeH="0" baseline="0" noProof="0">
                <a:ln>
                  <a:noFill/>
                </a:ln>
                <a:effectLst/>
                <a:uLnTx/>
                <a:uFillTx/>
                <a:latin typeface="ES Build Neutral"/>
                <a:ea typeface="+mn-ea"/>
                <a:cs typeface="+mn-cs"/>
              </a:rPr>
              <a:t>Hyper-V CBT</a:t>
            </a:r>
          </a:p>
        </p:txBody>
      </p:sp>
      <p:sp>
        <p:nvSpPr>
          <p:cNvPr id="22" name="Oval 21">
            <a:extLst>
              <a:ext uri="{FF2B5EF4-FFF2-40B4-BE49-F238E27FC236}">
                <a16:creationId xmlns:a16="http://schemas.microsoft.com/office/drawing/2014/main" id="{6139110E-77BC-6DBD-7460-B9BD999AEF45}"/>
              </a:ext>
            </a:extLst>
          </p:cNvPr>
          <p:cNvSpPr>
            <a:spLocks/>
          </p:cNvSpPr>
          <p:nvPr/>
        </p:nvSpPr>
        <p:spPr>
          <a:xfrm>
            <a:off x="2771517" y="3062414"/>
            <a:ext cx="109728" cy="109728"/>
          </a:xfrm>
          <a:prstGeom prst="ellipse">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ES Build" pitchFamily="50" charset="0"/>
              <a:ea typeface="+mn-ea"/>
              <a:cs typeface="Microsoft Sans Serif" panose="020B0604020202020204" pitchFamily="34" charset="0"/>
            </a:endParaRPr>
          </a:p>
        </p:txBody>
      </p:sp>
      <p:sp>
        <p:nvSpPr>
          <p:cNvPr id="24" name="TextBox 23">
            <a:extLst>
              <a:ext uri="{FF2B5EF4-FFF2-40B4-BE49-F238E27FC236}">
                <a16:creationId xmlns:a16="http://schemas.microsoft.com/office/drawing/2014/main" id="{B47EE0DD-476E-B900-4DB9-E99F582B9800}"/>
              </a:ext>
            </a:extLst>
          </p:cNvPr>
          <p:cNvSpPr txBox="1"/>
          <p:nvPr/>
        </p:nvSpPr>
        <p:spPr>
          <a:xfrm>
            <a:off x="3466899" y="3739175"/>
            <a:ext cx="1347136" cy="795987"/>
          </a:xfrm>
          <a:prstGeom prst="rect">
            <a:avLst/>
          </a:prstGeom>
          <a:noFill/>
        </p:spPr>
        <p:txBody>
          <a:bodyPr wrap="square" rtlCol="0">
            <a:spAutoFit/>
          </a:bodyPr>
          <a:lstStyle>
            <a:defPPr>
              <a:defRPr lang="en-US"/>
            </a:defPPr>
            <a:lvl1pPr algn="ctr">
              <a:lnSpc>
                <a:spcPct val="90000"/>
              </a:lnSpc>
              <a:spcAft>
                <a:spcPts val="600"/>
              </a:spcAft>
              <a:defRPr sz="1100"/>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effectLst/>
                <a:uLnTx/>
                <a:uFillTx/>
                <a:latin typeface="ES Build Neutral"/>
                <a:ea typeface="+mn-ea"/>
                <a:cs typeface="+mn-cs"/>
              </a:rPr>
              <a:t>Built-in WAN acceleration</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effectLst/>
                <a:uLnTx/>
                <a:uFillTx/>
                <a:latin typeface="ES Build Neutral"/>
                <a:ea typeface="+mn-ea"/>
                <a:cs typeface="+mn-cs"/>
              </a:rPr>
              <a:t>Backup and Restore directly from Storage Snapshots </a:t>
            </a:r>
          </a:p>
        </p:txBody>
      </p:sp>
      <p:sp>
        <p:nvSpPr>
          <p:cNvPr id="52" name="Oval 51">
            <a:extLst>
              <a:ext uri="{FF2B5EF4-FFF2-40B4-BE49-F238E27FC236}">
                <a16:creationId xmlns:a16="http://schemas.microsoft.com/office/drawing/2014/main" id="{FD47FF8A-7C36-4630-BB63-4722A503359A}"/>
              </a:ext>
            </a:extLst>
          </p:cNvPr>
          <p:cNvSpPr>
            <a:spLocks/>
          </p:cNvSpPr>
          <p:nvPr/>
        </p:nvSpPr>
        <p:spPr>
          <a:xfrm>
            <a:off x="4085603" y="3065955"/>
            <a:ext cx="109728" cy="109728"/>
          </a:xfrm>
          <a:prstGeom prst="ellipse">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ES Build" pitchFamily="50" charset="0"/>
              <a:ea typeface="+mn-ea"/>
              <a:cs typeface="Microsoft Sans Serif" panose="020B0604020202020204" pitchFamily="34" charset="0"/>
            </a:endParaRPr>
          </a:p>
        </p:txBody>
      </p:sp>
      <p:sp>
        <p:nvSpPr>
          <p:cNvPr id="54" name="TextBox 53">
            <a:extLst>
              <a:ext uri="{FF2B5EF4-FFF2-40B4-BE49-F238E27FC236}">
                <a16:creationId xmlns:a16="http://schemas.microsoft.com/office/drawing/2014/main" id="{09C90008-1D84-A4E6-DA6F-3ECAFDEA53BD}"/>
              </a:ext>
            </a:extLst>
          </p:cNvPr>
          <p:cNvSpPr txBox="1"/>
          <p:nvPr/>
        </p:nvSpPr>
        <p:spPr>
          <a:xfrm>
            <a:off x="4195331" y="2154381"/>
            <a:ext cx="1214100" cy="345094"/>
          </a:xfrm>
          <a:prstGeom prst="rect">
            <a:avLst/>
          </a:prstGeom>
          <a:noFill/>
        </p:spPr>
        <p:txBody>
          <a:bodyPr wrap="square" rtlCol="0" anchor="b">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effectLst/>
                <a:uLnTx/>
                <a:uFillTx/>
                <a:latin typeface="ES Build Neutral"/>
                <a:ea typeface="+mn-ea"/>
                <a:cs typeface="+mn-cs"/>
              </a:rPr>
              <a:t>Cloud Connect Backup</a:t>
            </a:r>
          </a:p>
        </p:txBody>
      </p:sp>
      <p:sp>
        <p:nvSpPr>
          <p:cNvPr id="56" name="Oval 55">
            <a:extLst>
              <a:ext uri="{FF2B5EF4-FFF2-40B4-BE49-F238E27FC236}">
                <a16:creationId xmlns:a16="http://schemas.microsoft.com/office/drawing/2014/main" id="{F3F3E4F0-60BB-1DC3-BE66-7299EDA3EC4D}"/>
              </a:ext>
            </a:extLst>
          </p:cNvPr>
          <p:cNvSpPr>
            <a:spLocks/>
          </p:cNvSpPr>
          <p:nvPr/>
        </p:nvSpPr>
        <p:spPr>
          <a:xfrm>
            <a:off x="4747517" y="3062414"/>
            <a:ext cx="109728" cy="109728"/>
          </a:xfrm>
          <a:prstGeom prst="ellipse">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ES Build" pitchFamily="50" charset="0"/>
              <a:ea typeface="+mn-ea"/>
              <a:cs typeface="Microsoft Sans Serif" panose="020B0604020202020204" pitchFamily="34" charset="0"/>
            </a:endParaRPr>
          </a:p>
        </p:txBody>
      </p:sp>
      <p:sp>
        <p:nvSpPr>
          <p:cNvPr id="58" name="TextBox 57">
            <a:extLst>
              <a:ext uri="{FF2B5EF4-FFF2-40B4-BE49-F238E27FC236}">
                <a16:creationId xmlns:a16="http://schemas.microsoft.com/office/drawing/2014/main" id="{0CE053C0-8311-2AFF-68A3-BE739C660CC3}"/>
              </a:ext>
            </a:extLst>
          </p:cNvPr>
          <p:cNvSpPr txBox="1"/>
          <p:nvPr/>
        </p:nvSpPr>
        <p:spPr>
          <a:xfrm>
            <a:off x="4650758" y="3735630"/>
            <a:ext cx="1663014" cy="1353063"/>
          </a:xfrm>
          <a:prstGeom prst="rect">
            <a:avLst/>
          </a:prstGeom>
          <a:noFill/>
        </p:spPr>
        <p:txBody>
          <a:bodyPr wrap="square" rtlCol="0">
            <a:spAutoFit/>
          </a:bodyPr>
          <a:lstStyle>
            <a:defPPr>
              <a:defRPr lang="en-US"/>
            </a:defPPr>
            <a:lvl1pPr algn="ctr">
              <a:lnSpc>
                <a:spcPct val="90000"/>
              </a:lnSpc>
              <a:spcAft>
                <a:spcPts val="600"/>
              </a:spcAft>
              <a:defRPr sz="1100"/>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effectLst/>
                <a:uLnTx/>
                <a:uFillTx/>
                <a:latin typeface="ES Build Neutral"/>
                <a:ea typeface="+mn-ea"/>
                <a:cs typeface="+mn-cs"/>
              </a:rPr>
              <a:t>Scale-out Backup Repository</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effectLst/>
                <a:uLnTx/>
                <a:uFillTx/>
                <a:latin typeface="ES Build Neutral"/>
                <a:ea typeface="+mn-ea"/>
                <a:cs typeface="+mn-cs"/>
              </a:rPr>
              <a:t>Driverless CBT for Windows</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err="1">
                <a:ln>
                  <a:noFill/>
                </a:ln>
                <a:effectLst/>
                <a:uLnTx/>
                <a:uFillTx/>
                <a:latin typeface="ES Build Neutral"/>
                <a:ea typeface="+mn-ea"/>
                <a:cs typeface="+mn-cs"/>
              </a:rPr>
              <a:t>BitLooker</a:t>
            </a:r>
            <a:endParaRPr kumimoji="0" lang="en-US" sz="900" b="0" i="0" u="none" strike="noStrike" kern="1200" cap="none" spc="0" normalizeH="0" baseline="0" noProof="0">
              <a:ln>
                <a:noFill/>
              </a:ln>
              <a:effectLst/>
              <a:uLnTx/>
              <a:uFillTx/>
              <a:latin typeface="ES Build Neutral"/>
              <a:ea typeface="+mn-ea"/>
              <a:cs typeface="+mn-cs"/>
            </a:endParaRP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effectLst/>
                <a:uLnTx/>
                <a:uFillTx/>
                <a:latin typeface="ES Build Neutral"/>
                <a:ea typeface="+mn-ea"/>
                <a:cs typeface="+mn-cs"/>
              </a:rPr>
              <a:t>Backup I/O Control</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effectLst/>
                <a:uLnTx/>
                <a:uFillTx/>
                <a:latin typeface="ES Build Neutral"/>
                <a:ea typeface="+mn-ea"/>
                <a:cs typeface="+mn-cs"/>
              </a:rPr>
              <a:t>Cloud Connect Replication</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effectLst/>
                <a:uLnTx/>
                <a:uFillTx/>
                <a:latin typeface="ES Build Neutral"/>
                <a:ea typeface="+mn-ea"/>
                <a:cs typeface="+mn-cs"/>
              </a:rPr>
              <a:t>On-Demand Sandbox on Storage Snapshots</a:t>
            </a:r>
          </a:p>
        </p:txBody>
      </p:sp>
      <p:sp>
        <p:nvSpPr>
          <p:cNvPr id="61" name="Oval 60">
            <a:extLst>
              <a:ext uri="{FF2B5EF4-FFF2-40B4-BE49-F238E27FC236}">
                <a16:creationId xmlns:a16="http://schemas.microsoft.com/office/drawing/2014/main" id="{2EDFA80A-EF2B-EEB0-3D32-45DC94C1DE32}"/>
              </a:ext>
            </a:extLst>
          </p:cNvPr>
          <p:cNvSpPr>
            <a:spLocks/>
          </p:cNvSpPr>
          <p:nvPr/>
        </p:nvSpPr>
        <p:spPr>
          <a:xfrm>
            <a:off x="5388741" y="3062410"/>
            <a:ext cx="109728" cy="109728"/>
          </a:xfrm>
          <a:prstGeom prst="ellipse">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ES Build" pitchFamily="50" charset="0"/>
              <a:ea typeface="+mn-ea"/>
              <a:cs typeface="Microsoft Sans Serif" panose="020B0604020202020204" pitchFamily="34" charset="0"/>
            </a:endParaRPr>
          </a:p>
        </p:txBody>
      </p:sp>
      <p:sp>
        <p:nvSpPr>
          <p:cNvPr id="64" name="TextBox 63">
            <a:extLst>
              <a:ext uri="{FF2B5EF4-FFF2-40B4-BE49-F238E27FC236}">
                <a16:creationId xmlns:a16="http://schemas.microsoft.com/office/drawing/2014/main" id="{3EF3C635-31FA-2F45-3AF7-066F890B6D53}"/>
              </a:ext>
            </a:extLst>
          </p:cNvPr>
          <p:cNvSpPr txBox="1"/>
          <p:nvPr/>
        </p:nvSpPr>
        <p:spPr>
          <a:xfrm>
            <a:off x="5481140" y="2029731"/>
            <a:ext cx="1214100" cy="469744"/>
          </a:xfrm>
          <a:prstGeom prst="rect">
            <a:avLst/>
          </a:prstGeom>
          <a:noFill/>
        </p:spPr>
        <p:txBody>
          <a:bodyPr wrap="square" rtlCol="0" anchor="b">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effectLst/>
                <a:uLnTx/>
                <a:uFillTx/>
                <a:latin typeface="ES Build Neutral"/>
                <a:ea typeface="+mn-ea"/>
                <a:cs typeface="+mn-cs"/>
              </a:rPr>
              <a:t>Instant recovery from ANY backup to VMware vSphere</a:t>
            </a:r>
          </a:p>
        </p:txBody>
      </p:sp>
      <p:sp>
        <p:nvSpPr>
          <p:cNvPr id="66" name="Oval 65">
            <a:extLst>
              <a:ext uri="{FF2B5EF4-FFF2-40B4-BE49-F238E27FC236}">
                <a16:creationId xmlns:a16="http://schemas.microsoft.com/office/drawing/2014/main" id="{C31FC2BC-AD96-E5B1-D8FB-48167CC592AE}"/>
              </a:ext>
            </a:extLst>
          </p:cNvPr>
          <p:cNvSpPr>
            <a:spLocks/>
          </p:cNvSpPr>
          <p:nvPr/>
        </p:nvSpPr>
        <p:spPr>
          <a:xfrm>
            <a:off x="6033326" y="3062414"/>
            <a:ext cx="109728" cy="109728"/>
          </a:xfrm>
          <a:prstGeom prst="ellipse">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ES Build" pitchFamily="50" charset="0"/>
              <a:ea typeface="+mn-ea"/>
              <a:cs typeface="Microsoft Sans Serif" panose="020B0604020202020204" pitchFamily="34" charset="0"/>
            </a:endParaRPr>
          </a:p>
        </p:txBody>
      </p:sp>
      <p:sp>
        <p:nvSpPr>
          <p:cNvPr id="69" name="TextBox 68">
            <a:extLst>
              <a:ext uri="{FF2B5EF4-FFF2-40B4-BE49-F238E27FC236}">
                <a16:creationId xmlns:a16="http://schemas.microsoft.com/office/drawing/2014/main" id="{EBAF527B-2665-9436-2375-6F84F7F9D3E7}"/>
              </a:ext>
            </a:extLst>
          </p:cNvPr>
          <p:cNvSpPr txBox="1"/>
          <p:nvPr/>
        </p:nvSpPr>
        <p:spPr>
          <a:xfrm>
            <a:off x="5967247" y="3735630"/>
            <a:ext cx="1663014" cy="671338"/>
          </a:xfrm>
          <a:prstGeom prst="rect">
            <a:avLst/>
          </a:prstGeom>
          <a:noFill/>
        </p:spPr>
        <p:txBody>
          <a:bodyPr wrap="square" rtlCol="0">
            <a:spAutoFit/>
          </a:bodyPr>
          <a:lstStyle>
            <a:defPPr>
              <a:defRPr lang="en-US"/>
            </a:defPPr>
            <a:lvl1pPr algn="ctr">
              <a:lnSpc>
                <a:spcPct val="90000"/>
              </a:lnSpc>
              <a:spcAft>
                <a:spcPts val="600"/>
              </a:spcAft>
              <a:defRPr sz="1100"/>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effectLst/>
                <a:uLnTx/>
                <a:uFillTx/>
                <a:latin typeface="ES Build Neutral"/>
                <a:ea typeface="+mn-ea"/>
                <a:cs typeface="+mn-cs"/>
              </a:rPr>
              <a:t>Universal Storage </a:t>
            </a:r>
            <a:br>
              <a:rPr kumimoji="0" lang="en-US" sz="900" b="0" i="0" u="none" strike="noStrike" kern="1200" cap="none" spc="0" normalizeH="0" baseline="0" noProof="0">
                <a:ln>
                  <a:noFill/>
                </a:ln>
                <a:effectLst/>
                <a:uLnTx/>
                <a:uFillTx/>
                <a:latin typeface="ES Build Neutral"/>
                <a:ea typeface="+mn-ea"/>
                <a:cs typeface="+mn-cs"/>
              </a:rPr>
            </a:br>
            <a:r>
              <a:rPr kumimoji="0" lang="en-US" sz="900" b="0" i="0" u="none" strike="noStrike" kern="1200" cap="none" spc="0" normalizeH="0" baseline="0" noProof="0">
                <a:ln>
                  <a:noFill/>
                </a:ln>
                <a:effectLst/>
                <a:uLnTx/>
                <a:uFillTx/>
                <a:latin typeface="ES Build Neutral"/>
                <a:ea typeface="+mn-ea"/>
                <a:cs typeface="+mn-cs"/>
              </a:rPr>
              <a:t>API</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effectLst/>
                <a:uLnTx/>
                <a:uFillTx/>
                <a:latin typeface="ES Build Neutral"/>
                <a:ea typeface="+mn-ea"/>
                <a:cs typeface="+mn-cs"/>
              </a:rPr>
              <a:t>Block Cloning </a:t>
            </a:r>
            <a:br>
              <a:rPr kumimoji="0" lang="en-US" sz="900" b="0" i="0" u="none" strike="noStrike" kern="1200" cap="none" spc="0" normalizeH="0" baseline="0" noProof="0">
                <a:ln>
                  <a:noFill/>
                </a:ln>
                <a:effectLst/>
                <a:uLnTx/>
                <a:uFillTx/>
                <a:latin typeface="ES Build Neutral"/>
                <a:ea typeface="+mn-ea"/>
                <a:cs typeface="+mn-cs"/>
              </a:rPr>
            </a:br>
            <a:r>
              <a:rPr kumimoji="0" lang="en-US" sz="900" b="0" i="0" u="none" strike="noStrike" kern="1200" cap="none" spc="0" normalizeH="0" baseline="0" noProof="0">
                <a:ln>
                  <a:noFill/>
                </a:ln>
                <a:effectLst/>
                <a:uLnTx/>
                <a:uFillTx/>
                <a:latin typeface="ES Build Neutral"/>
                <a:ea typeface="+mn-ea"/>
                <a:cs typeface="+mn-cs"/>
              </a:rPr>
              <a:t>integration</a:t>
            </a:r>
          </a:p>
        </p:txBody>
      </p:sp>
      <p:sp>
        <p:nvSpPr>
          <p:cNvPr id="72" name="Oval 71">
            <a:extLst>
              <a:ext uri="{FF2B5EF4-FFF2-40B4-BE49-F238E27FC236}">
                <a16:creationId xmlns:a16="http://schemas.microsoft.com/office/drawing/2014/main" id="{38E40EEE-B856-4525-985B-6E2F110E5B14}"/>
              </a:ext>
            </a:extLst>
          </p:cNvPr>
          <p:cNvSpPr>
            <a:spLocks/>
          </p:cNvSpPr>
          <p:nvPr/>
        </p:nvSpPr>
        <p:spPr>
          <a:xfrm>
            <a:off x="6705230" y="3062410"/>
            <a:ext cx="109728" cy="109728"/>
          </a:xfrm>
          <a:prstGeom prst="ellipse">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ES Build" pitchFamily="50" charset="0"/>
              <a:ea typeface="+mn-ea"/>
              <a:cs typeface="Microsoft Sans Serif" panose="020B0604020202020204" pitchFamily="34" charset="0"/>
            </a:endParaRPr>
          </a:p>
        </p:txBody>
      </p:sp>
      <p:sp>
        <p:nvSpPr>
          <p:cNvPr id="75" name="TextBox 74">
            <a:extLst>
              <a:ext uri="{FF2B5EF4-FFF2-40B4-BE49-F238E27FC236}">
                <a16:creationId xmlns:a16="http://schemas.microsoft.com/office/drawing/2014/main" id="{C634ED78-3C8C-27EF-DD20-2967FBB43937}"/>
              </a:ext>
            </a:extLst>
          </p:cNvPr>
          <p:cNvSpPr txBox="1"/>
          <p:nvPr/>
        </p:nvSpPr>
        <p:spPr>
          <a:xfrm>
            <a:off x="7288008" y="3735630"/>
            <a:ext cx="1663014" cy="671338"/>
          </a:xfrm>
          <a:prstGeom prst="rect">
            <a:avLst/>
          </a:prstGeom>
          <a:noFill/>
        </p:spPr>
        <p:txBody>
          <a:bodyPr wrap="square" rtlCol="0">
            <a:spAutoFit/>
          </a:bodyPr>
          <a:lstStyle>
            <a:defPPr>
              <a:defRPr lang="en-US"/>
            </a:defPPr>
            <a:lvl1pPr algn="ctr">
              <a:lnSpc>
                <a:spcPct val="90000"/>
              </a:lnSpc>
              <a:spcAft>
                <a:spcPts val="600"/>
              </a:spcAft>
              <a:defRPr sz="1100"/>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effectLst/>
                <a:uLnTx/>
                <a:uFillTx/>
                <a:latin typeface="ES Build Neutral"/>
                <a:ea typeface="+mn-ea"/>
                <a:cs typeface="+mn-cs"/>
              </a:rPr>
              <a:t>Secure </a:t>
            </a:r>
            <a:br>
              <a:rPr kumimoji="0" lang="en-US" sz="900" b="0" i="0" u="none" strike="noStrike" kern="1200" cap="none" spc="0" normalizeH="0" baseline="0" noProof="0">
                <a:ln>
                  <a:noFill/>
                </a:ln>
                <a:effectLst/>
                <a:uLnTx/>
                <a:uFillTx/>
                <a:latin typeface="ES Build Neutral"/>
                <a:ea typeface="+mn-ea"/>
                <a:cs typeface="+mn-cs"/>
              </a:rPr>
            </a:br>
            <a:r>
              <a:rPr kumimoji="0" lang="en-US" sz="900" b="0" i="0" u="none" strike="noStrike" kern="1200" cap="none" spc="0" normalizeH="0" baseline="0" noProof="0">
                <a:ln>
                  <a:noFill/>
                </a:ln>
                <a:effectLst/>
                <a:uLnTx/>
                <a:uFillTx/>
                <a:latin typeface="ES Build Neutral"/>
                <a:ea typeface="+mn-ea"/>
                <a:cs typeface="+mn-cs"/>
              </a:rPr>
              <a:t>Restore</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effectLst/>
                <a:uLnTx/>
                <a:uFillTx/>
                <a:latin typeface="ES Build Neutral"/>
                <a:ea typeface="+mn-ea"/>
                <a:cs typeface="+mn-cs"/>
              </a:rPr>
              <a:t>Staged </a:t>
            </a:r>
            <a:br>
              <a:rPr kumimoji="0" lang="en-US" sz="900" b="0" i="0" u="none" strike="noStrike" kern="1200" cap="none" spc="0" normalizeH="0" baseline="0" noProof="0">
                <a:ln>
                  <a:noFill/>
                </a:ln>
                <a:effectLst/>
                <a:uLnTx/>
                <a:uFillTx/>
                <a:latin typeface="ES Build Neutral"/>
                <a:ea typeface="+mn-ea"/>
                <a:cs typeface="+mn-cs"/>
              </a:rPr>
            </a:br>
            <a:r>
              <a:rPr kumimoji="0" lang="en-US" sz="900" b="0" i="0" u="none" strike="noStrike" kern="1200" cap="none" spc="0" normalizeH="0" baseline="0" noProof="0">
                <a:ln>
                  <a:noFill/>
                </a:ln>
                <a:effectLst/>
                <a:uLnTx/>
                <a:uFillTx/>
                <a:latin typeface="ES Build Neutral"/>
                <a:ea typeface="+mn-ea"/>
                <a:cs typeface="+mn-cs"/>
              </a:rPr>
              <a:t>Restore</a:t>
            </a:r>
          </a:p>
        </p:txBody>
      </p:sp>
      <p:sp>
        <p:nvSpPr>
          <p:cNvPr id="78" name="Oval 77">
            <a:extLst>
              <a:ext uri="{FF2B5EF4-FFF2-40B4-BE49-F238E27FC236}">
                <a16:creationId xmlns:a16="http://schemas.microsoft.com/office/drawing/2014/main" id="{4994E722-0CDA-0D03-22CA-F3DE661E6775}"/>
              </a:ext>
            </a:extLst>
          </p:cNvPr>
          <p:cNvSpPr>
            <a:spLocks/>
          </p:cNvSpPr>
          <p:nvPr/>
        </p:nvSpPr>
        <p:spPr>
          <a:xfrm>
            <a:off x="8025991" y="3062410"/>
            <a:ext cx="109728" cy="109728"/>
          </a:xfrm>
          <a:prstGeom prst="ellipse">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ES Build" pitchFamily="50" charset="0"/>
              <a:ea typeface="+mn-ea"/>
              <a:cs typeface="Microsoft Sans Serif" panose="020B0604020202020204" pitchFamily="34" charset="0"/>
            </a:endParaRPr>
          </a:p>
        </p:txBody>
      </p:sp>
      <p:sp>
        <p:nvSpPr>
          <p:cNvPr id="81" name="TextBox 80">
            <a:extLst>
              <a:ext uri="{FF2B5EF4-FFF2-40B4-BE49-F238E27FC236}">
                <a16:creationId xmlns:a16="http://schemas.microsoft.com/office/drawing/2014/main" id="{F8811D36-90F6-FEB3-B2B7-C13537344372}"/>
              </a:ext>
            </a:extLst>
          </p:cNvPr>
          <p:cNvSpPr txBox="1"/>
          <p:nvPr/>
        </p:nvSpPr>
        <p:spPr>
          <a:xfrm>
            <a:off x="8135719" y="2029731"/>
            <a:ext cx="1214100" cy="469744"/>
          </a:xfrm>
          <a:prstGeom prst="rect">
            <a:avLst/>
          </a:prstGeom>
          <a:noFill/>
        </p:spPr>
        <p:txBody>
          <a:bodyPr wrap="square" rtlCol="0" anchor="b">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effectLst/>
                <a:uLnTx/>
                <a:uFillTx/>
                <a:latin typeface="ES Build Neutral"/>
                <a:ea typeface="+mn-ea"/>
                <a:cs typeface="+mn-cs"/>
                <a:sym typeface="Inter"/>
              </a:rPr>
              <a:t>Data</a:t>
            </a:r>
            <a:br>
              <a:rPr kumimoji="0" lang="en-US" sz="900" b="0" i="0" u="none" strike="noStrike" kern="1200" cap="none" spc="0" normalizeH="0" baseline="0" noProof="0">
                <a:ln>
                  <a:noFill/>
                </a:ln>
                <a:effectLst/>
                <a:uLnTx/>
                <a:uFillTx/>
                <a:latin typeface="ES Build Neutral"/>
                <a:ea typeface="+mn-ea"/>
                <a:cs typeface="+mn-cs"/>
                <a:sym typeface="Inter"/>
              </a:rPr>
            </a:br>
            <a:r>
              <a:rPr kumimoji="0" lang="en-US" sz="900" b="0" i="0" u="none" strike="noStrike" kern="1200" cap="none" spc="0" normalizeH="0" baseline="0" noProof="0">
                <a:ln>
                  <a:noFill/>
                </a:ln>
                <a:effectLst/>
                <a:uLnTx/>
                <a:uFillTx/>
                <a:latin typeface="ES Build Neutral"/>
                <a:ea typeface="+mn-ea"/>
                <a:cs typeface="+mn-cs"/>
                <a:sym typeface="Inter"/>
              </a:rPr>
              <a:t> Integration </a:t>
            </a:r>
            <a:br>
              <a:rPr kumimoji="0" lang="en-US" sz="900" b="0" i="0" u="none" strike="noStrike" kern="1200" cap="none" spc="0" normalizeH="0" baseline="0" noProof="0">
                <a:ln>
                  <a:noFill/>
                </a:ln>
                <a:effectLst/>
                <a:uLnTx/>
                <a:uFillTx/>
                <a:latin typeface="ES Build Neutral"/>
                <a:ea typeface="+mn-ea"/>
                <a:cs typeface="+mn-cs"/>
                <a:sym typeface="Inter"/>
              </a:rPr>
            </a:br>
            <a:r>
              <a:rPr kumimoji="0" lang="en-US" sz="900" b="0" i="0" u="none" strike="noStrike" kern="1200" cap="none" spc="0" normalizeH="0" baseline="0" noProof="0">
                <a:ln>
                  <a:noFill/>
                </a:ln>
                <a:effectLst/>
                <a:uLnTx/>
                <a:uFillTx/>
                <a:latin typeface="ES Build Neutral"/>
                <a:ea typeface="+mn-ea"/>
                <a:cs typeface="+mn-cs"/>
                <a:sym typeface="Inter"/>
              </a:rPr>
              <a:t>API</a:t>
            </a:r>
            <a:endParaRPr kumimoji="0" lang="en-US" sz="900" b="0" i="0" u="none" strike="noStrike" kern="1200" cap="none" spc="0" normalizeH="0" baseline="0" noProof="0">
              <a:ln>
                <a:noFill/>
              </a:ln>
              <a:effectLst/>
              <a:uLnTx/>
              <a:uFillTx/>
              <a:latin typeface="ES Build Neutral"/>
              <a:ea typeface="+mn-ea"/>
              <a:cs typeface="+mn-cs"/>
            </a:endParaRPr>
          </a:p>
        </p:txBody>
      </p:sp>
      <p:sp>
        <p:nvSpPr>
          <p:cNvPr id="83" name="Oval 82">
            <a:extLst>
              <a:ext uri="{FF2B5EF4-FFF2-40B4-BE49-F238E27FC236}">
                <a16:creationId xmlns:a16="http://schemas.microsoft.com/office/drawing/2014/main" id="{4819CFAE-D102-156B-8B0D-05BD24C8A31C}"/>
              </a:ext>
            </a:extLst>
          </p:cNvPr>
          <p:cNvSpPr>
            <a:spLocks/>
          </p:cNvSpPr>
          <p:nvPr/>
        </p:nvSpPr>
        <p:spPr>
          <a:xfrm>
            <a:off x="8687905" y="3062414"/>
            <a:ext cx="109728" cy="109728"/>
          </a:xfrm>
          <a:prstGeom prst="ellipse">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ES Build" pitchFamily="50" charset="0"/>
              <a:ea typeface="+mn-ea"/>
              <a:cs typeface="Microsoft Sans Serif" panose="020B0604020202020204" pitchFamily="34" charset="0"/>
            </a:endParaRPr>
          </a:p>
        </p:txBody>
      </p:sp>
      <p:sp>
        <p:nvSpPr>
          <p:cNvPr id="86" name="TextBox 85">
            <a:extLst>
              <a:ext uri="{FF2B5EF4-FFF2-40B4-BE49-F238E27FC236}">
                <a16:creationId xmlns:a16="http://schemas.microsoft.com/office/drawing/2014/main" id="{C672E5BA-F477-4985-2A61-ACF52DB5DBAE}"/>
              </a:ext>
            </a:extLst>
          </p:cNvPr>
          <p:cNvSpPr txBox="1"/>
          <p:nvPr/>
        </p:nvSpPr>
        <p:spPr>
          <a:xfrm>
            <a:off x="8604497" y="3735630"/>
            <a:ext cx="1511045" cy="2350259"/>
          </a:xfrm>
          <a:prstGeom prst="rect">
            <a:avLst/>
          </a:prstGeom>
          <a:noFill/>
        </p:spPr>
        <p:txBody>
          <a:bodyPr wrap="square" rtlCol="0">
            <a:spAutoFit/>
          </a:bodyPr>
          <a:lstStyle>
            <a:defPPr>
              <a:defRPr lang="en-US"/>
            </a:defPPr>
            <a:lvl1pPr algn="ctr">
              <a:lnSpc>
                <a:spcPct val="90000"/>
              </a:lnSpc>
              <a:spcAft>
                <a:spcPts val="600"/>
              </a:spcAft>
              <a:defRPr sz="1100"/>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effectLst/>
                <a:uLnTx/>
                <a:uFillTx/>
                <a:latin typeface="ES Build Neutral"/>
                <a:ea typeface="+mn-ea"/>
                <a:cs typeface="+mn-cs"/>
              </a:rPr>
              <a:t>Hardened Linux Repository with certified immutability</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effectLst/>
                <a:uLnTx/>
                <a:uFillTx/>
                <a:latin typeface="ES Build Neutral"/>
                <a:ea typeface="+mn-ea"/>
                <a:cs typeface="+mn-cs"/>
              </a:rPr>
              <a:t>Kasten Application mobility and disaster recovery (DR)</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effectLst/>
                <a:uLnTx/>
                <a:uFillTx/>
                <a:latin typeface="ES Build Neutral"/>
                <a:ea typeface="+mn-ea"/>
                <a:cs typeface="+mn-cs"/>
              </a:rPr>
              <a:t>Instant Recovery for Nutanix</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effectLst/>
                <a:uLnTx/>
                <a:uFillTx/>
                <a:latin typeface="ES Build Neutral"/>
                <a:ea typeface="+mn-ea"/>
                <a:cs typeface="+mn-cs"/>
              </a:rPr>
              <a:t>Instant Recovery of any image-based backup to Hyper-V </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effectLst/>
                <a:uLnTx/>
                <a:uFillTx/>
                <a:latin typeface="ES Build Neutral"/>
                <a:ea typeface="+mn-ea"/>
                <a:cs typeface="+mn-cs"/>
              </a:rPr>
              <a:t>Instant Recovery for databases</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effectLst/>
                <a:uLnTx/>
                <a:uFillTx/>
                <a:latin typeface="ES Build Neutral"/>
                <a:ea typeface="+mn-ea"/>
                <a:cs typeface="+mn-cs"/>
              </a:rPr>
              <a:t>Instant Recovery for NAS file shares</a:t>
            </a:r>
          </a:p>
        </p:txBody>
      </p:sp>
      <p:sp>
        <p:nvSpPr>
          <p:cNvPr id="89" name="Oval 88">
            <a:extLst>
              <a:ext uri="{FF2B5EF4-FFF2-40B4-BE49-F238E27FC236}">
                <a16:creationId xmlns:a16="http://schemas.microsoft.com/office/drawing/2014/main" id="{AC00626E-554A-4434-106E-2A8C87BFCA1E}"/>
              </a:ext>
            </a:extLst>
          </p:cNvPr>
          <p:cNvSpPr>
            <a:spLocks/>
          </p:cNvSpPr>
          <p:nvPr/>
        </p:nvSpPr>
        <p:spPr>
          <a:xfrm>
            <a:off x="9360104" y="3062410"/>
            <a:ext cx="109728" cy="109728"/>
          </a:xfrm>
          <a:prstGeom prst="ellipse">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ES Build" pitchFamily="50" charset="0"/>
              <a:ea typeface="+mn-ea"/>
              <a:cs typeface="Microsoft Sans Serif" panose="020B0604020202020204" pitchFamily="34" charset="0"/>
            </a:endParaRPr>
          </a:p>
        </p:txBody>
      </p:sp>
      <p:sp>
        <p:nvSpPr>
          <p:cNvPr id="91" name="TextBox 90">
            <a:extLst>
              <a:ext uri="{FF2B5EF4-FFF2-40B4-BE49-F238E27FC236}">
                <a16:creationId xmlns:a16="http://schemas.microsoft.com/office/drawing/2014/main" id="{F0004639-7D76-35E1-5563-89BBC3E2D4B4}"/>
              </a:ext>
            </a:extLst>
          </p:cNvPr>
          <p:cNvSpPr txBox="1"/>
          <p:nvPr/>
        </p:nvSpPr>
        <p:spPr>
          <a:xfrm>
            <a:off x="9456481" y="2154377"/>
            <a:ext cx="1214100" cy="345094"/>
          </a:xfrm>
          <a:prstGeom prst="rect">
            <a:avLst/>
          </a:prstGeom>
          <a:noFill/>
        </p:spPr>
        <p:txBody>
          <a:bodyPr wrap="square" rtlCol="0" anchor="b">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effectLst/>
                <a:uLnTx/>
                <a:uFillTx/>
                <a:latin typeface="ES Build Neutral"/>
                <a:ea typeface="+mn-ea"/>
                <a:cs typeface="+mn-cs"/>
                <a:sym typeface="Inter"/>
              </a:rPr>
              <a:t>Smart Object Storage API</a:t>
            </a:r>
            <a:endParaRPr kumimoji="0" lang="en-US" sz="900" b="0" i="0" u="none" strike="noStrike" kern="1200" cap="none" spc="0" normalizeH="0" baseline="0" noProof="0">
              <a:ln>
                <a:noFill/>
              </a:ln>
              <a:effectLst/>
              <a:uLnTx/>
              <a:uFillTx/>
              <a:latin typeface="ES Build Neutral"/>
              <a:ea typeface="+mn-ea"/>
              <a:cs typeface="+mn-cs"/>
            </a:endParaRPr>
          </a:p>
        </p:txBody>
      </p:sp>
      <p:sp>
        <p:nvSpPr>
          <p:cNvPr id="93" name="Oval 92">
            <a:extLst>
              <a:ext uri="{FF2B5EF4-FFF2-40B4-BE49-F238E27FC236}">
                <a16:creationId xmlns:a16="http://schemas.microsoft.com/office/drawing/2014/main" id="{4D2E4287-EE6D-437F-D6CC-98D83F69B826}"/>
              </a:ext>
            </a:extLst>
          </p:cNvPr>
          <p:cNvSpPr>
            <a:spLocks/>
          </p:cNvSpPr>
          <p:nvPr/>
        </p:nvSpPr>
        <p:spPr>
          <a:xfrm>
            <a:off x="10008667" y="3062410"/>
            <a:ext cx="109728" cy="109728"/>
          </a:xfrm>
          <a:prstGeom prst="ellipse">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ES Build" pitchFamily="50" charset="0"/>
              <a:ea typeface="+mn-ea"/>
              <a:cs typeface="Microsoft Sans Serif" panose="020B0604020202020204" pitchFamily="34" charset="0"/>
            </a:endParaRPr>
          </a:p>
        </p:txBody>
      </p:sp>
      <p:sp>
        <p:nvSpPr>
          <p:cNvPr id="95" name="TextBox 94">
            <a:extLst>
              <a:ext uri="{FF2B5EF4-FFF2-40B4-BE49-F238E27FC236}">
                <a16:creationId xmlns:a16="http://schemas.microsoft.com/office/drawing/2014/main" id="{74734C96-C145-EA5F-F1E4-8533F082312F}"/>
              </a:ext>
            </a:extLst>
          </p:cNvPr>
          <p:cNvSpPr txBox="1"/>
          <p:nvPr/>
        </p:nvSpPr>
        <p:spPr>
          <a:xfrm>
            <a:off x="10032304" y="3735630"/>
            <a:ext cx="1424439" cy="2053254"/>
          </a:xfrm>
          <a:prstGeom prst="rect">
            <a:avLst/>
          </a:prstGeom>
          <a:noFill/>
        </p:spPr>
        <p:txBody>
          <a:bodyPr wrap="square" rtlCol="0">
            <a:spAutoFit/>
          </a:bodyPr>
          <a:lstStyle>
            <a:defPPr>
              <a:defRPr lang="en-US"/>
            </a:defPPr>
            <a:lvl1pPr algn="ctr">
              <a:lnSpc>
                <a:spcPct val="90000"/>
              </a:lnSpc>
              <a:spcAft>
                <a:spcPts val="600"/>
              </a:spcAft>
              <a:defRPr sz="1100"/>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effectLst/>
                <a:uLnTx/>
                <a:uFillTx/>
                <a:latin typeface="ES Build Neutral"/>
                <a:ea typeface="+mn-ea"/>
                <a:cs typeface="+mn-cs"/>
              </a:rPr>
              <a:t>AI-Powered inline malware detection</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effectLst/>
                <a:uLnTx/>
                <a:uFillTx/>
                <a:latin typeface="ES Build Neutral"/>
                <a:ea typeface="+mn-ea"/>
                <a:cs typeface="+mn-cs"/>
              </a:rPr>
              <a:t>Suspicious file system activity detection</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effectLst/>
                <a:uLnTx/>
                <a:uFillTx/>
                <a:latin typeface="ES Build Neutral"/>
                <a:ea typeface="+mn-ea"/>
                <a:cs typeface="+mn-cs"/>
              </a:rPr>
              <a:t>I/O Anomaly Analyzer</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effectLst/>
                <a:uLnTx/>
                <a:uFillTx/>
                <a:latin typeface="ES Build Neutral"/>
                <a:ea typeface="+mn-ea"/>
                <a:cs typeface="+mn-cs"/>
              </a:rPr>
              <a:t>Veeam Incident API</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effectLst/>
                <a:uLnTx/>
                <a:uFillTx/>
                <a:latin typeface="ES Build Neutral"/>
                <a:ea typeface="+mn-ea"/>
                <a:cs typeface="+mn-cs"/>
              </a:rPr>
              <a:t>Veeam Threat Center</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effectLst/>
                <a:uLnTx/>
                <a:uFillTx/>
                <a:latin typeface="ES Build Neutral"/>
                <a:ea typeface="+mn-ea"/>
                <a:cs typeface="+mn-cs"/>
              </a:rPr>
              <a:t>Orchestrated recovery to Microsoft Azure</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effectLst/>
                <a:uLnTx/>
                <a:uFillTx/>
                <a:latin typeface="ES Build Neutral"/>
                <a:ea typeface="+mn-ea"/>
                <a:cs typeface="+mn-cs"/>
              </a:rPr>
              <a:t>Universal Storage API v2 and Smart Object Storage API v2</a:t>
            </a:r>
          </a:p>
        </p:txBody>
      </p:sp>
      <p:grpSp>
        <p:nvGrpSpPr>
          <p:cNvPr id="2" name="Group 1">
            <a:extLst>
              <a:ext uri="{FF2B5EF4-FFF2-40B4-BE49-F238E27FC236}">
                <a16:creationId xmlns:a16="http://schemas.microsoft.com/office/drawing/2014/main" id="{96A9E70F-A3DD-C30E-9F73-CEA757C1754F}"/>
              </a:ext>
            </a:extLst>
          </p:cNvPr>
          <p:cNvGrpSpPr/>
          <p:nvPr/>
        </p:nvGrpSpPr>
        <p:grpSpPr>
          <a:xfrm>
            <a:off x="1465612" y="3172138"/>
            <a:ext cx="9282043" cy="516237"/>
            <a:chOff x="1465612" y="3172138"/>
            <a:chExt cx="9282043" cy="516237"/>
          </a:xfrm>
        </p:grpSpPr>
        <p:cxnSp>
          <p:nvCxnSpPr>
            <p:cNvPr id="12" name="Straight Connector 11">
              <a:extLst>
                <a:ext uri="{FF2B5EF4-FFF2-40B4-BE49-F238E27FC236}">
                  <a16:creationId xmlns:a16="http://schemas.microsoft.com/office/drawing/2014/main" id="{6BC01F48-9FF6-5566-793E-22135A671F71}"/>
                </a:ext>
              </a:extLst>
            </p:cNvPr>
            <p:cNvCxnSpPr>
              <a:cxnSpLocks/>
            </p:cNvCxnSpPr>
            <p:nvPr/>
          </p:nvCxnSpPr>
          <p:spPr>
            <a:xfrm>
              <a:off x="1465612" y="3172142"/>
              <a:ext cx="2853" cy="512692"/>
            </a:xfrm>
            <a:prstGeom prst="line">
              <a:avLst/>
            </a:prstGeom>
            <a:ln w="6350" cap="rnd">
              <a:solidFill>
                <a:schemeClr val="tx1"/>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6B56AD8-E663-6FAA-800E-22F4754F4747}"/>
                </a:ext>
              </a:extLst>
            </p:cNvPr>
            <p:cNvCxnSpPr>
              <a:cxnSpLocks/>
            </p:cNvCxnSpPr>
            <p:nvPr/>
          </p:nvCxnSpPr>
          <p:spPr>
            <a:xfrm>
              <a:off x="2824955" y="3172142"/>
              <a:ext cx="2853" cy="512692"/>
            </a:xfrm>
            <a:prstGeom prst="line">
              <a:avLst/>
            </a:prstGeom>
            <a:ln w="6350" cap="rnd">
              <a:solidFill>
                <a:schemeClr val="tx1"/>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B48A9D1A-116E-CB71-5A7B-30E21D4F6BF8}"/>
                </a:ext>
              </a:extLst>
            </p:cNvPr>
            <p:cNvCxnSpPr>
              <a:cxnSpLocks/>
            </p:cNvCxnSpPr>
            <p:nvPr/>
          </p:nvCxnSpPr>
          <p:spPr>
            <a:xfrm>
              <a:off x="4139041" y="3175683"/>
              <a:ext cx="2853" cy="512692"/>
            </a:xfrm>
            <a:prstGeom prst="line">
              <a:avLst/>
            </a:prstGeom>
            <a:ln w="6350" cap="rnd">
              <a:solidFill>
                <a:schemeClr val="tx1"/>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FF224983-CA1F-846A-A179-66BA4C2A32AD}"/>
                </a:ext>
              </a:extLst>
            </p:cNvPr>
            <p:cNvCxnSpPr>
              <a:cxnSpLocks/>
            </p:cNvCxnSpPr>
            <p:nvPr/>
          </p:nvCxnSpPr>
          <p:spPr>
            <a:xfrm>
              <a:off x="5442179" y="3172138"/>
              <a:ext cx="2853" cy="512692"/>
            </a:xfrm>
            <a:prstGeom prst="line">
              <a:avLst/>
            </a:prstGeom>
            <a:ln w="6350" cap="rnd">
              <a:solidFill>
                <a:schemeClr val="tx1"/>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7C783872-B23D-AB01-1634-CF78804B141D}"/>
                </a:ext>
              </a:extLst>
            </p:cNvPr>
            <p:cNvCxnSpPr>
              <a:cxnSpLocks/>
            </p:cNvCxnSpPr>
            <p:nvPr/>
          </p:nvCxnSpPr>
          <p:spPr>
            <a:xfrm>
              <a:off x="6758668" y="3172138"/>
              <a:ext cx="2853" cy="512692"/>
            </a:xfrm>
            <a:prstGeom prst="line">
              <a:avLst/>
            </a:prstGeom>
            <a:ln w="6350" cap="rnd">
              <a:solidFill>
                <a:schemeClr val="tx1"/>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9DDFD817-B293-B8D4-EA97-0CA9E0C6385A}"/>
                </a:ext>
              </a:extLst>
            </p:cNvPr>
            <p:cNvCxnSpPr>
              <a:cxnSpLocks/>
            </p:cNvCxnSpPr>
            <p:nvPr/>
          </p:nvCxnSpPr>
          <p:spPr>
            <a:xfrm>
              <a:off x="8079429" y="3172138"/>
              <a:ext cx="2853" cy="512692"/>
            </a:xfrm>
            <a:prstGeom prst="line">
              <a:avLst/>
            </a:prstGeom>
            <a:ln w="6350" cap="rnd">
              <a:solidFill>
                <a:schemeClr val="tx1"/>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2D63984E-838B-388C-FE19-FCA08C550234}"/>
                </a:ext>
              </a:extLst>
            </p:cNvPr>
            <p:cNvCxnSpPr>
              <a:cxnSpLocks/>
            </p:cNvCxnSpPr>
            <p:nvPr/>
          </p:nvCxnSpPr>
          <p:spPr>
            <a:xfrm>
              <a:off x="9413542" y="3172138"/>
              <a:ext cx="2853" cy="512692"/>
            </a:xfrm>
            <a:prstGeom prst="line">
              <a:avLst/>
            </a:prstGeom>
            <a:ln w="6350" cap="rnd">
              <a:solidFill>
                <a:schemeClr val="tx1"/>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2D4F2986-A857-6E48-FDE6-F0598EB1E015}"/>
                </a:ext>
              </a:extLst>
            </p:cNvPr>
            <p:cNvCxnSpPr>
              <a:cxnSpLocks/>
            </p:cNvCxnSpPr>
            <p:nvPr/>
          </p:nvCxnSpPr>
          <p:spPr>
            <a:xfrm>
              <a:off x="10744802" y="3172138"/>
              <a:ext cx="2853" cy="512692"/>
            </a:xfrm>
            <a:prstGeom prst="line">
              <a:avLst/>
            </a:prstGeom>
            <a:ln w="6350" cap="rnd">
              <a:solidFill>
                <a:schemeClr val="tx1"/>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grpSp>
      <p:sp>
        <p:nvSpPr>
          <p:cNvPr id="97" name="Oval 96">
            <a:extLst>
              <a:ext uri="{FF2B5EF4-FFF2-40B4-BE49-F238E27FC236}">
                <a16:creationId xmlns:a16="http://schemas.microsoft.com/office/drawing/2014/main" id="{65DDC63F-8F54-781F-448A-2CC136698E25}"/>
              </a:ext>
            </a:extLst>
          </p:cNvPr>
          <p:cNvSpPr>
            <a:spLocks/>
          </p:cNvSpPr>
          <p:nvPr/>
        </p:nvSpPr>
        <p:spPr>
          <a:xfrm>
            <a:off x="10691364" y="3062410"/>
            <a:ext cx="109728" cy="109728"/>
          </a:xfrm>
          <a:prstGeom prst="ellipse">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ES Build" pitchFamily="50" charset="0"/>
              <a:ea typeface="+mn-ea"/>
              <a:cs typeface="Microsoft Sans Serif" panose="020B0604020202020204" pitchFamily="34" charset="0"/>
            </a:endParaRPr>
          </a:p>
        </p:txBody>
      </p:sp>
      <p:sp>
        <p:nvSpPr>
          <p:cNvPr id="99" name="TextBox 98">
            <a:extLst>
              <a:ext uri="{FF2B5EF4-FFF2-40B4-BE49-F238E27FC236}">
                <a16:creationId xmlns:a16="http://schemas.microsoft.com/office/drawing/2014/main" id="{CF51ED75-1F08-FFEE-36CE-C2705876F810}"/>
              </a:ext>
            </a:extLst>
          </p:cNvPr>
          <p:cNvSpPr txBox="1"/>
          <p:nvPr/>
        </p:nvSpPr>
        <p:spPr>
          <a:xfrm>
            <a:off x="10828909" y="2032372"/>
            <a:ext cx="1214100" cy="469744"/>
          </a:xfrm>
          <a:prstGeom prst="rect">
            <a:avLst/>
          </a:prstGeom>
          <a:noFill/>
        </p:spPr>
        <p:txBody>
          <a:bodyPr wrap="square" rtlCol="0" anchor="b">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a:ln>
                  <a:noFill/>
                </a:ln>
                <a:effectLst/>
                <a:uLnTx/>
                <a:uFillTx/>
                <a:latin typeface="ES Build Neutral"/>
                <a:ea typeface="+mn-ea"/>
                <a:cs typeface="+mn-cs"/>
                <a:sym typeface="Inter"/>
              </a:rPr>
              <a:t>Only E2E cyber resiliency solution in market (</a:t>
            </a:r>
            <a:r>
              <a:rPr kumimoji="0" lang="en-US" sz="900" b="0" i="0" u="none" strike="noStrike" kern="1200" cap="none" spc="0" normalizeH="0" baseline="0" noProof="0" err="1">
                <a:ln>
                  <a:noFill/>
                </a:ln>
                <a:effectLst/>
                <a:uLnTx/>
                <a:uFillTx/>
                <a:latin typeface="ES Build Neutral"/>
                <a:ea typeface="+mn-ea"/>
                <a:cs typeface="+mn-cs"/>
                <a:sym typeface="Inter"/>
              </a:rPr>
              <a:t>Coveware</a:t>
            </a:r>
            <a:r>
              <a:rPr kumimoji="0" lang="en-US" sz="900" b="0" i="0" u="none" strike="noStrike" kern="1200" cap="none" spc="0" normalizeH="0" baseline="0" noProof="0">
                <a:ln>
                  <a:noFill/>
                </a:ln>
                <a:effectLst/>
                <a:uLnTx/>
                <a:uFillTx/>
                <a:latin typeface="ES Build Neutral"/>
                <a:ea typeface="+mn-ea"/>
                <a:cs typeface="+mn-cs"/>
                <a:sym typeface="Inter"/>
              </a:rPr>
              <a:t>)</a:t>
            </a:r>
            <a:endParaRPr kumimoji="0" lang="en-US" sz="900" b="0" i="0" u="none" strike="noStrike" kern="1200" cap="none" spc="0" normalizeH="0" baseline="0" noProof="0">
              <a:ln>
                <a:noFill/>
              </a:ln>
              <a:effectLst/>
              <a:uLnTx/>
              <a:uFillTx/>
              <a:latin typeface="ES Build Neutral"/>
              <a:ea typeface="+mn-ea"/>
              <a:cs typeface="+mn-cs"/>
            </a:endParaRPr>
          </a:p>
        </p:txBody>
      </p:sp>
      <p:grpSp>
        <p:nvGrpSpPr>
          <p:cNvPr id="105" name="Group 104">
            <a:extLst>
              <a:ext uri="{FF2B5EF4-FFF2-40B4-BE49-F238E27FC236}">
                <a16:creationId xmlns:a16="http://schemas.microsoft.com/office/drawing/2014/main" id="{82F49FAB-5226-88CA-FB3B-F3926DB025A5}"/>
              </a:ext>
            </a:extLst>
          </p:cNvPr>
          <p:cNvGrpSpPr/>
          <p:nvPr/>
        </p:nvGrpSpPr>
        <p:grpSpPr>
          <a:xfrm>
            <a:off x="855468" y="2492631"/>
            <a:ext cx="10580491" cy="573328"/>
            <a:chOff x="855468" y="2147416"/>
            <a:chExt cx="10580491" cy="918539"/>
          </a:xfrm>
        </p:grpSpPr>
        <p:cxnSp>
          <p:nvCxnSpPr>
            <p:cNvPr id="14" name="Straight Connector 13">
              <a:extLst>
                <a:ext uri="{FF2B5EF4-FFF2-40B4-BE49-F238E27FC236}">
                  <a16:creationId xmlns:a16="http://schemas.microsoft.com/office/drawing/2014/main" id="{CBB03808-C40C-0219-E075-5FF823B6FF4F}"/>
                </a:ext>
              </a:extLst>
            </p:cNvPr>
            <p:cNvCxnSpPr>
              <a:cxnSpLocks/>
              <a:stCxn id="15" idx="0"/>
              <a:endCxn id="13" idx="2"/>
            </p:cNvCxnSpPr>
            <p:nvPr/>
          </p:nvCxnSpPr>
          <p:spPr>
            <a:xfrm flipV="1">
              <a:off x="855468" y="2158382"/>
              <a:ext cx="0" cy="901895"/>
            </a:xfrm>
            <a:prstGeom prst="line">
              <a:avLst/>
            </a:prstGeom>
            <a:ln w="6350" cap="rnd">
              <a:solidFill>
                <a:schemeClr val="tx1"/>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8E9E866-5121-BA1A-5D6D-83CBB5C806C6}"/>
                </a:ext>
              </a:extLst>
            </p:cNvPr>
            <p:cNvCxnSpPr>
              <a:cxnSpLocks/>
            </p:cNvCxnSpPr>
            <p:nvPr/>
          </p:nvCxnSpPr>
          <p:spPr>
            <a:xfrm flipV="1">
              <a:off x="2170972" y="2147416"/>
              <a:ext cx="14321" cy="918539"/>
            </a:xfrm>
            <a:prstGeom prst="line">
              <a:avLst/>
            </a:prstGeom>
            <a:ln w="6350" cap="rnd">
              <a:solidFill>
                <a:schemeClr val="tx1"/>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9E4B507-B4DA-B2AA-3D25-62442254D4E2}"/>
                </a:ext>
              </a:extLst>
            </p:cNvPr>
            <p:cNvCxnSpPr>
              <a:cxnSpLocks/>
              <a:stCxn id="56" idx="0"/>
              <a:endCxn id="54" idx="2"/>
            </p:cNvCxnSpPr>
            <p:nvPr/>
          </p:nvCxnSpPr>
          <p:spPr>
            <a:xfrm flipV="1">
              <a:off x="4802381" y="2158382"/>
              <a:ext cx="0" cy="901895"/>
            </a:xfrm>
            <a:prstGeom prst="line">
              <a:avLst/>
            </a:prstGeom>
            <a:ln w="6350" cap="rnd">
              <a:solidFill>
                <a:schemeClr val="tx1"/>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932C1FD-0DC8-53CF-52B3-0B20327E3450}"/>
                </a:ext>
              </a:extLst>
            </p:cNvPr>
            <p:cNvCxnSpPr>
              <a:cxnSpLocks/>
              <a:stCxn id="66" idx="0"/>
              <a:endCxn id="64" idx="2"/>
            </p:cNvCxnSpPr>
            <p:nvPr/>
          </p:nvCxnSpPr>
          <p:spPr>
            <a:xfrm flipV="1">
              <a:off x="6088190" y="2158382"/>
              <a:ext cx="0" cy="901895"/>
            </a:xfrm>
            <a:prstGeom prst="line">
              <a:avLst/>
            </a:prstGeom>
            <a:ln w="6350" cap="rnd">
              <a:solidFill>
                <a:schemeClr val="tx1"/>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6FD55E54-2C13-0CF9-AA08-4AC76FB2DD4D}"/>
                </a:ext>
              </a:extLst>
            </p:cNvPr>
            <p:cNvCxnSpPr>
              <a:cxnSpLocks/>
              <a:stCxn id="83" idx="0"/>
              <a:endCxn id="81" idx="2"/>
            </p:cNvCxnSpPr>
            <p:nvPr/>
          </p:nvCxnSpPr>
          <p:spPr>
            <a:xfrm flipV="1">
              <a:off x="8742769" y="2158380"/>
              <a:ext cx="0" cy="901893"/>
            </a:xfrm>
            <a:prstGeom prst="line">
              <a:avLst/>
            </a:prstGeom>
            <a:ln w="6350" cap="rnd">
              <a:solidFill>
                <a:schemeClr val="tx1"/>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3D64D968-3CEC-2371-44EC-FAE2B2596622}"/>
                </a:ext>
              </a:extLst>
            </p:cNvPr>
            <p:cNvCxnSpPr>
              <a:cxnSpLocks/>
              <a:stCxn id="93" idx="0"/>
              <a:endCxn id="91" idx="2"/>
            </p:cNvCxnSpPr>
            <p:nvPr/>
          </p:nvCxnSpPr>
          <p:spPr>
            <a:xfrm flipV="1">
              <a:off x="10063531" y="2158376"/>
              <a:ext cx="0" cy="901893"/>
            </a:xfrm>
            <a:prstGeom prst="line">
              <a:avLst/>
            </a:prstGeom>
            <a:ln w="6350" cap="rnd">
              <a:solidFill>
                <a:schemeClr val="tx1"/>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B78E3668-BE4C-BE91-1821-A6A34EE2A0DE}"/>
                </a:ext>
              </a:extLst>
            </p:cNvPr>
            <p:cNvCxnSpPr>
              <a:cxnSpLocks/>
              <a:stCxn id="101" idx="0"/>
              <a:endCxn id="99" idx="2"/>
            </p:cNvCxnSpPr>
            <p:nvPr/>
          </p:nvCxnSpPr>
          <p:spPr>
            <a:xfrm flipV="1">
              <a:off x="11435959" y="2162612"/>
              <a:ext cx="0" cy="901894"/>
            </a:xfrm>
            <a:prstGeom prst="line">
              <a:avLst/>
            </a:prstGeom>
            <a:ln w="6350" cap="rnd">
              <a:solidFill>
                <a:schemeClr val="tx1"/>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grpSp>
      <p:sp>
        <p:nvSpPr>
          <p:cNvPr id="101" name="Oval 100">
            <a:extLst>
              <a:ext uri="{FF2B5EF4-FFF2-40B4-BE49-F238E27FC236}">
                <a16:creationId xmlns:a16="http://schemas.microsoft.com/office/drawing/2014/main" id="{168A2F04-7CFE-8806-1B47-D17A0497DC32}"/>
              </a:ext>
            </a:extLst>
          </p:cNvPr>
          <p:cNvSpPr>
            <a:spLocks/>
          </p:cNvSpPr>
          <p:nvPr/>
        </p:nvSpPr>
        <p:spPr>
          <a:xfrm>
            <a:off x="11381095" y="3065055"/>
            <a:ext cx="109728" cy="109728"/>
          </a:xfrm>
          <a:prstGeom prst="ellipse">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000" b="0" i="0" u="none" strike="noStrike" kern="1200" cap="none" spc="0" normalizeH="0" baseline="0" noProof="0">
              <a:ln>
                <a:noFill/>
              </a:ln>
              <a:solidFill>
                <a:schemeClr val="tx1"/>
              </a:solidFill>
              <a:effectLst/>
              <a:uLnTx/>
              <a:uFillTx/>
              <a:latin typeface="ES Build" pitchFamily="50" charset="0"/>
              <a:ea typeface="+mn-ea"/>
              <a:cs typeface="Microsoft Sans Serif" panose="020B0604020202020204" pitchFamily="34" charset="0"/>
            </a:endParaRPr>
          </a:p>
        </p:txBody>
      </p:sp>
    </p:spTree>
    <p:extLst>
      <p:ext uri="{BB962C8B-B14F-4D97-AF65-F5344CB8AC3E}">
        <p14:creationId xmlns:p14="http://schemas.microsoft.com/office/powerpoint/2010/main" val="1268543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3" name="Freeform: Shape 42">
            <a:extLst>
              <a:ext uri="{FF2B5EF4-FFF2-40B4-BE49-F238E27FC236}">
                <a16:creationId xmlns:a16="http://schemas.microsoft.com/office/drawing/2014/main" id="{9A37C77F-757C-EAE0-8D1F-5153669B09CA}"/>
              </a:ext>
            </a:extLst>
          </p:cNvPr>
          <p:cNvSpPr/>
          <p:nvPr/>
        </p:nvSpPr>
        <p:spPr>
          <a:xfrm>
            <a:off x="6471920" y="2546350"/>
            <a:ext cx="1971040" cy="1473200"/>
          </a:xfrm>
          <a:custGeom>
            <a:avLst/>
            <a:gdLst>
              <a:gd name="connsiteX0" fmla="*/ 0 w 1727200"/>
              <a:gd name="connsiteY0" fmla="*/ 0 h 1390650"/>
              <a:gd name="connsiteX1" fmla="*/ 1727200 w 1727200"/>
              <a:gd name="connsiteY1" fmla="*/ 0 h 1390650"/>
              <a:gd name="connsiteX2" fmla="*/ 1727200 w 1727200"/>
              <a:gd name="connsiteY2" fmla="*/ 959291 h 1390650"/>
              <a:gd name="connsiteX3" fmla="*/ 1725682 w 1727200"/>
              <a:gd name="connsiteY3" fmla="*/ 959291 h 1390650"/>
              <a:gd name="connsiteX4" fmla="*/ 1725682 w 1727200"/>
              <a:gd name="connsiteY4" fmla="*/ 1258749 h 1390650"/>
              <a:gd name="connsiteX5" fmla="*/ 1593781 w 1727200"/>
              <a:gd name="connsiteY5" fmla="*/ 1390650 h 1390650"/>
              <a:gd name="connsiteX6" fmla="*/ 0 w 1727200"/>
              <a:gd name="connsiteY6" fmla="*/ 1390650 h 1390650"/>
              <a:gd name="connsiteX7" fmla="*/ 0 w 1727200"/>
              <a:gd name="connsiteY7" fmla="*/ 959291 h 1390650"/>
              <a:gd name="connsiteX8" fmla="*/ 0 w 1727200"/>
              <a:gd name="connsiteY8" fmla="*/ 676595 h 1390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27200" h="1390650">
                <a:moveTo>
                  <a:pt x="0" y="0"/>
                </a:moveTo>
                <a:lnTo>
                  <a:pt x="1727200" y="0"/>
                </a:lnTo>
                <a:lnTo>
                  <a:pt x="1727200" y="959291"/>
                </a:lnTo>
                <a:lnTo>
                  <a:pt x="1725682" y="959291"/>
                </a:lnTo>
                <a:lnTo>
                  <a:pt x="1725682" y="1258749"/>
                </a:lnTo>
                <a:lnTo>
                  <a:pt x="1593781" y="1390650"/>
                </a:lnTo>
                <a:lnTo>
                  <a:pt x="0" y="1390650"/>
                </a:lnTo>
                <a:lnTo>
                  <a:pt x="0" y="959291"/>
                </a:lnTo>
                <a:lnTo>
                  <a:pt x="0" y="676595"/>
                </a:lnTo>
                <a:close/>
              </a:path>
            </a:pathLst>
          </a:custGeom>
          <a:solidFill>
            <a:schemeClr val="bg1"/>
          </a:solidFill>
          <a:ln w="12700">
            <a:noFill/>
            <a:headEnd type="none" w="med" len="med"/>
            <a:tailEnd type="none" w="med" len="med"/>
          </a:ln>
          <a:effectLst>
            <a:outerShdw blurRad="152400" sx="102000" sy="102000" algn="ctr" rotWithShape="0">
              <a:prstClr val="black">
                <a:alpha val="1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45720" numCol="1" spcCol="0" rtlCol="0" fromWordArt="0" anchor="b" anchorCtr="0" forceAA="0" compatLnSpc="1">
            <a:prstTxWarp prst="textNoShape">
              <a:avLst/>
            </a:prstTxWarp>
            <a:noAutofit/>
          </a:bodyPr>
          <a:lstStyle/>
          <a:p>
            <a:pPr lvl="3"/>
            <a:endParaRPr lang="en-GB">
              <a:solidFill>
                <a:schemeClr val="lt1"/>
              </a:solidFill>
            </a:endParaRPr>
          </a:p>
        </p:txBody>
      </p:sp>
      <p:sp>
        <p:nvSpPr>
          <p:cNvPr id="201" name="vdp">
            <a:extLst>
              <a:ext uri="{FF2B5EF4-FFF2-40B4-BE49-F238E27FC236}">
                <a16:creationId xmlns:a16="http://schemas.microsoft.com/office/drawing/2014/main" id="{EFEF64C5-F616-ABFB-F495-81D0ED6B2229}"/>
              </a:ext>
            </a:extLst>
          </p:cNvPr>
          <p:cNvSpPr/>
          <p:nvPr/>
        </p:nvSpPr>
        <p:spPr>
          <a:xfrm>
            <a:off x="1082565" y="2322786"/>
            <a:ext cx="8008883" cy="3408748"/>
          </a:xfrm>
          <a:prstGeom prst="roundRect">
            <a:avLst>
              <a:gd name="adj" fmla="val 1814"/>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91440" numCol="1" spcCol="0" rtlCol="0" fromWordArt="0" anchor="b" anchorCtr="0" forceAA="0" compatLnSpc="1">
            <a:prstTxWarp prst="textNoShape">
              <a:avLst/>
            </a:prstTxWarp>
            <a:noAutofit/>
          </a:bodyPr>
          <a:lstStyle/>
          <a:p>
            <a:pPr algn="ctr">
              <a:lnSpc>
                <a:spcPct val="96000"/>
              </a:lnSpc>
            </a:pPr>
            <a:endParaRPr lang="en-US" sz="1100">
              <a:solidFill>
                <a:srgbClr val="505861"/>
              </a:solidFill>
              <a:cs typeface="Microsoft Sans Serif" panose="020B0604020202020204" pitchFamily="34" charset="0"/>
            </a:endParaRPr>
          </a:p>
        </p:txBody>
      </p:sp>
      <p:sp>
        <p:nvSpPr>
          <p:cNvPr id="8" name="title">
            <a:extLst>
              <a:ext uri="{FF2B5EF4-FFF2-40B4-BE49-F238E27FC236}">
                <a16:creationId xmlns:a16="http://schemas.microsoft.com/office/drawing/2014/main" id="{F42BBBA8-63B5-C510-7FC2-18F0C0C7F3B4}"/>
              </a:ext>
            </a:extLst>
          </p:cNvPr>
          <p:cNvSpPr txBox="1"/>
          <p:nvPr/>
        </p:nvSpPr>
        <p:spPr>
          <a:xfrm>
            <a:off x="571500" y="342900"/>
            <a:ext cx="8839200" cy="622300"/>
          </a:xfrm>
          <a:prstGeom prst="rect">
            <a:avLst/>
          </a:prstGeom>
        </p:spPr>
        <p:txBody>
          <a:bodyPr vert="horz" lIns="0" tIns="0" rIns="0" bIns="0" rtlCol="0" anchor="t" anchorCtr="0">
            <a:noAutofit/>
          </a:bodyPr>
          <a:lstStyle>
            <a:defPPr>
              <a:defRPr lang="en-US"/>
            </a:defPPr>
            <a:lvl1pPr algn="ctr">
              <a:lnSpc>
                <a:spcPct val="90000"/>
              </a:lnSpc>
              <a:spcBef>
                <a:spcPct val="0"/>
              </a:spcBef>
              <a:buNone/>
              <a:defRPr sz="3600" b="0" i="0">
                <a:latin typeface="ES Build" pitchFamily="2" charset="77"/>
                <a:ea typeface="ES Build" pitchFamily="2" charset="77"/>
                <a:cs typeface="+mj-cs"/>
              </a:defRPr>
            </a:lvl1pPr>
          </a:lstStyle>
          <a:p>
            <a:r>
              <a:rPr lang="en-US"/>
              <a:t>Introducing Veeam Cloud Vault </a:t>
            </a:r>
          </a:p>
        </p:txBody>
      </p:sp>
      <p:sp>
        <p:nvSpPr>
          <p:cNvPr id="196" name="TextBox 195">
            <a:extLst>
              <a:ext uri="{FF2B5EF4-FFF2-40B4-BE49-F238E27FC236}">
                <a16:creationId xmlns:a16="http://schemas.microsoft.com/office/drawing/2014/main" id="{5D95E45D-4E9C-1894-FB72-64B337284FBC}"/>
              </a:ext>
            </a:extLst>
          </p:cNvPr>
          <p:cNvSpPr txBox="1"/>
          <p:nvPr/>
        </p:nvSpPr>
        <p:spPr>
          <a:xfrm>
            <a:off x="658774" y="990342"/>
            <a:ext cx="8739226" cy="369332"/>
          </a:xfrm>
          <a:prstGeom prst="rect">
            <a:avLst/>
          </a:prstGeom>
          <a:noFill/>
        </p:spPr>
        <p:txBody>
          <a:bodyPr wrap="square" anchor="ctr">
            <a:spAutoFit/>
          </a:bodyPr>
          <a:lstStyle/>
          <a:p>
            <a:pPr algn="ctr"/>
            <a:r>
              <a:rPr lang="en-US">
                <a:solidFill>
                  <a:schemeClr val="accent2"/>
                </a:solidFill>
              </a:rPr>
              <a:t>Secure data management in the cloud optimized for Zero Trust Data Resilience</a:t>
            </a:r>
          </a:p>
        </p:txBody>
      </p:sp>
      <p:sp>
        <p:nvSpPr>
          <p:cNvPr id="9" name="Freeform 42">
            <a:extLst>
              <a:ext uri="{FF2B5EF4-FFF2-40B4-BE49-F238E27FC236}">
                <a16:creationId xmlns:a16="http://schemas.microsoft.com/office/drawing/2014/main" id="{20D8220A-23C1-633B-85F4-8B0F3D54D381}"/>
              </a:ext>
            </a:extLst>
          </p:cNvPr>
          <p:cNvSpPr/>
          <p:nvPr/>
        </p:nvSpPr>
        <p:spPr>
          <a:xfrm>
            <a:off x="5282929" y="2773889"/>
            <a:ext cx="284974" cy="393883"/>
          </a:xfrm>
          <a:custGeom>
            <a:avLst/>
            <a:gdLst>
              <a:gd name="connsiteX0" fmla="*/ 7610 w 194229"/>
              <a:gd name="connsiteY0" fmla="*/ 220582 h 264990"/>
              <a:gd name="connsiteX1" fmla="*/ 55014 w 194229"/>
              <a:gd name="connsiteY1" fmla="*/ 186173 h 264990"/>
              <a:gd name="connsiteX2" fmla="*/ 140672 w 194229"/>
              <a:gd name="connsiteY2" fmla="*/ 90597 h 264990"/>
              <a:gd name="connsiteX3" fmla="*/ 99382 w 194229"/>
              <a:gd name="connsiteY3" fmla="*/ 47404 h 264990"/>
              <a:gd name="connsiteX4" fmla="*/ 53516 w 194229"/>
              <a:gd name="connsiteY4" fmla="*/ 98653 h 264990"/>
              <a:gd name="connsiteX5" fmla="*/ 0 w 194229"/>
              <a:gd name="connsiteY5" fmla="*/ 98653 h 264990"/>
              <a:gd name="connsiteX6" fmla="*/ 99422 w 194229"/>
              <a:gd name="connsiteY6" fmla="*/ 0 h 264990"/>
              <a:gd name="connsiteX7" fmla="*/ 194229 w 194229"/>
              <a:gd name="connsiteY7" fmla="*/ 90638 h 264990"/>
              <a:gd name="connsiteX8" fmla="*/ 116991 w 194229"/>
              <a:gd name="connsiteY8" fmla="*/ 196172 h 264990"/>
              <a:gd name="connsiteX9" fmla="*/ 90597 w 194229"/>
              <a:gd name="connsiteY9" fmla="*/ 214915 h 264990"/>
              <a:gd name="connsiteX10" fmla="*/ 90597 w 194229"/>
              <a:gd name="connsiteY10" fmla="*/ 215279 h 264990"/>
              <a:gd name="connsiteX11" fmla="*/ 192286 w 194229"/>
              <a:gd name="connsiteY11" fmla="*/ 215279 h 264990"/>
              <a:gd name="connsiteX12" fmla="*/ 192286 w 194229"/>
              <a:gd name="connsiteY12" fmla="*/ 264990 h 264990"/>
              <a:gd name="connsiteX13" fmla="*/ 7610 w 194229"/>
              <a:gd name="connsiteY13" fmla="*/ 264990 h 264990"/>
              <a:gd name="connsiteX14" fmla="*/ 7610 w 194229"/>
              <a:gd name="connsiteY14" fmla="*/ 220623 h 264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4229" h="264990">
                <a:moveTo>
                  <a:pt x="7610" y="220582"/>
                </a:moveTo>
                <a:lnTo>
                  <a:pt x="55014" y="186173"/>
                </a:lnTo>
                <a:cubicBezTo>
                  <a:pt x="117720" y="140672"/>
                  <a:pt x="140672" y="121565"/>
                  <a:pt x="140672" y="90597"/>
                </a:cubicBezTo>
                <a:cubicBezTo>
                  <a:pt x="140672" y="64608"/>
                  <a:pt x="124601" y="47404"/>
                  <a:pt x="99382" y="47404"/>
                </a:cubicBezTo>
                <a:cubicBezTo>
                  <a:pt x="68413" y="47404"/>
                  <a:pt x="54285" y="71126"/>
                  <a:pt x="53516" y="98653"/>
                </a:cubicBezTo>
                <a:lnTo>
                  <a:pt x="0" y="98653"/>
                </a:lnTo>
                <a:cubicBezTo>
                  <a:pt x="769" y="47039"/>
                  <a:pt x="34409" y="0"/>
                  <a:pt x="99422" y="0"/>
                </a:cubicBezTo>
                <a:cubicBezTo>
                  <a:pt x="148728" y="0"/>
                  <a:pt x="194229" y="25220"/>
                  <a:pt x="194229" y="90638"/>
                </a:cubicBezTo>
                <a:cubicBezTo>
                  <a:pt x="194229" y="129257"/>
                  <a:pt x="157917" y="167107"/>
                  <a:pt x="116991" y="196172"/>
                </a:cubicBezTo>
                <a:lnTo>
                  <a:pt x="90597" y="214915"/>
                </a:lnTo>
                <a:lnTo>
                  <a:pt x="90597" y="215279"/>
                </a:lnTo>
                <a:lnTo>
                  <a:pt x="192286" y="215279"/>
                </a:lnTo>
                <a:lnTo>
                  <a:pt x="192286" y="264990"/>
                </a:lnTo>
                <a:lnTo>
                  <a:pt x="7610" y="264990"/>
                </a:lnTo>
                <a:lnTo>
                  <a:pt x="7610" y="220623"/>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RU" sz="18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10" name="Arrow: Chevron 108">
            <a:extLst>
              <a:ext uri="{FF2B5EF4-FFF2-40B4-BE49-F238E27FC236}">
                <a16:creationId xmlns:a16="http://schemas.microsoft.com/office/drawing/2014/main" id="{00F92A16-D6AD-CF51-C8AA-E484CEC436F7}"/>
              </a:ext>
            </a:extLst>
          </p:cNvPr>
          <p:cNvSpPr/>
          <p:nvPr/>
        </p:nvSpPr>
        <p:spPr>
          <a:xfrm rot="5400000">
            <a:off x="7223151" y="3533839"/>
            <a:ext cx="484692" cy="735287"/>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ES Build" pitchFamily="50" charset="0"/>
              <a:ea typeface="+mn-ea"/>
              <a:cs typeface="Microsoft Sans Serif" panose="020B0604020202020204" pitchFamily="34" charset="0"/>
            </a:endParaRPr>
          </a:p>
        </p:txBody>
      </p:sp>
      <p:grpSp>
        <p:nvGrpSpPr>
          <p:cNvPr id="19" name="Group 18">
            <a:extLst>
              <a:ext uri="{FF2B5EF4-FFF2-40B4-BE49-F238E27FC236}">
                <a16:creationId xmlns:a16="http://schemas.microsoft.com/office/drawing/2014/main" id="{C9335546-5FE6-1620-C400-DD92C0C6C9F7}"/>
              </a:ext>
            </a:extLst>
          </p:cNvPr>
          <p:cNvGrpSpPr/>
          <p:nvPr/>
        </p:nvGrpSpPr>
        <p:grpSpPr>
          <a:xfrm>
            <a:off x="1675732" y="2625452"/>
            <a:ext cx="1746125" cy="1290622"/>
            <a:chOff x="3675041" y="3621359"/>
            <a:chExt cx="1573747" cy="1163212"/>
          </a:xfrm>
        </p:grpSpPr>
        <p:grpSp>
          <p:nvGrpSpPr>
            <p:cNvPr id="20" name="Group 19">
              <a:extLst>
                <a:ext uri="{FF2B5EF4-FFF2-40B4-BE49-F238E27FC236}">
                  <a16:creationId xmlns:a16="http://schemas.microsoft.com/office/drawing/2014/main" id="{9064B904-EBAE-1317-4828-8494F465AE3F}"/>
                </a:ext>
              </a:extLst>
            </p:cNvPr>
            <p:cNvGrpSpPr/>
            <p:nvPr/>
          </p:nvGrpSpPr>
          <p:grpSpPr>
            <a:xfrm>
              <a:off x="3675041" y="3621359"/>
              <a:ext cx="1573747" cy="1163212"/>
              <a:chOff x="9312560" y="2627412"/>
              <a:chExt cx="1573747" cy="1163212"/>
            </a:xfrm>
          </p:grpSpPr>
          <p:sp>
            <p:nvSpPr>
              <p:cNvPr id="28" name="Freeform 53">
                <a:extLst>
                  <a:ext uri="{FF2B5EF4-FFF2-40B4-BE49-F238E27FC236}">
                    <a16:creationId xmlns:a16="http://schemas.microsoft.com/office/drawing/2014/main" id="{7260835B-43E7-31CF-F7FA-4BCA36C5AD04}"/>
                  </a:ext>
                </a:extLst>
              </p:cNvPr>
              <p:cNvSpPr/>
              <p:nvPr/>
            </p:nvSpPr>
            <p:spPr>
              <a:xfrm>
                <a:off x="9316908" y="3034742"/>
                <a:ext cx="1562158" cy="755882"/>
              </a:xfrm>
              <a:prstGeom prst="snip2DiagRect">
                <a:avLst>
                  <a:gd name="adj1" fmla="val 15592"/>
                  <a:gd name="adj2" fmla="val 0"/>
                </a:avLst>
              </a:prstGeom>
              <a:solidFill>
                <a:schemeClr val="bg1"/>
              </a:solidFill>
              <a:ln w="12700" cap="flat">
                <a:solidFill>
                  <a:srgbClr val="00D15F"/>
                </a:solidFill>
                <a:prstDash val="solid"/>
                <a:miter/>
              </a:ln>
            </p:spPr>
            <p:txBody>
              <a:bodyPr tIns="182880" bIns="182880" rtlCol="0" anchor="ctr"/>
              <a:lstStyle/>
              <a:p>
                <a:pPr marL="0" marR="0" lvl="3" indent="0" algn="l" defTabSz="914400" rtl="0" eaLnBrk="1" fontAlgn="auto" latinLnBrk="0" hangingPunct="1">
                  <a:lnSpc>
                    <a:spcPct val="96000"/>
                  </a:lnSpc>
                  <a:spcBef>
                    <a:spcPts val="300"/>
                  </a:spcBef>
                  <a:spcAft>
                    <a:spcPts val="150"/>
                  </a:spcAft>
                  <a:buClrTx/>
                  <a:buSzTx/>
                  <a:buFontTx/>
                  <a:buNone/>
                  <a:tabLst/>
                  <a:defRPr/>
                </a:pPr>
                <a:r>
                  <a:rPr kumimoji="0" lang="en-GB" sz="1200" b="1" i="0" u="none" strike="noStrike" kern="1200" cap="none" spc="0" normalizeH="0" baseline="0" noProof="0">
                    <a:ln>
                      <a:noFill/>
                    </a:ln>
                    <a:solidFill>
                      <a:srgbClr val="8E71F4"/>
                    </a:solidFill>
                    <a:effectLst/>
                    <a:uLnTx/>
                    <a:uFillTx/>
                    <a:latin typeface="ES Build Neutral"/>
                    <a:ea typeface="ES Build" pitchFamily="2" charset="77"/>
                    <a:cs typeface="+mn-cs"/>
                  </a:rPr>
                  <a:t>Different copies</a:t>
                </a:r>
                <a:endParaRPr kumimoji="0" lang="en-RU" sz="1200" b="1" i="0" u="none" strike="noStrike" kern="1200" cap="none" spc="0" normalizeH="0" baseline="0" noProof="0">
                  <a:ln>
                    <a:noFill/>
                  </a:ln>
                  <a:solidFill>
                    <a:srgbClr val="8E71F4"/>
                  </a:solidFill>
                  <a:effectLst/>
                  <a:uLnTx/>
                  <a:uFillTx/>
                  <a:latin typeface="ES Build Neutral"/>
                  <a:ea typeface="ES Build" pitchFamily="2" charset="77"/>
                  <a:cs typeface="+mn-cs"/>
                </a:endParaRPr>
              </a:p>
            </p:txBody>
          </p:sp>
          <p:sp>
            <p:nvSpPr>
              <p:cNvPr id="29" name="Freeform 54">
                <a:extLst>
                  <a:ext uri="{FF2B5EF4-FFF2-40B4-BE49-F238E27FC236}">
                    <a16:creationId xmlns:a16="http://schemas.microsoft.com/office/drawing/2014/main" id="{5842C67C-2881-D3E4-36D3-98B403A90930}"/>
                  </a:ext>
                </a:extLst>
              </p:cNvPr>
              <p:cNvSpPr/>
              <p:nvPr/>
            </p:nvSpPr>
            <p:spPr>
              <a:xfrm>
                <a:off x="9312560" y="2627412"/>
                <a:ext cx="1573747" cy="543176"/>
              </a:xfrm>
              <a:prstGeom prst="round2SameRect">
                <a:avLst>
                  <a:gd name="adj1" fmla="val 6538"/>
                  <a:gd name="adj2" fmla="val 0"/>
                </a:avLst>
              </a:prstGeom>
              <a:solidFill>
                <a:schemeClr val="accent2"/>
              </a:solidFill>
              <a:ln w="0" cap="flat">
                <a:noFill/>
                <a:prstDash val="solid"/>
                <a:miter/>
              </a:ln>
            </p:spPr>
            <p:txBody>
              <a:bodyPr rtlCol="0" anchor="ctr"/>
              <a:lstStyle/>
              <a:p>
                <a:pPr marL="0" marR="0" lvl="0" indent="0" defTabSz="533400" rtl="0" eaLnBrk="1" fontAlgn="auto" latinLnBrk="0" hangingPunct="1">
                  <a:lnSpc>
                    <a:spcPct val="100000"/>
                  </a:lnSpc>
                  <a:spcBef>
                    <a:spcPts val="0"/>
                  </a:spcBef>
                  <a:spcAft>
                    <a:spcPts val="0"/>
                  </a:spcAft>
                  <a:buClrTx/>
                  <a:buSzTx/>
                  <a:buFontTx/>
                  <a:buNone/>
                  <a:tabLst/>
                  <a:defRPr/>
                </a:pPr>
                <a:r>
                  <a:rPr kumimoji="0" lang="ru-RU" sz="2800" b="1" i="0" u="none" strike="noStrike" kern="1200" cap="none" spc="0" normalizeH="0" baseline="0" noProof="0">
                    <a:ln>
                      <a:noFill/>
                    </a:ln>
                    <a:solidFill>
                      <a:srgbClr val="FFFFFF"/>
                    </a:solidFill>
                    <a:effectLst/>
                    <a:uLnTx/>
                    <a:uFillTx/>
                    <a:latin typeface="ES Build"/>
                    <a:ea typeface="+mn-ea"/>
                    <a:cs typeface="+mn-cs"/>
                  </a:rPr>
                  <a:t>	</a:t>
                </a:r>
                <a:r>
                  <a:rPr kumimoji="0" lang="en-US" sz="2800" b="1" i="0" u="none" strike="noStrike" kern="1200" cap="none" spc="0" normalizeH="0" baseline="0" noProof="0">
                    <a:ln>
                      <a:noFill/>
                    </a:ln>
                    <a:solidFill>
                      <a:srgbClr val="FFFFFF"/>
                    </a:solidFill>
                    <a:effectLst/>
                    <a:uLnTx/>
                    <a:uFillTx/>
                    <a:latin typeface="ES Build"/>
                    <a:ea typeface="+mn-ea"/>
                    <a:cs typeface="+mn-cs"/>
                  </a:rPr>
                  <a:t>3</a:t>
                </a:r>
                <a:endParaRPr kumimoji="0" lang="en-RU" sz="2800" b="1" i="0" u="none" strike="noStrike" kern="1200" cap="none" spc="0" normalizeH="0" baseline="0" noProof="0">
                  <a:ln>
                    <a:noFill/>
                  </a:ln>
                  <a:solidFill>
                    <a:srgbClr val="FFFFFF"/>
                  </a:solidFill>
                  <a:effectLst/>
                  <a:uLnTx/>
                  <a:uFillTx/>
                  <a:latin typeface="ES Build"/>
                  <a:ea typeface="+mn-ea"/>
                  <a:cs typeface="+mn-cs"/>
                </a:endParaRPr>
              </a:p>
            </p:txBody>
          </p:sp>
        </p:grpSp>
        <p:grpSp>
          <p:nvGrpSpPr>
            <p:cNvPr id="21" name="Group 20">
              <a:extLst>
                <a:ext uri="{FF2B5EF4-FFF2-40B4-BE49-F238E27FC236}">
                  <a16:creationId xmlns:a16="http://schemas.microsoft.com/office/drawing/2014/main" id="{F8B7523F-D225-08A9-778C-3E6E3F3E6DC9}"/>
                </a:ext>
              </a:extLst>
            </p:cNvPr>
            <p:cNvGrpSpPr/>
            <p:nvPr/>
          </p:nvGrpSpPr>
          <p:grpSpPr>
            <a:xfrm>
              <a:off x="3853507" y="3716578"/>
              <a:ext cx="247447" cy="312111"/>
              <a:chOff x="760814" y="2626355"/>
              <a:chExt cx="712648" cy="838151"/>
            </a:xfrm>
          </p:grpSpPr>
          <p:sp>
            <p:nvSpPr>
              <p:cNvPr id="22" name="Freeform 10">
                <a:extLst>
                  <a:ext uri="{FF2B5EF4-FFF2-40B4-BE49-F238E27FC236}">
                    <a16:creationId xmlns:a16="http://schemas.microsoft.com/office/drawing/2014/main" id="{F7D3130E-D816-975C-F55C-EF4552D1B970}"/>
                  </a:ext>
                </a:extLst>
              </p:cNvPr>
              <p:cNvSpPr/>
              <p:nvPr/>
            </p:nvSpPr>
            <p:spPr>
              <a:xfrm>
                <a:off x="913530" y="2626355"/>
                <a:ext cx="559932" cy="682334"/>
              </a:xfrm>
              <a:custGeom>
                <a:avLst/>
                <a:gdLst>
                  <a:gd name="connsiteX0" fmla="*/ 348341 w 365181"/>
                  <a:gd name="connsiteY0" fmla="*/ 79222 h 445010"/>
                  <a:gd name="connsiteX1" fmla="*/ 285838 w 365181"/>
                  <a:gd name="connsiteY1" fmla="*/ 16719 h 445010"/>
                  <a:gd name="connsiteX2" fmla="*/ 247381 w 365181"/>
                  <a:gd name="connsiteY2" fmla="*/ 0 h 445010"/>
                  <a:gd name="connsiteX3" fmla="*/ 247381 w 365181"/>
                  <a:gd name="connsiteY3" fmla="*/ 0 h 445010"/>
                  <a:gd name="connsiteX4" fmla="*/ 0 w 365181"/>
                  <a:gd name="connsiteY4" fmla="*/ 0 h 445010"/>
                  <a:gd name="connsiteX5" fmla="*/ 243 w 365181"/>
                  <a:gd name="connsiteY5" fmla="*/ 444808 h 445010"/>
                  <a:gd name="connsiteX6" fmla="*/ 364534 w 365181"/>
                  <a:gd name="connsiteY6" fmla="*/ 445010 h 445010"/>
                  <a:gd name="connsiteX7" fmla="*/ 365181 w 365181"/>
                  <a:gd name="connsiteY7" fmla="*/ 119825 h 445010"/>
                  <a:gd name="connsiteX8" fmla="*/ 348382 w 365181"/>
                  <a:gd name="connsiteY8" fmla="*/ 79222 h 445010"/>
                  <a:gd name="connsiteX9" fmla="*/ 56188 w 365181"/>
                  <a:gd name="connsiteY9" fmla="*/ 388539 h 445010"/>
                  <a:gd name="connsiteX10" fmla="*/ 56188 w 365181"/>
                  <a:gd name="connsiteY10" fmla="*/ 56188 h 445010"/>
                  <a:gd name="connsiteX11" fmla="*/ 299237 w 365181"/>
                  <a:gd name="connsiteY11" fmla="*/ 57281 h 445010"/>
                  <a:gd name="connsiteX12" fmla="*/ 305229 w 365181"/>
                  <a:gd name="connsiteY12" fmla="*/ 59750 h 445010"/>
                  <a:gd name="connsiteX13" fmla="*/ 305229 w 365181"/>
                  <a:gd name="connsiteY13" fmla="*/ 59750 h 445010"/>
                  <a:gd name="connsiteX14" fmla="*/ 305229 w 365181"/>
                  <a:gd name="connsiteY14" fmla="*/ 59750 h 445010"/>
                  <a:gd name="connsiteX15" fmla="*/ 307698 w 365181"/>
                  <a:gd name="connsiteY15" fmla="*/ 65742 h 445010"/>
                  <a:gd name="connsiteX16" fmla="*/ 308224 w 365181"/>
                  <a:gd name="connsiteY16" fmla="*/ 388499 h 445010"/>
                  <a:gd name="connsiteX17" fmla="*/ 56148 w 365181"/>
                  <a:gd name="connsiteY17" fmla="*/ 388499 h 44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5181" h="445010">
                    <a:moveTo>
                      <a:pt x="348341" y="79222"/>
                    </a:moveTo>
                    <a:lnTo>
                      <a:pt x="285838" y="16719"/>
                    </a:lnTo>
                    <a:cubicBezTo>
                      <a:pt x="275596" y="6477"/>
                      <a:pt x="261833" y="567"/>
                      <a:pt x="247381" y="0"/>
                    </a:cubicBezTo>
                    <a:lnTo>
                      <a:pt x="247381" y="0"/>
                    </a:lnTo>
                    <a:cubicBezTo>
                      <a:pt x="247381" y="0"/>
                      <a:pt x="0" y="0"/>
                      <a:pt x="0" y="0"/>
                    </a:cubicBezTo>
                    <a:lnTo>
                      <a:pt x="243" y="444808"/>
                    </a:lnTo>
                    <a:lnTo>
                      <a:pt x="364534" y="445010"/>
                    </a:lnTo>
                    <a:lnTo>
                      <a:pt x="365181" y="119825"/>
                    </a:lnTo>
                    <a:cubicBezTo>
                      <a:pt x="365181" y="104604"/>
                      <a:pt x="359150" y="89990"/>
                      <a:pt x="348382" y="79222"/>
                    </a:cubicBezTo>
                    <a:close/>
                    <a:moveTo>
                      <a:pt x="56188" y="388539"/>
                    </a:moveTo>
                    <a:lnTo>
                      <a:pt x="56188" y="56188"/>
                    </a:lnTo>
                    <a:lnTo>
                      <a:pt x="299237" y="57281"/>
                    </a:lnTo>
                    <a:cubicBezTo>
                      <a:pt x="301585" y="57281"/>
                      <a:pt x="303690" y="58212"/>
                      <a:pt x="305229" y="59750"/>
                    </a:cubicBezTo>
                    <a:lnTo>
                      <a:pt x="305229" y="59750"/>
                    </a:lnTo>
                    <a:cubicBezTo>
                      <a:pt x="305229" y="59750"/>
                      <a:pt x="305229" y="59750"/>
                      <a:pt x="305229" y="59750"/>
                    </a:cubicBezTo>
                    <a:cubicBezTo>
                      <a:pt x="306767" y="61289"/>
                      <a:pt x="307698" y="63394"/>
                      <a:pt x="307698" y="65742"/>
                    </a:cubicBezTo>
                    <a:lnTo>
                      <a:pt x="308224" y="388499"/>
                    </a:lnTo>
                    <a:lnTo>
                      <a:pt x="56148" y="388499"/>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RU" sz="18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23" name="Freeform 11">
                <a:extLst>
                  <a:ext uri="{FF2B5EF4-FFF2-40B4-BE49-F238E27FC236}">
                    <a16:creationId xmlns:a16="http://schemas.microsoft.com/office/drawing/2014/main" id="{D122DC3B-E279-CF67-0D5F-F09DABEF0A10}"/>
                  </a:ext>
                </a:extLst>
              </p:cNvPr>
              <p:cNvSpPr/>
              <p:nvPr/>
            </p:nvSpPr>
            <p:spPr>
              <a:xfrm>
                <a:off x="760814" y="2819538"/>
                <a:ext cx="515862" cy="644968"/>
              </a:xfrm>
              <a:custGeom>
                <a:avLst/>
                <a:gdLst>
                  <a:gd name="connsiteX0" fmla="*/ 56228 w 336439"/>
                  <a:gd name="connsiteY0" fmla="*/ 0 h 420640"/>
                  <a:gd name="connsiteX1" fmla="*/ 0 w 336439"/>
                  <a:gd name="connsiteY1" fmla="*/ 0 h 420640"/>
                  <a:gd name="connsiteX2" fmla="*/ 0 w 336439"/>
                  <a:gd name="connsiteY2" fmla="*/ 420236 h 420640"/>
                  <a:gd name="connsiteX3" fmla="*/ 336440 w 336439"/>
                  <a:gd name="connsiteY3" fmla="*/ 420641 h 420640"/>
                  <a:gd name="connsiteX4" fmla="*/ 336440 w 336439"/>
                  <a:gd name="connsiteY4" fmla="*/ 364412 h 420640"/>
                  <a:gd name="connsiteX5" fmla="*/ 56228 w 336439"/>
                  <a:gd name="connsiteY5" fmla="*/ 364412 h 420640"/>
                  <a:gd name="connsiteX6" fmla="*/ 56228 w 336439"/>
                  <a:gd name="connsiteY6" fmla="*/ 0 h 420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6439" h="420640">
                    <a:moveTo>
                      <a:pt x="56228" y="0"/>
                    </a:moveTo>
                    <a:lnTo>
                      <a:pt x="0" y="0"/>
                    </a:lnTo>
                    <a:lnTo>
                      <a:pt x="0" y="420236"/>
                    </a:lnTo>
                    <a:lnTo>
                      <a:pt x="336440" y="420641"/>
                    </a:lnTo>
                    <a:lnTo>
                      <a:pt x="336440" y="364412"/>
                    </a:lnTo>
                    <a:lnTo>
                      <a:pt x="56228" y="364412"/>
                    </a:lnTo>
                    <a:lnTo>
                      <a:pt x="56228" y="0"/>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RU" sz="18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24" name="Freeform 12">
                <a:extLst>
                  <a:ext uri="{FF2B5EF4-FFF2-40B4-BE49-F238E27FC236}">
                    <a16:creationId xmlns:a16="http://schemas.microsoft.com/office/drawing/2014/main" id="{EA8E58A2-F751-348D-87B7-F46793D2C9F6}"/>
                  </a:ext>
                </a:extLst>
              </p:cNvPr>
              <p:cNvSpPr/>
              <p:nvPr/>
            </p:nvSpPr>
            <p:spPr>
              <a:xfrm>
                <a:off x="1081745" y="2926076"/>
                <a:ext cx="234578" cy="87871"/>
              </a:xfrm>
              <a:custGeom>
                <a:avLst/>
                <a:gdLst>
                  <a:gd name="connsiteX0" fmla="*/ 0 w 150104"/>
                  <a:gd name="connsiteY0" fmla="*/ 0 h 56228"/>
                  <a:gd name="connsiteX1" fmla="*/ 150104 w 150104"/>
                  <a:gd name="connsiteY1" fmla="*/ 0 h 56228"/>
                  <a:gd name="connsiteX2" fmla="*/ 150104 w 150104"/>
                  <a:gd name="connsiteY2" fmla="*/ 56229 h 56228"/>
                  <a:gd name="connsiteX3" fmla="*/ 0 w 150104"/>
                  <a:gd name="connsiteY3" fmla="*/ 56229 h 56228"/>
                </a:gdLst>
                <a:ahLst/>
                <a:cxnLst>
                  <a:cxn ang="0">
                    <a:pos x="connsiteX0" y="connsiteY0"/>
                  </a:cxn>
                  <a:cxn ang="0">
                    <a:pos x="connsiteX1" y="connsiteY1"/>
                  </a:cxn>
                  <a:cxn ang="0">
                    <a:pos x="connsiteX2" y="connsiteY2"/>
                  </a:cxn>
                  <a:cxn ang="0">
                    <a:pos x="connsiteX3" y="connsiteY3"/>
                  </a:cxn>
                </a:cxnLst>
                <a:rect l="l" t="t" r="r" b="b"/>
                <a:pathLst>
                  <a:path w="150104" h="56228">
                    <a:moveTo>
                      <a:pt x="0" y="0"/>
                    </a:moveTo>
                    <a:lnTo>
                      <a:pt x="150104" y="0"/>
                    </a:lnTo>
                    <a:lnTo>
                      <a:pt x="150104" y="56229"/>
                    </a:lnTo>
                    <a:lnTo>
                      <a:pt x="0" y="56229"/>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RU" sz="18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27" name="Freeform 13">
                <a:extLst>
                  <a:ext uri="{FF2B5EF4-FFF2-40B4-BE49-F238E27FC236}">
                    <a16:creationId xmlns:a16="http://schemas.microsoft.com/office/drawing/2014/main" id="{414DA435-2D36-EC61-3F79-64354C003352}"/>
                  </a:ext>
                </a:extLst>
              </p:cNvPr>
              <p:cNvSpPr/>
              <p:nvPr/>
            </p:nvSpPr>
            <p:spPr>
              <a:xfrm>
                <a:off x="1081745" y="3069810"/>
                <a:ext cx="175174" cy="87871"/>
              </a:xfrm>
              <a:custGeom>
                <a:avLst/>
                <a:gdLst>
                  <a:gd name="connsiteX0" fmla="*/ 0 w 112092"/>
                  <a:gd name="connsiteY0" fmla="*/ 0 h 56228"/>
                  <a:gd name="connsiteX1" fmla="*/ 112093 w 112092"/>
                  <a:gd name="connsiteY1" fmla="*/ 0 h 56228"/>
                  <a:gd name="connsiteX2" fmla="*/ 112093 w 112092"/>
                  <a:gd name="connsiteY2" fmla="*/ 56229 h 56228"/>
                  <a:gd name="connsiteX3" fmla="*/ 0 w 112092"/>
                  <a:gd name="connsiteY3" fmla="*/ 56229 h 56228"/>
                </a:gdLst>
                <a:ahLst/>
                <a:cxnLst>
                  <a:cxn ang="0">
                    <a:pos x="connsiteX0" y="connsiteY0"/>
                  </a:cxn>
                  <a:cxn ang="0">
                    <a:pos x="connsiteX1" y="connsiteY1"/>
                  </a:cxn>
                  <a:cxn ang="0">
                    <a:pos x="connsiteX2" y="connsiteY2"/>
                  </a:cxn>
                  <a:cxn ang="0">
                    <a:pos x="connsiteX3" y="connsiteY3"/>
                  </a:cxn>
                </a:cxnLst>
                <a:rect l="l" t="t" r="r" b="b"/>
                <a:pathLst>
                  <a:path w="112092" h="56228">
                    <a:moveTo>
                      <a:pt x="0" y="0"/>
                    </a:moveTo>
                    <a:lnTo>
                      <a:pt x="112093" y="0"/>
                    </a:lnTo>
                    <a:lnTo>
                      <a:pt x="112093" y="56229"/>
                    </a:lnTo>
                    <a:lnTo>
                      <a:pt x="0" y="56229"/>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RU" sz="1800" b="0" i="0" u="none" strike="noStrike" kern="1200" cap="none" spc="0" normalizeH="0" baseline="0" noProof="0">
                  <a:ln>
                    <a:noFill/>
                  </a:ln>
                  <a:solidFill>
                    <a:srgbClr val="505861"/>
                  </a:solidFill>
                  <a:effectLst/>
                  <a:uLnTx/>
                  <a:uFillTx/>
                  <a:latin typeface="ES Build Neutral"/>
                  <a:ea typeface="+mn-ea"/>
                  <a:cs typeface="+mn-cs"/>
                </a:endParaRPr>
              </a:p>
            </p:txBody>
          </p:sp>
        </p:grpSp>
      </p:grpSp>
      <p:grpSp>
        <p:nvGrpSpPr>
          <p:cNvPr id="30" name="Group 29">
            <a:extLst>
              <a:ext uri="{FF2B5EF4-FFF2-40B4-BE49-F238E27FC236}">
                <a16:creationId xmlns:a16="http://schemas.microsoft.com/office/drawing/2014/main" id="{9EBC9E50-3300-D849-436B-77FFB01D708A}"/>
              </a:ext>
            </a:extLst>
          </p:cNvPr>
          <p:cNvGrpSpPr/>
          <p:nvPr/>
        </p:nvGrpSpPr>
        <p:grpSpPr>
          <a:xfrm>
            <a:off x="4168043" y="2625452"/>
            <a:ext cx="1742219" cy="1290622"/>
            <a:chOff x="6878059" y="2629914"/>
            <a:chExt cx="1570228" cy="1163212"/>
          </a:xfrm>
        </p:grpSpPr>
        <p:grpSp>
          <p:nvGrpSpPr>
            <p:cNvPr id="31" name="Group 30">
              <a:extLst>
                <a:ext uri="{FF2B5EF4-FFF2-40B4-BE49-F238E27FC236}">
                  <a16:creationId xmlns:a16="http://schemas.microsoft.com/office/drawing/2014/main" id="{FFD723E6-E418-E374-AFF6-CCF6B1895E1E}"/>
                </a:ext>
              </a:extLst>
            </p:cNvPr>
            <p:cNvGrpSpPr/>
            <p:nvPr/>
          </p:nvGrpSpPr>
          <p:grpSpPr>
            <a:xfrm>
              <a:off x="6878059" y="2629914"/>
              <a:ext cx="1570228" cy="1163212"/>
              <a:chOff x="9312558" y="2627412"/>
              <a:chExt cx="1570228" cy="1163212"/>
            </a:xfrm>
          </p:grpSpPr>
          <p:sp>
            <p:nvSpPr>
              <p:cNvPr id="59" name="Freeform 53">
                <a:extLst>
                  <a:ext uri="{FF2B5EF4-FFF2-40B4-BE49-F238E27FC236}">
                    <a16:creationId xmlns:a16="http://schemas.microsoft.com/office/drawing/2014/main" id="{1639E93D-B89D-A160-6FDB-EBBB533E0E5D}"/>
                  </a:ext>
                </a:extLst>
              </p:cNvPr>
              <p:cNvSpPr/>
              <p:nvPr/>
            </p:nvSpPr>
            <p:spPr>
              <a:xfrm>
                <a:off x="9316908" y="3034742"/>
                <a:ext cx="1559436" cy="755882"/>
              </a:xfrm>
              <a:prstGeom prst="snip2DiagRect">
                <a:avLst>
                  <a:gd name="adj1" fmla="val 15592"/>
                  <a:gd name="adj2" fmla="val 0"/>
                </a:avLst>
              </a:prstGeom>
              <a:solidFill>
                <a:schemeClr val="bg1"/>
              </a:solidFill>
              <a:ln w="12700" cap="flat">
                <a:solidFill>
                  <a:srgbClr val="00D15F"/>
                </a:solidFill>
                <a:prstDash val="solid"/>
                <a:miter/>
              </a:ln>
            </p:spPr>
            <p:txBody>
              <a:bodyPr tIns="182880" bIns="182880" rtlCol="0" anchor="ctr"/>
              <a:lstStyle/>
              <a:p>
                <a:pPr marL="0" marR="0" lvl="3" indent="0" algn="l" defTabSz="914400" rtl="0" eaLnBrk="1" fontAlgn="auto" latinLnBrk="0" hangingPunct="1">
                  <a:lnSpc>
                    <a:spcPct val="96000"/>
                  </a:lnSpc>
                  <a:spcBef>
                    <a:spcPts val="300"/>
                  </a:spcBef>
                  <a:spcAft>
                    <a:spcPts val="150"/>
                  </a:spcAft>
                  <a:buClrTx/>
                  <a:buSzTx/>
                  <a:buFontTx/>
                  <a:buNone/>
                  <a:tabLst/>
                  <a:defRPr/>
                </a:pPr>
                <a:r>
                  <a:rPr kumimoji="0" lang="en-GB" sz="1200" b="1" i="0" u="none" strike="noStrike" kern="1200" cap="none" spc="0" normalizeH="0" baseline="0" noProof="0">
                    <a:ln>
                      <a:noFill/>
                    </a:ln>
                    <a:solidFill>
                      <a:srgbClr val="8E71F4"/>
                    </a:solidFill>
                    <a:effectLst/>
                    <a:uLnTx/>
                    <a:uFillTx/>
                    <a:latin typeface="ES Build Neutral"/>
                    <a:ea typeface="ES Build" pitchFamily="2" charset="77"/>
                    <a:cs typeface="+mn-cs"/>
                  </a:rPr>
                  <a:t>Different media</a:t>
                </a:r>
                <a:endParaRPr kumimoji="0" lang="en-RU" sz="1200" b="1" i="0" u="none" strike="noStrike" kern="1200" cap="none" spc="0" normalizeH="0" baseline="0" noProof="0">
                  <a:ln>
                    <a:noFill/>
                  </a:ln>
                  <a:solidFill>
                    <a:srgbClr val="8E71F4"/>
                  </a:solidFill>
                  <a:effectLst/>
                  <a:uLnTx/>
                  <a:uFillTx/>
                  <a:latin typeface="ES Build Neutral"/>
                  <a:ea typeface="ES Build" pitchFamily="2" charset="77"/>
                  <a:cs typeface="+mn-cs"/>
                </a:endParaRPr>
              </a:p>
            </p:txBody>
          </p:sp>
          <p:sp>
            <p:nvSpPr>
              <p:cNvPr id="60" name="Freeform 54">
                <a:extLst>
                  <a:ext uri="{FF2B5EF4-FFF2-40B4-BE49-F238E27FC236}">
                    <a16:creationId xmlns:a16="http://schemas.microsoft.com/office/drawing/2014/main" id="{D905D73E-DDE1-2C56-0406-594D4BE27984}"/>
                  </a:ext>
                </a:extLst>
              </p:cNvPr>
              <p:cNvSpPr/>
              <p:nvPr/>
            </p:nvSpPr>
            <p:spPr>
              <a:xfrm>
                <a:off x="9312558" y="2627412"/>
                <a:ext cx="1570228" cy="543176"/>
              </a:xfrm>
              <a:prstGeom prst="round2SameRect">
                <a:avLst>
                  <a:gd name="adj1" fmla="val 6538"/>
                  <a:gd name="adj2" fmla="val 0"/>
                </a:avLst>
              </a:prstGeom>
              <a:solidFill>
                <a:schemeClr val="accent2"/>
              </a:solidFill>
              <a:ln w="0" cap="flat">
                <a:noFill/>
                <a:prstDash val="solid"/>
                <a:miter/>
              </a:ln>
            </p:spPr>
            <p:txBody>
              <a:bodyPr rtlCol="0" anchor="ctr"/>
              <a:lstStyle/>
              <a:p>
                <a:pPr marL="0" marR="0" lvl="0" indent="0" defTabSz="533400" rtl="0" eaLnBrk="1" fontAlgn="auto" latinLnBrk="0" hangingPunct="1">
                  <a:lnSpc>
                    <a:spcPct val="100000"/>
                  </a:lnSpc>
                  <a:spcBef>
                    <a:spcPts val="0"/>
                  </a:spcBef>
                  <a:spcAft>
                    <a:spcPts val="0"/>
                  </a:spcAft>
                  <a:buClrTx/>
                  <a:buSzTx/>
                  <a:buFontTx/>
                  <a:buNone/>
                  <a:tabLst/>
                  <a:defRPr/>
                </a:pPr>
                <a:r>
                  <a:rPr kumimoji="0" lang="ru-RU" sz="2800" b="1" i="0" u="none" strike="noStrike" kern="1200" cap="none" spc="0" normalizeH="0" baseline="0" noProof="0">
                    <a:ln>
                      <a:noFill/>
                    </a:ln>
                    <a:solidFill>
                      <a:srgbClr val="FFFFFF"/>
                    </a:solidFill>
                    <a:effectLst/>
                    <a:uLnTx/>
                    <a:uFillTx/>
                    <a:latin typeface="ES Build"/>
                    <a:ea typeface="+mn-ea"/>
                    <a:cs typeface="+mn-cs"/>
                  </a:rPr>
                  <a:t>	</a:t>
                </a:r>
                <a:r>
                  <a:rPr kumimoji="0" lang="en-US" sz="2800" b="1" i="0" u="none" strike="noStrike" kern="1200" cap="none" spc="0" normalizeH="0" baseline="0" noProof="0">
                    <a:ln>
                      <a:noFill/>
                    </a:ln>
                    <a:solidFill>
                      <a:srgbClr val="FFFFFF"/>
                    </a:solidFill>
                    <a:effectLst/>
                    <a:uLnTx/>
                    <a:uFillTx/>
                    <a:latin typeface="ES Build"/>
                    <a:ea typeface="+mn-ea"/>
                    <a:cs typeface="+mn-cs"/>
                  </a:rPr>
                  <a:t>2</a:t>
                </a:r>
                <a:endParaRPr kumimoji="0" lang="en-RU" sz="2800" b="1" i="0" u="none" strike="noStrike" kern="1200" cap="none" spc="0" normalizeH="0" baseline="0" noProof="0">
                  <a:ln>
                    <a:noFill/>
                  </a:ln>
                  <a:solidFill>
                    <a:srgbClr val="FFFFFF"/>
                  </a:solidFill>
                  <a:effectLst/>
                  <a:uLnTx/>
                  <a:uFillTx/>
                  <a:latin typeface="ES Build"/>
                  <a:ea typeface="+mn-ea"/>
                  <a:cs typeface="+mn-cs"/>
                </a:endParaRPr>
              </a:p>
            </p:txBody>
          </p:sp>
        </p:grpSp>
        <p:grpSp>
          <p:nvGrpSpPr>
            <p:cNvPr id="44" name="Group 43">
              <a:extLst>
                <a:ext uri="{FF2B5EF4-FFF2-40B4-BE49-F238E27FC236}">
                  <a16:creationId xmlns:a16="http://schemas.microsoft.com/office/drawing/2014/main" id="{23EF7520-927A-8E9B-E05B-A45C1D2433DB}"/>
                </a:ext>
              </a:extLst>
            </p:cNvPr>
            <p:cNvGrpSpPr/>
            <p:nvPr/>
          </p:nvGrpSpPr>
          <p:grpSpPr>
            <a:xfrm>
              <a:off x="7052564" y="2781607"/>
              <a:ext cx="272587" cy="239044"/>
              <a:chOff x="2846716" y="2772855"/>
              <a:chExt cx="785059" cy="641927"/>
            </a:xfrm>
          </p:grpSpPr>
          <p:sp>
            <p:nvSpPr>
              <p:cNvPr id="46" name="Freeform 45">
                <a:extLst>
                  <a:ext uri="{FF2B5EF4-FFF2-40B4-BE49-F238E27FC236}">
                    <a16:creationId xmlns:a16="http://schemas.microsoft.com/office/drawing/2014/main" id="{FF0A252E-A0B5-09A1-0B38-838561A482C1}"/>
                  </a:ext>
                </a:extLst>
              </p:cNvPr>
              <p:cNvSpPr/>
              <p:nvPr/>
            </p:nvSpPr>
            <p:spPr>
              <a:xfrm>
                <a:off x="2846716" y="2772855"/>
                <a:ext cx="785059" cy="641927"/>
              </a:xfrm>
              <a:custGeom>
                <a:avLst/>
                <a:gdLst>
                  <a:gd name="connsiteX0" fmla="*/ 495410 w 512006"/>
                  <a:gd name="connsiteY0" fmla="*/ 78250 h 418657"/>
                  <a:gd name="connsiteX1" fmla="*/ 433756 w 512006"/>
                  <a:gd name="connsiteY1" fmla="*/ 16597 h 418657"/>
                  <a:gd name="connsiteX2" fmla="*/ 393721 w 512006"/>
                  <a:gd name="connsiteY2" fmla="*/ 0 h 418657"/>
                  <a:gd name="connsiteX3" fmla="*/ 0 w 512006"/>
                  <a:gd name="connsiteY3" fmla="*/ 364 h 418657"/>
                  <a:gd name="connsiteX4" fmla="*/ 0 w 512006"/>
                  <a:gd name="connsiteY4" fmla="*/ 418657 h 418657"/>
                  <a:gd name="connsiteX5" fmla="*/ 511885 w 512006"/>
                  <a:gd name="connsiteY5" fmla="*/ 418657 h 418657"/>
                  <a:gd name="connsiteX6" fmla="*/ 512007 w 512006"/>
                  <a:gd name="connsiteY6" fmla="*/ 118286 h 418657"/>
                  <a:gd name="connsiteX7" fmla="*/ 495410 w 512006"/>
                  <a:gd name="connsiteY7" fmla="*/ 78250 h 418657"/>
                  <a:gd name="connsiteX8" fmla="*/ 456305 w 512006"/>
                  <a:gd name="connsiteY8" fmla="*/ 363076 h 418657"/>
                  <a:gd name="connsiteX9" fmla="*/ 56107 w 512006"/>
                  <a:gd name="connsiteY9" fmla="*/ 363076 h 418657"/>
                  <a:gd name="connsiteX10" fmla="*/ 56107 w 512006"/>
                  <a:gd name="connsiteY10" fmla="*/ 55945 h 418657"/>
                  <a:gd name="connsiteX11" fmla="*/ 447034 w 512006"/>
                  <a:gd name="connsiteY11" fmla="*/ 56593 h 418657"/>
                  <a:gd name="connsiteX12" fmla="*/ 452945 w 512006"/>
                  <a:gd name="connsiteY12" fmla="*/ 59062 h 418657"/>
                  <a:gd name="connsiteX13" fmla="*/ 452945 w 512006"/>
                  <a:gd name="connsiteY13" fmla="*/ 59062 h 418657"/>
                  <a:gd name="connsiteX14" fmla="*/ 452945 w 512006"/>
                  <a:gd name="connsiteY14" fmla="*/ 59062 h 418657"/>
                  <a:gd name="connsiteX15" fmla="*/ 455414 w 512006"/>
                  <a:gd name="connsiteY15" fmla="*/ 64972 h 418657"/>
                  <a:gd name="connsiteX16" fmla="*/ 456345 w 512006"/>
                  <a:gd name="connsiteY16" fmla="*/ 363036 h 418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12006" h="418657">
                    <a:moveTo>
                      <a:pt x="495410" y="78250"/>
                    </a:moveTo>
                    <a:lnTo>
                      <a:pt x="433756" y="16597"/>
                    </a:lnTo>
                    <a:cubicBezTo>
                      <a:pt x="423150" y="5991"/>
                      <a:pt x="408739" y="0"/>
                      <a:pt x="393721" y="0"/>
                    </a:cubicBezTo>
                    <a:lnTo>
                      <a:pt x="0" y="364"/>
                    </a:lnTo>
                    <a:lnTo>
                      <a:pt x="0" y="418657"/>
                    </a:lnTo>
                    <a:lnTo>
                      <a:pt x="511885" y="418657"/>
                    </a:lnTo>
                    <a:cubicBezTo>
                      <a:pt x="511885" y="418657"/>
                      <a:pt x="512007" y="118286"/>
                      <a:pt x="512007" y="118286"/>
                    </a:cubicBezTo>
                    <a:cubicBezTo>
                      <a:pt x="512007" y="103268"/>
                      <a:pt x="506056" y="88856"/>
                      <a:pt x="495410" y="78250"/>
                    </a:cubicBezTo>
                    <a:close/>
                    <a:moveTo>
                      <a:pt x="456305" y="363076"/>
                    </a:moveTo>
                    <a:lnTo>
                      <a:pt x="56107" y="363076"/>
                    </a:lnTo>
                    <a:lnTo>
                      <a:pt x="56107" y="55945"/>
                    </a:lnTo>
                    <a:lnTo>
                      <a:pt x="447034" y="56593"/>
                    </a:lnTo>
                    <a:cubicBezTo>
                      <a:pt x="449342" y="56593"/>
                      <a:pt x="451447" y="57524"/>
                      <a:pt x="452945" y="59062"/>
                    </a:cubicBezTo>
                    <a:lnTo>
                      <a:pt x="452945" y="59062"/>
                    </a:lnTo>
                    <a:cubicBezTo>
                      <a:pt x="452945" y="59062"/>
                      <a:pt x="452945" y="59062"/>
                      <a:pt x="452945" y="59062"/>
                    </a:cubicBezTo>
                    <a:cubicBezTo>
                      <a:pt x="454443" y="60560"/>
                      <a:pt x="455414" y="62665"/>
                      <a:pt x="455414" y="64972"/>
                    </a:cubicBezTo>
                    <a:lnTo>
                      <a:pt x="456345" y="363036"/>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RU" sz="18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47" name="Freeform 46">
                <a:extLst>
                  <a:ext uri="{FF2B5EF4-FFF2-40B4-BE49-F238E27FC236}">
                    <a16:creationId xmlns:a16="http://schemas.microsoft.com/office/drawing/2014/main" id="{1B9409C6-5D33-17D7-0757-F44402EA5897}"/>
                  </a:ext>
                </a:extLst>
              </p:cNvPr>
              <p:cNvSpPr/>
              <p:nvPr/>
            </p:nvSpPr>
            <p:spPr>
              <a:xfrm>
                <a:off x="3027016" y="3101314"/>
                <a:ext cx="115770" cy="115770"/>
              </a:xfrm>
              <a:custGeom>
                <a:avLst/>
                <a:gdLst>
                  <a:gd name="connsiteX0" fmla="*/ 0 w 74080"/>
                  <a:gd name="connsiteY0" fmla="*/ 37040 h 74080"/>
                  <a:gd name="connsiteX1" fmla="*/ 37040 w 74080"/>
                  <a:gd name="connsiteY1" fmla="*/ 74081 h 74080"/>
                  <a:gd name="connsiteX2" fmla="*/ 74081 w 74080"/>
                  <a:gd name="connsiteY2" fmla="*/ 37040 h 74080"/>
                  <a:gd name="connsiteX3" fmla="*/ 37040 w 74080"/>
                  <a:gd name="connsiteY3" fmla="*/ 0 h 74080"/>
                  <a:gd name="connsiteX4" fmla="*/ 0 w 74080"/>
                  <a:gd name="connsiteY4" fmla="*/ 37040 h 74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080" h="74080">
                    <a:moveTo>
                      <a:pt x="0" y="37040"/>
                    </a:moveTo>
                    <a:cubicBezTo>
                      <a:pt x="0" y="57483"/>
                      <a:pt x="16597" y="74081"/>
                      <a:pt x="37040" y="74081"/>
                    </a:cubicBezTo>
                    <a:cubicBezTo>
                      <a:pt x="57483" y="74081"/>
                      <a:pt x="74081" y="57483"/>
                      <a:pt x="74081" y="37040"/>
                    </a:cubicBezTo>
                    <a:cubicBezTo>
                      <a:pt x="74081" y="16597"/>
                      <a:pt x="57483" y="0"/>
                      <a:pt x="37040" y="0"/>
                    </a:cubicBezTo>
                    <a:cubicBezTo>
                      <a:pt x="16597" y="0"/>
                      <a:pt x="0" y="16597"/>
                      <a:pt x="0" y="37040"/>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RU" sz="18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51" name="Freeform 47">
                <a:extLst>
                  <a:ext uri="{FF2B5EF4-FFF2-40B4-BE49-F238E27FC236}">
                    <a16:creationId xmlns:a16="http://schemas.microsoft.com/office/drawing/2014/main" id="{2FD68A79-F056-C8D4-2F4D-A3A43EDB2314}"/>
                  </a:ext>
                </a:extLst>
              </p:cNvPr>
              <p:cNvSpPr/>
              <p:nvPr/>
            </p:nvSpPr>
            <p:spPr>
              <a:xfrm>
                <a:off x="3349783" y="3101314"/>
                <a:ext cx="115770" cy="115770"/>
              </a:xfrm>
              <a:custGeom>
                <a:avLst/>
                <a:gdLst>
                  <a:gd name="connsiteX0" fmla="*/ 37040 w 74080"/>
                  <a:gd name="connsiteY0" fmla="*/ 74081 h 74080"/>
                  <a:gd name="connsiteX1" fmla="*/ 74081 w 74080"/>
                  <a:gd name="connsiteY1" fmla="*/ 37040 h 74080"/>
                  <a:gd name="connsiteX2" fmla="*/ 37040 w 74080"/>
                  <a:gd name="connsiteY2" fmla="*/ 0 h 74080"/>
                  <a:gd name="connsiteX3" fmla="*/ 0 w 74080"/>
                  <a:gd name="connsiteY3" fmla="*/ 37040 h 74080"/>
                  <a:gd name="connsiteX4" fmla="*/ 37040 w 74080"/>
                  <a:gd name="connsiteY4" fmla="*/ 74081 h 74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080" h="74080">
                    <a:moveTo>
                      <a:pt x="37040" y="74081"/>
                    </a:moveTo>
                    <a:cubicBezTo>
                      <a:pt x="57483" y="74081"/>
                      <a:pt x="74081" y="57483"/>
                      <a:pt x="74081" y="37040"/>
                    </a:cubicBezTo>
                    <a:cubicBezTo>
                      <a:pt x="74081" y="16597"/>
                      <a:pt x="57483" y="0"/>
                      <a:pt x="37040" y="0"/>
                    </a:cubicBezTo>
                    <a:cubicBezTo>
                      <a:pt x="16597" y="0"/>
                      <a:pt x="0" y="16597"/>
                      <a:pt x="0" y="37040"/>
                    </a:cubicBezTo>
                    <a:cubicBezTo>
                      <a:pt x="0" y="57483"/>
                      <a:pt x="16597" y="74081"/>
                      <a:pt x="37040" y="74081"/>
                    </a:cubicBez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RU" sz="18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58" name="Freeform 50">
                <a:extLst>
                  <a:ext uri="{FF2B5EF4-FFF2-40B4-BE49-F238E27FC236}">
                    <a16:creationId xmlns:a16="http://schemas.microsoft.com/office/drawing/2014/main" id="{253E013B-062D-F37E-4BC5-482A63776737}"/>
                  </a:ext>
                </a:extLst>
              </p:cNvPr>
              <p:cNvSpPr/>
              <p:nvPr/>
            </p:nvSpPr>
            <p:spPr>
              <a:xfrm>
                <a:off x="3029546" y="2949547"/>
                <a:ext cx="433541" cy="86859"/>
              </a:xfrm>
              <a:custGeom>
                <a:avLst/>
                <a:gdLst>
                  <a:gd name="connsiteX0" fmla="*/ 0 w 277418"/>
                  <a:gd name="connsiteY0" fmla="*/ 0 h 55580"/>
                  <a:gd name="connsiteX1" fmla="*/ 277418 w 277418"/>
                  <a:gd name="connsiteY1" fmla="*/ 0 h 55580"/>
                  <a:gd name="connsiteX2" fmla="*/ 277418 w 277418"/>
                  <a:gd name="connsiteY2" fmla="*/ 55581 h 55580"/>
                  <a:gd name="connsiteX3" fmla="*/ 0 w 277418"/>
                  <a:gd name="connsiteY3" fmla="*/ 55581 h 55580"/>
                </a:gdLst>
                <a:ahLst/>
                <a:cxnLst>
                  <a:cxn ang="0">
                    <a:pos x="connsiteX0" y="connsiteY0"/>
                  </a:cxn>
                  <a:cxn ang="0">
                    <a:pos x="connsiteX1" y="connsiteY1"/>
                  </a:cxn>
                  <a:cxn ang="0">
                    <a:pos x="connsiteX2" y="connsiteY2"/>
                  </a:cxn>
                  <a:cxn ang="0">
                    <a:pos x="connsiteX3" y="connsiteY3"/>
                  </a:cxn>
                </a:cxnLst>
                <a:rect l="l" t="t" r="r" b="b"/>
                <a:pathLst>
                  <a:path w="277418" h="55580">
                    <a:moveTo>
                      <a:pt x="0" y="0"/>
                    </a:moveTo>
                    <a:lnTo>
                      <a:pt x="277418" y="0"/>
                    </a:lnTo>
                    <a:lnTo>
                      <a:pt x="277418" y="55581"/>
                    </a:lnTo>
                    <a:lnTo>
                      <a:pt x="0" y="55581"/>
                    </a:lnTo>
                    <a:close/>
                  </a:path>
                </a:pathLst>
              </a:custGeom>
              <a:solidFill>
                <a:srgbClr val="FFFFFF"/>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RU" sz="1800" b="0" i="0" u="none" strike="noStrike" kern="1200" cap="none" spc="0" normalizeH="0" baseline="0" noProof="0">
                  <a:ln>
                    <a:noFill/>
                  </a:ln>
                  <a:solidFill>
                    <a:srgbClr val="505861"/>
                  </a:solidFill>
                  <a:effectLst/>
                  <a:uLnTx/>
                  <a:uFillTx/>
                  <a:latin typeface="ES Build Neutral"/>
                  <a:ea typeface="+mn-ea"/>
                  <a:cs typeface="+mn-cs"/>
                </a:endParaRPr>
              </a:p>
            </p:txBody>
          </p:sp>
        </p:grpSp>
      </p:grpSp>
      <p:sp>
        <p:nvSpPr>
          <p:cNvPr id="61" name="TextBox 60">
            <a:extLst>
              <a:ext uri="{FF2B5EF4-FFF2-40B4-BE49-F238E27FC236}">
                <a16:creationId xmlns:a16="http://schemas.microsoft.com/office/drawing/2014/main" id="{F950C49C-3C05-8E10-6231-D9CDEC3579D9}"/>
              </a:ext>
            </a:extLst>
          </p:cNvPr>
          <p:cNvSpPr txBox="1"/>
          <p:nvPr/>
        </p:nvSpPr>
        <p:spPr>
          <a:xfrm>
            <a:off x="3617808" y="4863190"/>
            <a:ext cx="1721282" cy="356380"/>
          </a:xfrm>
          <a:prstGeom prst="rect">
            <a:avLst/>
          </a:prstGeom>
          <a:noFill/>
        </p:spPr>
        <p:txBody>
          <a:bodyPr wrap="square" lIns="0" tIns="0" rIns="0" bIns="0" anchor="t">
            <a:spAutoFit/>
          </a:bodyPr>
          <a:lstStyle/>
          <a:p>
            <a:pPr marL="0" marR="0" lvl="2" indent="0" algn="l" defTabSz="914400" rtl="0" eaLnBrk="1" fontAlgn="auto" latinLnBrk="0" hangingPunct="1">
              <a:lnSpc>
                <a:spcPct val="96000"/>
              </a:lnSpc>
              <a:spcBef>
                <a:spcPts val="300"/>
              </a:spcBef>
              <a:spcAft>
                <a:spcPts val="150"/>
              </a:spcAft>
              <a:buClrTx/>
              <a:buSzTx/>
              <a:buFontTx/>
              <a:buNone/>
              <a:tabLst/>
              <a:defRPr/>
            </a:pPr>
            <a:r>
              <a:rPr kumimoji="0" lang="en-US" sz="1200" b="0" i="0" u="none" strike="noStrike" kern="1200" cap="none" spc="0" normalizeH="0" baseline="0" noProof="0">
                <a:ln>
                  <a:noFill/>
                </a:ln>
                <a:effectLst/>
                <a:uLnTx/>
                <a:uFillTx/>
                <a:ea typeface="ES Build" pitchFamily="2" charset="77"/>
                <a:cs typeface="+mn-cs"/>
              </a:rPr>
              <a:t>Object lock. True air gap. Industry tested protocols</a:t>
            </a:r>
          </a:p>
        </p:txBody>
      </p:sp>
      <p:sp>
        <p:nvSpPr>
          <p:cNvPr id="62" name="TextBox 61">
            <a:extLst>
              <a:ext uri="{FF2B5EF4-FFF2-40B4-BE49-F238E27FC236}">
                <a16:creationId xmlns:a16="http://schemas.microsoft.com/office/drawing/2014/main" id="{4E6E0950-F251-5FE2-66F8-135F88A810DD}"/>
              </a:ext>
            </a:extLst>
          </p:cNvPr>
          <p:cNvSpPr txBox="1"/>
          <p:nvPr/>
        </p:nvSpPr>
        <p:spPr>
          <a:xfrm>
            <a:off x="6949753" y="4863190"/>
            <a:ext cx="1371600" cy="356380"/>
          </a:xfrm>
          <a:prstGeom prst="rect">
            <a:avLst/>
          </a:prstGeom>
          <a:noFill/>
        </p:spPr>
        <p:txBody>
          <a:bodyPr wrap="square" lIns="0" tIns="0" rIns="0" bIns="0" anchor="t">
            <a:spAutoFit/>
          </a:bodyPr>
          <a:lstStyle/>
          <a:p>
            <a:pPr marL="0" marR="0" lvl="2" indent="0" algn="l" defTabSz="914400" rtl="0" eaLnBrk="1" fontAlgn="auto" latinLnBrk="0" hangingPunct="1">
              <a:lnSpc>
                <a:spcPct val="96000"/>
              </a:lnSpc>
              <a:spcBef>
                <a:spcPts val="300"/>
              </a:spcBef>
              <a:spcAft>
                <a:spcPts val="150"/>
              </a:spcAft>
              <a:buClrTx/>
              <a:buSzTx/>
              <a:buFontTx/>
              <a:buNone/>
              <a:tabLst/>
              <a:defRPr/>
            </a:pPr>
            <a:r>
              <a:rPr kumimoji="0" lang="en-US" sz="1200" b="0" i="0" u="none" strike="noStrike" kern="1200" cap="none" spc="0" normalizeH="0" baseline="0" noProof="0">
                <a:ln>
                  <a:noFill/>
                </a:ln>
                <a:effectLst/>
                <a:uLnTx/>
                <a:uFillTx/>
                <a:ea typeface="ES Build" pitchFamily="2" charset="77"/>
                <a:cs typeface="+mn-cs"/>
              </a:rPr>
              <a:t>Data is encrypted </a:t>
            </a:r>
            <a:br>
              <a:rPr kumimoji="0" lang="en-US" sz="1200" b="0" i="0" u="none" strike="noStrike" kern="1200" cap="none" spc="0" normalizeH="0" baseline="0" noProof="0">
                <a:ln>
                  <a:noFill/>
                </a:ln>
                <a:effectLst/>
                <a:uLnTx/>
                <a:uFillTx/>
                <a:ea typeface="ES Build" pitchFamily="2" charset="77"/>
                <a:cs typeface="+mn-cs"/>
              </a:rPr>
            </a:br>
            <a:r>
              <a:rPr kumimoji="0" lang="en-US" sz="1200" b="0" i="0" u="none" strike="noStrike" kern="1200" cap="none" spc="0" normalizeH="0" baseline="0" noProof="0">
                <a:ln>
                  <a:noFill/>
                </a:ln>
                <a:effectLst/>
                <a:uLnTx/>
                <a:uFillTx/>
                <a:ea typeface="ES Build" pitchFamily="2" charset="77"/>
                <a:cs typeface="+mn-cs"/>
              </a:rPr>
              <a:t>in flight and at rest</a:t>
            </a:r>
          </a:p>
        </p:txBody>
      </p:sp>
      <p:cxnSp>
        <p:nvCxnSpPr>
          <p:cNvPr id="63" name="Straight Connector 62">
            <a:extLst>
              <a:ext uri="{FF2B5EF4-FFF2-40B4-BE49-F238E27FC236}">
                <a16:creationId xmlns:a16="http://schemas.microsoft.com/office/drawing/2014/main" id="{E5D1963E-5DDF-A8E5-A5CB-4B703739982B}"/>
              </a:ext>
            </a:extLst>
          </p:cNvPr>
          <p:cNvCxnSpPr>
            <a:cxnSpLocks/>
          </p:cNvCxnSpPr>
          <p:nvPr/>
        </p:nvCxnSpPr>
        <p:spPr>
          <a:xfrm>
            <a:off x="5584371" y="4872617"/>
            <a:ext cx="0" cy="584129"/>
          </a:xfrm>
          <a:prstGeom prst="line">
            <a:avLst/>
          </a:prstGeom>
          <a:ln w="9525" cap="rnd">
            <a:solidFill>
              <a:schemeClr val="accent2"/>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75EDD471-AE08-21D9-25EF-5CBECD91067F}"/>
              </a:ext>
            </a:extLst>
          </p:cNvPr>
          <p:cNvCxnSpPr>
            <a:cxnSpLocks/>
          </p:cNvCxnSpPr>
          <p:nvPr/>
        </p:nvCxnSpPr>
        <p:spPr>
          <a:xfrm>
            <a:off x="6816709" y="4863190"/>
            <a:ext cx="0" cy="584129"/>
          </a:xfrm>
          <a:prstGeom prst="line">
            <a:avLst/>
          </a:prstGeom>
          <a:ln w="9525" cap="rnd">
            <a:solidFill>
              <a:schemeClr val="accent2"/>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sp>
        <p:nvSpPr>
          <p:cNvPr id="193" name="TextBox 192">
            <a:extLst>
              <a:ext uri="{FF2B5EF4-FFF2-40B4-BE49-F238E27FC236}">
                <a16:creationId xmlns:a16="http://schemas.microsoft.com/office/drawing/2014/main" id="{9ACDC7BC-C445-435B-19BA-E1228E3978CE}"/>
              </a:ext>
            </a:extLst>
          </p:cNvPr>
          <p:cNvSpPr txBox="1"/>
          <p:nvPr/>
        </p:nvSpPr>
        <p:spPr>
          <a:xfrm>
            <a:off x="1782154" y="4863190"/>
            <a:ext cx="1721281" cy="533672"/>
          </a:xfrm>
          <a:prstGeom prst="rect">
            <a:avLst/>
          </a:prstGeom>
          <a:noFill/>
        </p:spPr>
        <p:txBody>
          <a:bodyPr wrap="square" lIns="0" tIns="0" rIns="0" bIns="0" anchor="t">
            <a:spAutoFit/>
          </a:bodyPr>
          <a:lstStyle/>
          <a:p>
            <a:pPr marL="0" marR="0" lvl="2" indent="0" algn="l" defTabSz="914400" rtl="0" eaLnBrk="1" fontAlgn="auto" latinLnBrk="0" hangingPunct="1">
              <a:lnSpc>
                <a:spcPct val="96000"/>
              </a:lnSpc>
              <a:spcBef>
                <a:spcPts val="300"/>
              </a:spcBef>
              <a:spcAft>
                <a:spcPts val="150"/>
              </a:spcAft>
              <a:buClrTx/>
              <a:buSzTx/>
              <a:buFontTx/>
              <a:buNone/>
              <a:tabLst/>
              <a:defRPr/>
            </a:pPr>
            <a:r>
              <a:rPr kumimoji="0" lang="en-US" sz="1200" b="0" i="0" u="none" strike="noStrike" kern="1200" cap="none" spc="0" normalizeH="0" baseline="0" noProof="0">
                <a:ln>
                  <a:noFill/>
                </a:ln>
                <a:effectLst/>
                <a:uLnTx/>
                <a:uFillTx/>
                <a:ea typeface="ES Build" pitchFamily="2" charset="77"/>
                <a:cs typeface="+mn-cs"/>
              </a:rPr>
              <a:t>Multiple Resiliency Domains, uniquely secured</a:t>
            </a:r>
          </a:p>
        </p:txBody>
      </p:sp>
      <p:cxnSp>
        <p:nvCxnSpPr>
          <p:cNvPr id="194" name="Straight Connector 193">
            <a:extLst>
              <a:ext uri="{FF2B5EF4-FFF2-40B4-BE49-F238E27FC236}">
                <a16:creationId xmlns:a16="http://schemas.microsoft.com/office/drawing/2014/main" id="{AD21DD2A-6D8B-0C6C-493F-67BAB5F61A0B}"/>
              </a:ext>
            </a:extLst>
          </p:cNvPr>
          <p:cNvCxnSpPr>
            <a:cxnSpLocks/>
          </p:cNvCxnSpPr>
          <p:nvPr/>
        </p:nvCxnSpPr>
        <p:spPr>
          <a:xfrm>
            <a:off x="3409351" y="4863190"/>
            <a:ext cx="0" cy="584129"/>
          </a:xfrm>
          <a:prstGeom prst="line">
            <a:avLst/>
          </a:prstGeom>
          <a:ln w="9525" cap="rnd">
            <a:solidFill>
              <a:schemeClr val="accent2"/>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sp>
        <p:nvSpPr>
          <p:cNvPr id="197" name="TextBox 196">
            <a:extLst>
              <a:ext uri="{FF2B5EF4-FFF2-40B4-BE49-F238E27FC236}">
                <a16:creationId xmlns:a16="http://schemas.microsoft.com/office/drawing/2014/main" id="{E264CE03-06C0-4BFF-1BE3-1699D8F82E4B}"/>
              </a:ext>
            </a:extLst>
          </p:cNvPr>
          <p:cNvSpPr txBox="1"/>
          <p:nvPr/>
        </p:nvSpPr>
        <p:spPr>
          <a:xfrm>
            <a:off x="3975345" y="4286526"/>
            <a:ext cx="2972953" cy="360996"/>
          </a:xfrm>
          <a:prstGeom prst="rect">
            <a:avLst/>
          </a:prstGeom>
          <a:noFill/>
        </p:spPr>
        <p:txBody>
          <a:bodyPr wrap="square">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1800" b="1" i="0" u="none" strike="noStrike" kern="1200" cap="none" spc="0" normalizeH="0" baseline="0" noProof="0">
                <a:ln>
                  <a:noFill/>
                </a:ln>
                <a:effectLst/>
                <a:uLnTx/>
                <a:uFillTx/>
                <a:latin typeface="ES Build" pitchFamily="50" charset="0"/>
                <a:ea typeface="+mn-ea"/>
                <a:cs typeface="Microsoft Sans Serif" panose="020B0604020202020204" pitchFamily="34" charset="0"/>
              </a:rPr>
              <a:t>Veeam Cloud Vault </a:t>
            </a:r>
          </a:p>
        </p:txBody>
      </p:sp>
      <p:sp>
        <p:nvSpPr>
          <p:cNvPr id="198" name="TextBox 197">
            <a:extLst>
              <a:ext uri="{FF2B5EF4-FFF2-40B4-BE49-F238E27FC236}">
                <a16:creationId xmlns:a16="http://schemas.microsoft.com/office/drawing/2014/main" id="{EA59F7E5-73FC-CA53-C872-CCE4CE1DC7F2}"/>
              </a:ext>
            </a:extLst>
          </p:cNvPr>
          <p:cNvSpPr txBox="1"/>
          <p:nvPr/>
        </p:nvSpPr>
        <p:spPr>
          <a:xfrm>
            <a:off x="5724782" y="4863190"/>
            <a:ext cx="1371600" cy="356380"/>
          </a:xfrm>
          <a:prstGeom prst="rect">
            <a:avLst/>
          </a:prstGeom>
          <a:noFill/>
        </p:spPr>
        <p:txBody>
          <a:bodyPr wrap="square" lIns="0" tIns="0" rIns="0" bIns="0" anchor="t">
            <a:spAutoFit/>
          </a:bodyPr>
          <a:lstStyle/>
          <a:p>
            <a:pPr marL="0" marR="0" lvl="2" indent="0" algn="l" defTabSz="914400" rtl="0" eaLnBrk="1" fontAlgn="auto" latinLnBrk="0" hangingPunct="1">
              <a:lnSpc>
                <a:spcPct val="96000"/>
              </a:lnSpc>
              <a:spcBef>
                <a:spcPts val="300"/>
              </a:spcBef>
              <a:spcAft>
                <a:spcPts val="150"/>
              </a:spcAft>
              <a:buClrTx/>
              <a:buSzTx/>
              <a:buFontTx/>
              <a:buNone/>
              <a:tabLst/>
              <a:defRPr/>
            </a:pPr>
            <a:r>
              <a:rPr kumimoji="0" lang="en-US" sz="1200" b="0" i="0" u="none" strike="noStrike" kern="1200" cap="none" spc="0" normalizeH="0" baseline="0" noProof="0">
                <a:ln>
                  <a:noFill/>
                </a:ln>
                <a:effectLst/>
                <a:uLnTx/>
                <a:uFillTx/>
                <a:ea typeface="ES Build" pitchFamily="2" charset="77"/>
                <a:cs typeface="+mn-cs"/>
              </a:rPr>
              <a:t>Complete immutability </a:t>
            </a:r>
          </a:p>
        </p:txBody>
      </p:sp>
      <p:sp>
        <p:nvSpPr>
          <p:cNvPr id="200" name="TextBox 199">
            <a:extLst>
              <a:ext uri="{FF2B5EF4-FFF2-40B4-BE49-F238E27FC236}">
                <a16:creationId xmlns:a16="http://schemas.microsoft.com/office/drawing/2014/main" id="{B8DD95B1-C272-94A6-7780-336A14823F2B}"/>
              </a:ext>
            </a:extLst>
          </p:cNvPr>
          <p:cNvSpPr txBox="1"/>
          <p:nvPr/>
        </p:nvSpPr>
        <p:spPr>
          <a:xfrm>
            <a:off x="1612153" y="1835074"/>
            <a:ext cx="5126037" cy="360996"/>
          </a:xfrm>
          <a:prstGeom prst="rect">
            <a:avLst/>
          </a:prstGeom>
          <a:noFill/>
        </p:spPr>
        <p:txBody>
          <a:bodyPr wrap="square">
            <a:spAutoFit/>
          </a:bodyPr>
          <a:lstStyle/>
          <a:p>
            <a:pPr marL="0" marR="0" lvl="0" indent="0" defTabSz="914400" rtl="0" eaLnBrk="1" fontAlgn="auto" latinLnBrk="0" hangingPunct="1">
              <a:lnSpc>
                <a:spcPct val="96000"/>
              </a:lnSpc>
              <a:spcBef>
                <a:spcPts val="0"/>
              </a:spcBef>
              <a:spcAft>
                <a:spcPts val="0"/>
              </a:spcAft>
              <a:buClrTx/>
              <a:buSzTx/>
              <a:buFontTx/>
              <a:buNone/>
              <a:tabLst/>
              <a:defRPr/>
            </a:pPr>
            <a:r>
              <a:rPr kumimoji="0" lang="en-US" b="0" i="0" u="none" strike="noStrike" kern="1200" cap="none" spc="0" normalizeH="0" baseline="0" noProof="0">
                <a:ln>
                  <a:noFill/>
                </a:ln>
                <a:effectLst/>
                <a:uLnTx/>
                <a:uFillTx/>
                <a:latin typeface="ES Build" pitchFamily="50" charset="0"/>
                <a:ea typeface="+mn-ea"/>
                <a:cs typeface="Microsoft Sans Serif" panose="020B0604020202020204" pitchFamily="34" charset="0"/>
              </a:rPr>
              <a:t>Zero Trust Data Resilience Best Practice</a:t>
            </a:r>
          </a:p>
        </p:txBody>
      </p:sp>
      <p:sp>
        <p:nvSpPr>
          <p:cNvPr id="224" name="Oval 223">
            <a:extLst>
              <a:ext uri="{FF2B5EF4-FFF2-40B4-BE49-F238E27FC236}">
                <a16:creationId xmlns:a16="http://schemas.microsoft.com/office/drawing/2014/main" id="{61CAA0C5-5CBC-E868-77E2-6B823288DFC5}"/>
              </a:ext>
            </a:extLst>
          </p:cNvPr>
          <p:cNvSpPr/>
          <p:nvPr/>
        </p:nvSpPr>
        <p:spPr>
          <a:xfrm>
            <a:off x="6180177" y="1867908"/>
            <a:ext cx="295329" cy="295329"/>
          </a:xfrm>
          <a:prstGeom prst="ellipse">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b="1">
                <a:solidFill>
                  <a:schemeClr val="tx1"/>
                </a:solidFill>
                <a:cs typeface="Microsoft Sans Serif" panose="020B0604020202020204" pitchFamily="34" charset="0"/>
              </a:rPr>
              <a:t>3</a:t>
            </a:r>
          </a:p>
        </p:txBody>
      </p:sp>
      <p:sp>
        <p:nvSpPr>
          <p:cNvPr id="225" name="Oval 224">
            <a:extLst>
              <a:ext uri="{FF2B5EF4-FFF2-40B4-BE49-F238E27FC236}">
                <a16:creationId xmlns:a16="http://schemas.microsoft.com/office/drawing/2014/main" id="{C36857C6-616B-34BC-7551-7C78E56009EE}"/>
              </a:ext>
            </a:extLst>
          </p:cNvPr>
          <p:cNvSpPr/>
          <p:nvPr/>
        </p:nvSpPr>
        <p:spPr>
          <a:xfrm>
            <a:off x="6598015" y="1867908"/>
            <a:ext cx="295329" cy="295329"/>
          </a:xfrm>
          <a:prstGeom prst="ellipse">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b="1">
                <a:solidFill>
                  <a:schemeClr val="tx1"/>
                </a:solidFill>
                <a:cs typeface="Microsoft Sans Serif" panose="020B0604020202020204" pitchFamily="34" charset="0"/>
              </a:rPr>
              <a:t>2</a:t>
            </a:r>
          </a:p>
        </p:txBody>
      </p:sp>
      <p:sp>
        <p:nvSpPr>
          <p:cNvPr id="226" name="Oval 225">
            <a:extLst>
              <a:ext uri="{FF2B5EF4-FFF2-40B4-BE49-F238E27FC236}">
                <a16:creationId xmlns:a16="http://schemas.microsoft.com/office/drawing/2014/main" id="{2F197FEE-DEFE-4610-D915-691B32014BBB}"/>
              </a:ext>
            </a:extLst>
          </p:cNvPr>
          <p:cNvSpPr/>
          <p:nvPr/>
        </p:nvSpPr>
        <p:spPr>
          <a:xfrm>
            <a:off x="7015853" y="1867908"/>
            <a:ext cx="295329" cy="295329"/>
          </a:xfrm>
          <a:prstGeom prst="ellipse">
            <a:avLst/>
          </a:prstGeom>
          <a:solidFill>
            <a:schemeClr val="accent2"/>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b="1">
                <a:solidFill>
                  <a:schemeClr val="accent1"/>
                </a:solidFill>
                <a:cs typeface="Microsoft Sans Serif" panose="020B0604020202020204" pitchFamily="34" charset="0"/>
              </a:rPr>
              <a:t>1</a:t>
            </a:r>
          </a:p>
        </p:txBody>
      </p:sp>
      <p:sp>
        <p:nvSpPr>
          <p:cNvPr id="227" name="Oval 226">
            <a:extLst>
              <a:ext uri="{FF2B5EF4-FFF2-40B4-BE49-F238E27FC236}">
                <a16:creationId xmlns:a16="http://schemas.microsoft.com/office/drawing/2014/main" id="{F860AE96-893D-B9E6-FDE2-AD7C055B8CF7}"/>
              </a:ext>
            </a:extLst>
          </p:cNvPr>
          <p:cNvSpPr/>
          <p:nvPr/>
        </p:nvSpPr>
        <p:spPr>
          <a:xfrm>
            <a:off x="7433691" y="1867908"/>
            <a:ext cx="295329" cy="295329"/>
          </a:xfrm>
          <a:prstGeom prst="ellipse">
            <a:avLst/>
          </a:prstGeom>
          <a:solidFill>
            <a:schemeClr val="accent2"/>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b="1">
                <a:solidFill>
                  <a:schemeClr val="accent1"/>
                </a:solidFill>
                <a:cs typeface="Microsoft Sans Serif" panose="020B0604020202020204" pitchFamily="34" charset="0"/>
              </a:rPr>
              <a:t>1</a:t>
            </a:r>
          </a:p>
        </p:txBody>
      </p:sp>
      <p:sp>
        <p:nvSpPr>
          <p:cNvPr id="228" name="Oval 227">
            <a:extLst>
              <a:ext uri="{FF2B5EF4-FFF2-40B4-BE49-F238E27FC236}">
                <a16:creationId xmlns:a16="http://schemas.microsoft.com/office/drawing/2014/main" id="{6D678E9F-48E5-890F-A73B-E44117291509}"/>
              </a:ext>
            </a:extLst>
          </p:cNvPr>
          <p:cNvSpPr/>
          <p:nvPr/>
        </p:nvSpPr>
        <p:spPr>
          <a:xfrm>
            <a:off x="7851531" y="1867908"/>
            <a:ext cx="295329" cy="295329"/>
          </a:xfrm>
          <a:prstGeom prst="ellipse">
            <a:avLst/>
          </a:prstGeom>
          <a:solidFill>
            <a:schemeClr val="accent2"/>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b="1">
                <a:solidFill>
                  <a:schemeClr val="accent1"/>
                </a:solidFill>
                <a:cs typeface="Microsoft Sans Serif" panose="020B0604020202020204" pitchFamily="34" charset="0"/>
              </a:rPr>
              <a:t>0</a:t>
            </a:r>
          </a:p>
        </p:txBody>
      </p:sp>
      <p:grpSp>
        <p:nvGrpSpPr>
          <p:cNvPr id="2" name="vdc">
            <a:extLst>
              <a:ext uri="{FF2B5EF4-FFF2-40B4-BE49-F238E27FC236}">
                <a16:creationId xmlns:a16="http://schemas.microsoft.com/office/drawing/2014/main" id="{5A799A78-C836-AF10-B3C6-805272C90123}"/>
              </a:ext>
            </a:extLst>
          </p:cNvPr>
          <p:cNvGrpSpPr/>
          <p:nvPr/>
        </p:nvGrpSpPr>
        <p:grpSpPr>
          <a:xfrm>
            <a:off x="9920054" y="2280309"/>
            <a:ext cx="1781885" cy="3438525"/>
            <a:chOff x="9791300" y="2325880"/>
            <a:chExt cx="1781885" cy="3438525"/>
          </a:xfrm>
        </p:grpSpPr>
        <p:sp>
          <p:nvSpPr>
            <p:cNvPr id="3" name="cloud-box">
              <a:extLst>
                <a:ext uri="{FF2B5EF4-FFF2-40B4-BE49-F238E27FC236}">
                  <a16:creationId xmlns:a16="http://schemas.microsoft.com/office/drawing/2014/main" id="{BBB42F42-89C4-0814-3339-B24BDE9BD140}"/>
                </a:ext>
              </a:extLst>
            </p:cNvPr>
            <p:cNvSpPr/>
            <p:nvPr/>
          </p:nvSpPr>
          <p:spPr>
            <a:xfrm>
              <a:off x="9791300" y="2325880"/>
              <a:ext cx="1781885" cy="3438525"/>
            </a:xfrm>
            <a:prstGeom prst="roundRect">
              <a:avLst>
                <a:gd name="adj" fmla="val 3920"/>
              </a:avLst>
            </a:prstGeom>
            <a:solidFill>
              <a:schemeClr val="bg1"/>
            </a:solidFill>
            <a:ln w="3175">
              <a:noFill/>
              <a:headEnd type="none" w="med" len="med"/>
              <a:tailEnd type="none" w="med" len="med"/>
            </a:ln>
            <a:effectLst>
              <a:outerShdw blurRad="381000" algn="ctr" rotWithShape="0">
                <a:schemeClr val="accent1">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960" tIns="0" rIns="822960" bIns="0" numCol="1" spcCol="0" rtlCol="0" fromWordArt="0" anchor="ctr" anchorCtr="0" forceAA="0" compatLnSpc="1">
              <a:prstTxWarp prst="textNoShape">
                <a:avLst/>
              </a:prstTxWarp>
              <a:noAutofit/>
            </a:bodyPr>
            <a:lstStyle/>
            <a:p>
              <a:pPr algn="ctr">
                <a:lnSpc>
                  <a:spcPct val="96000"/>
                </a:lnSpc>
              </a:pPr>
              <a:endParaRPr lang="en-US" sz="2800">
                <a:solidFill>
                  <a:srgbClr val="505861"/>
                </a:solidFill>
                <a:cs typeface="Microsoft Sans Serif" panose="020B0604020202020204" pitchFamily="34" charset="0"/>
              </a:endParaRPr>
            </a:p>
          </p:txBody>
        </p:sp>
        <p:pic>
          <p:nvPicPr>
            <p:cNvPr id="4" name="icon-vault">
              <a:extLst>
                <a:ext uri="{FF2B5EF4-FFF2-40B4-BE49-F238E27FC236}">
                  <a16:creationId xmlns:a16="http://schemas.microsoft.com/office/drawing/2014/main" id="{BEEA7B48-F20F-6FFE-F688-A5A4982BB0EF}"/>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174965" y="3095524"/>
              <a:ext cx="1014554" cy="1014554"/>
            </a:xfrm>
            <a:prstGeom prst="rect">
              <a:avLst/>
            </a:prstGeom>
          </p:spPr>
        </p:pic>
        <p:sp>
          <p:nvSpPr>
            <p:cNvPr id="5" name="data-mgt">
              <a:extLst>
                <a:ext uri="{FF2B5EF4-FFF2-40B4-BE49-F238E27FC236}">
                  <a16:creationId xmlns:a16="http://schemas.microsoft.com/office/drawing/2014/main" id="{5204A027-D80A-0A51-090D-38B7C3252296}"/>
                </a:ext>
              </a:extLst>
            </p:cNvPr>
            <p:cNvSpPr txBox="1"/>
            <p:nvPr/>
          </p:nvSpPr>
          <p:spPr>
            <a:xfrm>
              <a:off x="9791300" y="4818364"/>
              <a:ext cx="1781885" cy="448713"/>
            </a:xfrm>
            <a:prstGeom prst="rect">
              <a:avLst/>
            </a:prstGeom>
            <a:noFill/>
          </p:spPr>
          <p:txBody>
            <a:bodyPr wrap="square">
              <a:spAutoFit/>
            </a:bodyP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1200" i="0" u="none" strike="noStrike" kern="1200" cap="none" spc="0" normalizeH="0" baseline="0" noProof="0">
                  <a:ln>
                    <a:noFill/>
                  </a:ln>
                  <a:effectLst/>
                  <a:uLnTx/>
                  <a:uFillTx/>
                  <a:latin typeface="ES Build" pitchFamily="50" charset="0"/>
                  <a:ea typeface="+mn-ea"/>
                  <a:cs typeface="Microsoft Sans Serif" panose="020B0604020202020204" pitchFamily="34" charset="0"/>
                </a:rPr>
                <a:t>Secure cloud data </a:t>
              </a:r>
              <a:br>
                <a:rPr kumimoji="0" lang="en-US" sz="1200" i="0" u="none" strike="noStrike" kern="1200" cap="none" spc="0" normalizeH="0" baseline="0" noProof="0">
                  <a:ln>
                    <a:noFill/>
                  </a:ln>
                  <a:effectLst/>
                  <a:uLnTx/>
                  <a:uFillTx/>
                  <a:latin typeface="ES Build" pitchFamily="50" charset="0"/>
                  <a:ea typeface="+mn-ea"/>
                  <a:cs typeface="Microsoft Sans Serif" panose="020B0604020202020204" pitchFamily="34" charset="0"/>
                </a:rPr>
              </a:br>
              <a:r>
                <a:rPr kumimoji="0" lang="en-US" sz="1200" i="0" u="none" strike="noStrike" kern="1200" cap="none" spc="0" normalizeH="0" baseline="0" noProof="0">
                  <a:ln>
                    <a:noFill/>
                  </a:ln>
                  <a:effectLst/>
                  <a:uLnTx/>
                  <a:uFillTx/>
                  <a:latin typeface="ES Build" pitchFamily="50" charset="0"/>
                  <a:ea typeface="+mn-ea"/>
                  <a:cs typeface="Microsoft Sans Serif" panose="020B0604020202020204" pitchFamily="34" charset="0"/>
                </a:rPr>
                <a:t>management</a:t>
              </a:r>
            </a:p>
          </p:txBody>
        </p:sp>
        <p:sp>
          <p:nvSpPr>
            <p:cNvPr id="7" name="vault-title">
              <a:extLst>
                <a:ext uri="{FF2B5EF4-FFF2-40B4-BE49-F238E27FC236}">
                  <a16:creationId xmlns:a16="http://schemas.microsoft.com/office/drawing/2014/main" id="{3D1B1124-2DA6-6FAE-2679-C28055FA5E3D}"/>
                </a:ext>
              </a:extLst>
            </p:cNvPr>
            <p:cNvSpPr txBox="1"/>
            <p:nvPr/>
          </p:nvSpPr>
          <p:spPr>
            <a:xfrm>
              <a:off x="9791300" y="4287867"/>
              <a:ext cx="1781885" cy="360996"/>
            </a:xfrm>
            <a:prstGeom prst="rect">
              <a:avLst/>
            </a:prstGeom>
            <a:noFill/>
          </p:spPr>
          <p:txBody>
            <a:bodyPr wrap="square">
              <a:spAutoFit/>
            </a:bodyP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b="1" i="0" u="none" strike="noStrike" kern="1200" cap="none" spc="0" normalizeH="0" baseline="0" noProof="0">
                  <a:ln>
                    <a:noFill/>
                  </a:ln>
                  <a:effectLst/>
                  <a:uLnTx/>
                  <a:uFillTx/>
                  <a:latin typeface="ES Build" pitchFamily="50" charset="0"/>
                  <a:ea typeface="+mn-ea"/>
                  <a:cs typeface="Microsoft Sans Serif" panose="020B0604020202020204" pitchFamily="34" charset="0"/>
                </a:rPr>
                <a:t>Cloud Vault </a:t>
              </a:r>
            </a:p>
          </p:txBody>
        </p:sp>
      </p:grpSp>
      <p:pic>
        <p:nvPicPr>
          <p:cNvPr id="13" name="Graphic 12">
            <a:extLst>
              <a:ext uri="{FF2B5EF4-FFF2-40B4-BE49-F238E27FC236}">
                <a16:creationId xmlns:a16="http://schemas.microsoft.com/office/drawing/2014/main" id="{5DB65AD0-44D0-4068-2C10-29795D4C7B87}"/>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498439" y="4210050"/>
            <a:ext cx="414038" cy="414038"/>
          </a:xfrm>
          <a:prstGeom prst="rect">
            <a:avLst/>
          </a:prstGeom>
        </p:spPr>
      </p:pic>
      <p:grpSp>
        <p:nvGrpSpPr>
          <p:cNvPr id="38" name="Group 37">
            <a:extLst>
              <a:ext uri="{FF2B5EF4-FFF2-40B4-BE49-F238E27FC236}">
                <a16:creationId xmlns:a16="http://schemas.microsoft.com/office/drawing/2014/main" id="{81C6184E-5C37-03BE-A129-D05B751779A2}"/>
              </a:ext>
            </a:extLst>
          </p:cNvPr>
          <p:cNvGrpSpPr/>
          <p:nvPr/>
        </p:nvGrpSpPr>
        <p:grpSpPr>
          <a:xfrm>
            <a:off x="6593680" y="2635250"/>
            <a:ext cx="1738505" cy="1276752"/>
            <a:chOff x="8529678" y="2511152"/>
            <a:chExt cx="1566880" cy="1163212"/>
          </a:xfrm>
        </p:grpSpPr>
        <p:grpSp>
          <p:nvGrpSpPr>
            <p:cNvPr id="14" name="Group 13">
              <a:extLst>
                <a:ext uri="{FF2B5EF4-FFF2-40B4-BE49-F238E27FC236}">
                  <a16:creationId xmlns:a16="http://schemas.microsoft.com/office/drawing/2014/main" id="{2CB1D4A3-1FA6-0FCB-3DAD-DEA9117A9B95}"/>
                </a:ext>
              </a:extLst>
            </p:cNvPr>
            <p:cNvGrpSpPr/>
            <p:nvPr/>
          </p:nvGrpSpPr>
          <p:grpSpPr>
            <a:xfrm>
              <a:off x="8529678" y="2511152"/>
              <a:ext cx="1566880" cy="1163212"/>
              <a:chOff x="9312131" y="2627412"/>
              <a:chExt cx="1566880" cy="1163212"/>
            </a:xfrm>
          </p:grpSpPr>
          <p:sp>
            <p:nvSpPr>
              <p:cNvPr id="35" name="Freeform 53">
                <a:extLst>
                  <a:ext uri="{FF2B5EF4-FFF2-40B4-BE49-F238E27FC236}">
                    <a16:creationId xmlns:a16="http://schemas.microsoft.com/office/drawing/2014/main" id="{0B93B266-77AB-276E-5A77-65DEBB27C3A7}"/>
                  </a:ext>
                </a:extLst>
              </p:cNvPr>
              <p:cNvSpPr/>
              <p:nvPr/>
            </p:nvSpPr>
            <p:spPr>
              <a:xfrm>
                <a:off x="9316908" y="3034742"/>
                <a:ext cx="1555491" cy="755882"/>
              </a:xfrm>
              <a:prstGeom prst="snip2DiagRect">
                <a:avLst>
                  <a:gd name="adj1" fmla="val 15592"/>
                  <a:gd name="adj2" fmla="val 0"/>
                </a:avLst>
              </a:prstGeom>
              <a:solidFill>
                <a:schemeClr val="bg1"/>
              </a:solidFill>
              <a:ln w="12700" cap="flat">
                <a:solidFill>
                  <a:schemeClr val="accent2"/>
                </a:solidFill>
                <a:prstDash val="solid"/>
                <a:miter/>
              </a:ln>
            </p:spPr>
            <p:txBody>
              <a:bodyPr tIns="182880" bIns="182880" rtlCol="0" anchor="ctr"/>
              <a:lstStyle/>
              <a:p>
                <a:pPr marL="0" marR="0" lvl="3" indent="0" algn="l" defTabSz="914400" rtl="0" eaLnBrk="1" fontAlgn="auto" latinLnBrk="0" hangingPunct="1">
                  <a:lnSpc>
                    <a:spcPct val="96000"/>
                  </a:lnSpc>
                  <a:spcBef>
                    <a:spcPts val="300"/>
                  </a:spcBef>
                  <a:spcAft>
                    <a:spcPts val="150"/>
                  </a:spcAft>
                  <a:buClrTx/>
                  <a:buSzTx/>
                  <a:buFontTx/>
                  <a:buNone/>
                  <a:tabLst/>
                  <a:defRPr/>
                </a:pPr>
                <a:r>
                  <a:rPr kumimoji="0" lang="en-GB" sz="1200" b="1" i="0" u="none" strike="noStrike" kern="1200" cap="none" spc="0" normalizeH="0" baseline="0" noProof="0">
                    <a:ln>
                      <a:noFill/>
                    </a:ln>
                    <a:solidFill>
                      <a:srgbClr val="8E71F4"/>
                    </a:solidFill>
                    <a:effectLst/>
                    <a:uLnTx/>
                    <a:uFillTx/>
                    <a:latin typeface="ES Build Neutral"/>
                    <a:ea typeface="ES Build" pitchFamily="2" charset="77"/>
                    <a:cs typeface="+mn-cs"/>
                  </a:rPr>
                  <a:t>Offsite Immutable copy</a:t>
                </a:r>
              </a:p>
            </p:txBody>
          </p:sp>
          <p:sp>
            <p:nvSpPr>
              <p:cNvPr id="36" name="Freeform 54">
                <a:extLst>
                  <a:ext uri="{FF2B5EF4-FFF2-40B4-BE49-F238E27FC236}">
                    <a16:creationId xmlns:a16="http://schemas.microsoft.com/office/drawing/2014/main" id="{4DFB49BB-8B02-10DB-7E43-55482C1820DB}"/>
                  </a:ext>
                </a:extLst>
              </p:cNvPr>
              <p:cNvSpPr/>
              <p:nvPr/>
            </p:nvSpPr>
            <p:spPr>
              <a:xfrm>
                <a:off x="9312131" y="2627412"/>
                <a:ext cx="1566880" cy="543176"/>
              </a:xfrm>
              <a:prstGeom prst="round2SameRect">
                <a:avLst>
                  <a:gd name="adj1" fmla="val 6538"/>
                  <a:gd name="adj2" fmla="val 0"/>
                </a:avLst>
              </a:prstGeom>
              <a:solidFill>
                <a:schemeClr val="accent2"/>
              </a:solidFill>
              <a:ln w="0" cap="flat">
                <a:noFill/>
                <a:prstDash val="solid"/>
                <a:miter/>
              </a:ln>
            </p:spPr>
            <p:txBody>
              <a:bodyPr rtlCol="0" anchor="ctr"/>
              <a:lstStyle/>
              <a:p>
                <a:pPr marL="0" marR="0" lvl="0" indent="0" defTabSz="622300" rtl="0" eaLnBrk="1" fontAlgn="auto" latinLnBrk="0" hangingPunct="1">
                  <a:lnSpc>
                    <a:spcPct val="100000"/>
                  </a:lnSpc>
                  <a:spcBef>
                    <a:spcPts val="0"/>
                  </a:spcBef>
                  <a:spcAft>
                    <a:spcPts val="0"/>
                  </a:spcAft>
                  <a:buClrTx/>
                  <a:buSzTx/>
                  <a:buFontTx/>
                  <a:buNone/>
                  <a:tabLst/>
                  <a:defRPr/>
                </a:pPr>
                <a:r>
                  <a:rPr kumimoji="0" lang="ru-RU" sz="2800" b="1" i="0" u="none" strike="noStrike" kern="1200" cap="none" spc="0" normalizeH="0" baseline="0" noProof="0">
                    <a:ln>
                      <a:noFill/>
                    </a:ln>
                    <a:solidFill>
                      <a:srgbClr val="FFFFFF"/>
                    </a:solidFill>
                    <a:effectLst/>
                    <a:uLnTx/>
                    <a:uFillTx/>
                    <a:latin typeface="ES Build"/>
                    <a:ea typeface="+mn-ea"/>
                    <a:cs typeface="+mn-cs"/>
                  </a:rPr>
                  <a:t>	</a:t>
                </a:r>
                <a:r>
                  <a:rPr kumimoji="0" lang="en-US" sz="2800" b="1" i="0" u="none" strike="noStrike" kern="1200" cap="none" spc="0" normalizeH="0" baseline="0" noProof="0">
                    <a:ln>
                      <a:noFill/>
                    </a:ln>
                    <a:solidFill>
                      <a:srgbClr val="FFFFFF"/>
                    </a:solidFill>
                    <a:effectLst/>
                    <a:uLnTx/>
                    <a:uFillTx/>
                    <a:latin typeface="ES Build"/>
                    <a:ea typeface="+mn-ea"/>
                    <a:cs typeface="+mn-cs"/>
                  </a:rPr>
                  <a:t>1</a:t>
                </a:r>
                <a:endParaRPr kumimoji="0" lang="en-RU" sz="2800" b="1" i="0" u="none" strike="noStrike" kern="1200" cap="none" spc="0" normalizeH="0" baseline="0" noProof="0">
                  <a:ln>
                    <a:noFill/>
                  </a:ln>
                  <a:solidFill>
                    <a:srgbClr val="FFFFFF"/>
                  </a:solidFill>
                  <a:effectLst/>
                  <a:uLnTx/>
                  <a:uFillTx/>
                  <a:latin typeface="ES Build"/>
                  <a:ea typeface="+mn-ea"/>
                  <a:cs typeface="+mn-cs"/>
                </a:endParaRPr>
              </a:p>
            </p:txBody>
          </p:sp>
        </p:grpSp>
        <p:pic>
          <p:nvPicPr>
            <p:cNvPr id="37" name="Graphic 36">
              <a:extLst>
                <a:ext uri="{FF2B5EF4-FFF2-40B4-BE49-F238E27FC236}">
                  <a16:creationId xmlns:a16="http://schemas.microsoft.com/office/drawing/2014/main" id="{67A01277-72E8-7995-5232-D609AF61CC5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662010" y="2562715"/>
              <a:ext cx="429308" cy="429308"/>
            </a:xfrm>
            <a:prstGeom prst="rect">
              <a:avLst/>
            </a:prstGeom>
          </p:spPr>
        </p:pic>
      </p:grpSp>
    </p:spTree>
    <p:extLst>
      <p:ext uri="{BB962C8B-B14F-4D97-AF65-F5344CB8AC3E}">
        <p14:creationId xmlns:p14="http://schemas.microsoft.com/office/powerpoint/2010/main" val="2345818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hteck: abgerundete Ecken 146">
            <a:extLst>
              <a:ext uri="{FF2B5EF4-FFF2-40B4-BE49-F238E27FC236}">
                <a16:creationId xmlns:a16="http://schemas.microsoft.com/office/drawing/2014/main" id="{3F05A023-055C-6AB5-9D4C-A2D2FE8793A8}"/>
              </a:ext>
            </a:extLst>
          </p:cNvPr>
          <p:cNvSpPr/>
          <p:nvPr/>
        </p:nvSpPr>
        <p:spPr bwMode="auto">
          <a:xfrm>
            <a:off x="493713" y="1186543"/>
            <a:ext cx="11202988" cy="4982481"/>
          </a:xfrm>
          <a:prstGeom prst="roundRect">
            <a:avLst>
              <a:gd name="adj" fmla="val 1499"/>
            </a:avLst>
          </a:prstGeom>
          <a:solidFill>
            <a:schemeClr val="bg1"/>
          </a:solidFill>
          <a:ln w="12700">
            <a:noFill/>
            <a:headEnd type="none" w="med" len="med"/>
            <a:tailEnd type="none" w="med" len="med"/>
          </a:ln>
          <a:effectLst>
            <a:outerShdw blurRad="381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182880" rIns="365760" bIns="121920" numCol="1" spcCol="0" rtlCol="0" fromWordArt="0" anchor="t" anchorCtr="0" forceAA="0" compatLnSpc="1">
            <a:prstTxWarp prst="textNoShape">
              <a:avLst/>
            </a:prstTxWarp>
            <a:noAutofit/>
          </a:bodyPr>
          <a:lstStyle/>
          <a:p>
            <a:pPr algn="ctr">
              <a:lnSpc>
                <a:spcPct val="96000"/>
              </a:lnSpc>
            </a:pPr>
            <a:endParaRPr lang="en-US" sz="1600">
              <a:solidFill>
                <a:schemeClr val="bg1"/>
              </a:solidFill>
            </a:endParaRPr>
          </a:p>
        </p:txBody>
      </p:sp>
      <p:graphicFrame>
        <p:nvGraphicFramePr>
          <p:cNvPr id="15" name="Table 14">
            <a:extLst>
              <a:ext uri="{FF2B5EF4-FFF2-40B4-BE49-F238E27FC236}">
                <a16:creationId xmlns:a16="http://schemas.microsoft.com/office/drawing/2014/main" id="{3D26EAF3-3230-31B3-93E3-250ACF625C99}"/>
              </a:ext>
            </a:extLst>
          </p:cNvPr>
          <p:cNvGraphicFramePr>
            <a:graphicFrameLocks/>
          </p:cNvGraphicFramePr>
          <p:nvPr/>
        </p:nvGraphicFramePr>
        <p:xfrm>
          <a:off x="947807" y="2786421"/>
          <a:ext cx="10679629" cy="2997200"/>
        </p:xfrm>
        <a:graphic>
          <a:graphicData uri="http://schemas.openxmlformats.org/drawingml/2006/table">
            <a:tbl>
              <a:tblPr firstRow="1" bandRow="1">
                <a:tableStyleId>{2D5ABB26-0587-4C30-8999-92F81FD0307C}</a:tableStyleId>
              </a:tblPr>
              <a:tblGrid>
                <a:gridCol w="1965753">
                  <a:extLst>
                    <a:ext uri="{9D8B030D-6E8A-4147-A177-3AD203B41FA5}">
                      <a16:colId xmlns:a16="http://schemas.microsoft.com/office/drawing/2014/main" val="322139273"/>
                    </a:ext>
                  </a:extLst>
                </a:gridCol>
                <a:gridCol w="130155">
                  <a:extLst>
                    <a:ext uri="{9D8B030D-6E8A-4147-A177-3AD203B41FA5}">
                      <a16:colId xmlns:a16="http://schemas.microsoft.com/office/drawing/2014/main" val="1937720102"/>
                    </a:ext>
                  </a:extLst>
                </a:gridCol>
                <a:gridCol w="1908508">
                  <a:extLst>
                    <a:ext uri="{9D8B030D-6E8A-4147-A177-3AD203B41FA5}">
                      <a16:colId xmlns:a16="http://schemas.microsoft.com/office/drawing/2014/main" val="2631259312"/>
                    </a:ext>
                  </a:extLst>
                </a:gridCol>
                <a:gridCol w="299720">
                  <a:extLst>
                    <a:ext uri="{9D8B030D-6E8A-4147-A177-3AD203B41FA5}">
                      <a16:colId xmlns:a16="http://schemas.microsoft.com/office/drawing/2014/main" val="571984645"/>
                    </a:ext>
                  </a:extLst>
                </a:gridCol>
                <a:gridCol w="1851262">
                  <a:extLst>
                    <a:ext uri="{9D8B030D-6E8A-4147-A177-3AD203B41FA5}">
                      <a16:colId xmlns:a16="http://schemas.microsoft.com/office/drawing/2014/main" val="1142201371"/>
                    </a:ext>
                  </a:extLst>
                </a:gridCol>
                <a:gridCol w="299720">
                  <a:extLst>
                    <a:ext uri="{9D8B030D-6E8A-4147-A177-3AD203B41FA5}">
                      <a16:colId xmlns:a16="http://schemas.microsoft.com/office/drawing/2014/main" val="3389841563"/>
                    </a:ext>
                  </a:extLst>
                </a:gridCol>
                <a:gridCol w="1828883">
                  <a:extLst>
                    <a:ext uri="{9D8B030D-6E8A-4147-A177-3AD203B41FA5}">
                      <a16:colId xmlns:a16="http://schemas.microsoft.com/office/drawing/2014/main" val="2622360176"/>
                    </a:ext>
                  </a:extLst>
                </a:gridCol>
                <a:gridCol w="299720">
                  <a:extLst>
                    <a:ext uri="{9D8B030D-6E8A-4147-A177-3AD203B41FA5}">
                      <a16:colId xmlns:a16="http://schemas.microsoft.com/office/drawing/2014/main" val="3806052099"/>
                    </a:ext>
                  </a:extLst>
                </a:gridCol>
                <a:gridCol w="2095908">
                  <a:extLst>
                    <a:ext uri="{9D8B030D-6E8A-4147-A177-3AD203B41FA5}">
                      <a16:colId xmlns:a16="http://schemas.microsoft.com/office/drawing/2014/main" val="3538402106"/>
                    </a:ext>
                  </a:extLst>
                </a:gridCol>
              </a:tblGrid>
              <a:tr h="2997200">
                <a:tc>
                  <a:txBody>
                    <a:bodyPr/>
                    <a:lstStyle/>
                    <a:p>
                      <a:pPr defTabSz="914377">
                        <a:spcAft>
                          <a:spcPts val="800"/>
                        </a:spcAft>
                        <a:defRPr/>
                      </a:pPr>
                      <a:endParaRPr lang="en-US" sz="1300">
                        <a:solidFill>
                          <a:schemeClr val="accent2"/>
                        </a:solidFill>
                        <a:latin typeface="+mn-lt"/>
                      </a:endParaRPr>
                    </a:p>
                  </a:txBody>
                  <a:tcPr marL="0" marT="0">
                    <a:lnR w="12700" cap="flat" cmpd="sng" algn="ctr">
                      <a:solidFill>
                        <a:schemeClr val="tx1"/>
                      </a:solidFill>
                      <a:prstDash val="solid"/>
                      <a:round/>
                      <a:headEnd type="none" w="med" len="med"/>
                      <a:tailEnd type="none" w="med" len="med"/>
                    </a:lnR>
                  </a:tcPr>
                </a:tc>
                <a:tc>
                  <a:txBody>
                    <a:bodyPr/>
                    <a:lstStyle/>
                    <a:p>
                      <a:pPr defTabSz="914377">
                        <a:spcAft>
                          <a:spcPts val="800"/>
                        </a:spcAft>
                        <a:defRPr/>
                      </a:pPr>
                      <a:endParaRPr lang="en-US" sz="1300">
                        <a:solidFill>
                          <a:schemeClr val="accent2"/>
                        </a:solidFill>
                        <a:latin typeface="+mn-lt"/>
                      </a:endParaRPr>
                    </a:p>
                  </a:txBody>
                  <a:tcPr marL="0" marT="0">
                    <a:lnL w="12700" cap="flat" cmpd="sng" algn="ctr">
                      <a:solidFill>
                        <a:schemeClr val="tx1"/>
                      </a:solidFill>
                      <a:prstDash val="solid"/>
                      <a:round/>
                      <a:headEnd type="none" w="med" len="med"/>
                      <a:tailEnd type="none" w="med" len="med"/>
                    </a:lnL>
                    <a:lnR w="6350" cap="flat" cmpd="sng" algn="ctr">
                      <a:solidFill>
                        <a:schemeClr val="bg1"/>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300">
                        <a:solidFill>
                          <a:schemeClr val="accent2"/>
                        </a:solidFill>
                        <a:latin typeface="+mn-lt"/>
                      </a:endParaRPr>
                    </a:p>
                  </a:txBody>
                  <a:tcPr marL="182880" marT="0">
                    <a:lnL w="635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300">
                        <a:solidFill>
                          <a:schemeClr val="accent2"/>
                        </a:solidFill>
                        <a:latin typeface="+mn-lt"/>
                      </a:endParaRPr>
                    </a:p>
                  </a:txBody>
                  <a:tcPr marL="182880" marT="0">
                    <a:lnL w="12700" cap="flat" cmpd="sng" algn="ctr">
                      <a:solidFill>
                        <a:schemeClr val="tx1"/>
                      </a:solidFill>
                      <a:prstDash val="solid"/>
                      <a:round/>
                      <a:headEnd type="none" w="med" len="med"/>
                      <a:tailEnd type="none" w="med" len="med"/>
                    </a:lnL>
                    <a:lnR w="6350" cap="flat" cmpd="sng" algn="ctr">
                      <a:solidFill>
                        <a:schemeClr val="bg1"/>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300">
                        <a:solidFill>
                          <a:schemeClr val="accent2"/>
                        </a:solidFill>
                        <a:latin typeface="+mn-lt"/>
                      </a:endParaRPr>
                    </a:p>
                  </a:txBody>
                  <a:tcPr marL="182880" marT="0">
                    <a:lnL w="635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300">
                        <a:solidFill>
                          <a:schemeClr val="accent2"/>
                        </a:solidFill>
                        <a:latin typeface="+mn-lt"/>
                      </a:endParaRPr>
                    </a:p>
                  </a:txBody>
                  <a:tcPr marL="182880" marT="0">
                    <a:lnL w="12700" cap="flat" cmpd="sng" algn="ctr">
                      <a:solidFill>
                        <a:schemeClr val="tx1"/>
                      </a:solidFill>
                      <a:prstDash val="solid"/>
                      <a:round/>
                      <a:headEnd type="none" w="med" len="med"/>
                      <a:tailEnd type="none" w="med" len="med"/>
                    </a:lnL>
                    <a:lnR w="6350" cap="flat" cmpd="sng" algn="ctr">
                      <a:solidFill>
                        <a:schemeClr val="bg1"/>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300">
                        <a:solidFill>
                          <a:schemeClr val="accent2"/>
                        </a:solidFill>
                        <a:latin typeface="+mn-lt"/>
                      </a:endParaRPr>
                    </a:p>
                  </a:txBody>
                  <a:tcPr marL="182880" marT="0">
                    <a:lnL w="635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300">
                        <a:solidFill>
                          <a:schemeClr val="accent2"/>
                        </a:solidFill>
                        <a:latin typeface="+mn-lt"/>
                      </a:endParaRPr>
                    </a:p>
                  </a:txBody>
                  <a:tcPr marL="182880" marT="0">
                    <a:lnL w="12700" cap="flat" cmpd="sng" algn="ctr">
                      <a:solidFill>
                        <a:schemeClr val="tx1"/>
                      </a:solidFill>
                      <a:prstDash val="solid"/>
                      <a:round/>
                      <a:headEnd type="none" w="med" len="med"/>
                      <a:tailEnd type="none" w="med" len="med"/>
                    </a:lnL>
                    <a:lnR w="6350" cap="flat" cmpd="sng" algn="ctr">
                      <a:solidFill>
                        <a:schemeClr val="bg1"/>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300">
                        <a:solidFill>
                          <a:schemeClr val="accent2"/>
                        </a:solidFill>
                        <a:latin typeface="+mn-lt"/>
                      </a:endParaRPr>
                    </a:p>
                  </a:txBody>
                  <a:tcPr marL="182880" marT="0">
                    <a:lnL w="635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1340274495"/>
                  </a:ext>
                </a:extLst>
              </a:tr>
            </a:tbl>
          </a:graphicData>
        </a:graphic>
      </p:graphicFrame>
      <p:pic>
        <p:nvPicPr>
          <p:cNvPr id="10" name="Graphic 9">
            <a:extLst>
              <a:ext uri="{FF2B5EF4-FFF2-40B4-BE49-F238E27FC236}">
                <a16:creationId xmlns:a16="http://schemas.microsoft.com/office/drawing/2014/main" id="{77E2AF04-9C40-1E70-D98C-BB539FAB6A3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06770" y="5045625"/>
            <a:ext cx="236391" cy="189114"/>
          </a:xfrm>
          <a:prstGeom prst="rect">
            <a:avLst/>
          </a:prstGeom>
        </p:spPr>
      </p:pic>
      <p:sp>
        <p:nvSpPr>
          <p:cNvPr id="2" name="Title 1">
            <a:extLst>
              <a:ext uri="{FF2B5EF4-FFF2-40B4-BE49-F238E27FC236}">
                <a16:creationId xmlns:a16="http://schemas.microsoft.com/office/drawing/2014/main" id="{F12DC0BE-6C0E-0060-2F64-D53BCF7330D8}"/>
              </a:ext>
            </a:extLst>
          </p:cNvPr>
          <p:cNvSpPr>
            <a:spLocks noGrp="1"/>
          </p:cNvSpPr>
          <p:nvPr>
            <p:ph type="title"/>
          </p:nvPr>
        </p:nvSpPr>
        <p:spPr/>
        <p:txBody>
          <a:bodyPr/>
          <a:lstStyle/>
          <a:p>
            <a:r>
              <a:rPr lang="en-US"/>
              <a:t>Made more powerful by a robust Security partner ecosystem</a:t>
            </a:r>
          </a:p>
        </p:txBody>
      </p:sp>
      <p:pic>
        <p:nvPicPr>
          <p:cNvPr id="22" name="Grafik 40">
            <a:extLst>
              <a:ext uri="{FF2B5EF4-FFF2-40B4-BE49-F238E27FC236}">
                <a16:creationId xmlns:a16="http://schemas.microsoft.com/office/drawing/2014/main" id="{58FBAE1A-A86A-2B19-FBDA-F831A8121F4B}"/>
              </a:ext>
            </a:extLst>
          </p:cNvPr>
          <p:cNvPicPr>
            <a:picLocks noChangeAspect="1"/>
          </p:cNvPicPr>
          <p:nvPr/>
        </p:nvPicPr>
        <p:blipFill>
          <a:blip r:embed="rId5" cstate="print">
            <a:duotone>
              <a:prstClr val="black"/>
              <a:schemeClr val="accent1">
                <a:tint val="45000"/>
                <a:satMod val="400000"/>
              </a:schemeClr>
            </a:duotone>
            <a:extLst>
              <a:ext uri="{BEBA8EAE-BF5A-486C-A8C5-ECC9F3942E4B}">
                <a14:imgProps xmlns:a14="http://schemas.microsoft.com/office/drawing/2010/main">
                  <a14:imgLayer r:embed="rId6">
                    <a14:imgEffect>
                      <a14:brightnessContrast bright="-62000"/>
                    </a14:imgEffect>
                  </a14:imgLayer>
                </a14:imgProps>
              </a:ext>
              <a:ext uri="{28A0092B-C50C-407E-A947-70E740481C1C}">
                <a14:useLocalDpi xmlns:a14="http://schemas.microsoft.com/office/drawing/2010/main"/>
              </a:ext>
            </a:extLst>
          </a:blip>
          <a:stretch>
            <a:fillRect/>
          </a:stretch>
        </p:blipFill>
        <p:spPr>
          <a:xfrm>
            <a:off x="890247" y="3237331"/>
            <a:ext cx="1025639" cy="214121"/>
          </a:xfrm>
          <a:prstGeom prst="rect">
            <a:avLst/>
          </a:prstGeom>
        </p:spPr>
      </p:pic>
      <p:pic>
        <p:nvPicPr>
          <p:cNvPr id="40" name="Graphic 39">
            <a:extLst>
              <a:ext uri="{FF2B5EF4-FFF2-40B4-BE49-F238E27FC236}">
                <a16:creationId xmlns:a16="http://schemas.microsoft.com/office/drawing/2014/main" id="{131FECD1-A634-A487-AF12-1228374DD02D}"/>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90248" y="2791462"/>
            <a:ext cx="971209" cy="207294"/>
          </a:xfrm>
          <a:prstGeom prst="rect">
            <a:avLst/>
          </a:prstGeom>
        </p:spPr>
      </p:pic>
      <p:pic>
        <p:nvPicPr>
          <p:cNvPr id="42" name="Graphic 41">
            <a:extLst>
              <a:ext uri="{FF2B5EF4-FFF2-40B4-BE49-F238E27FC236}">
                <a16:creationId xmlns:a16="http://schemas.microsoft.com/office/drawing/2014/main" id="{A786912B-C728-A21E-C8CB-2A80A52B201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90247" y="3538695"/>
            <a:ext cx="1112724" cy="344787"/>
          </a:xfrm>
          <a:prstGeom prst="rect">
            <a:avLst/>
          </a:prstGeom>
        </p:spPr>
      </p:pic>
      <p:pic>
        <p:nvPicPr>
          <p:cNvPr id="44" name="Graphic 43">
            <a:extLst>
              <a:ext uri="{FF2B5EF4-FFF2-40B4-BE49-F238E27FC236}">
                <a16:creationId xmlns:a16="http://schemas.microsoft.com/office/drawing/2014/main" id="{CF5CC32E-8882-0DB6-3E5D-96636E733C94}"/>
              </a:ext>
            </a:extLst>
          </p:cNvPr>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890248" y="4842636"/>
            <a:ext cx="699066" cy="119626"/>
          </a:xfrm>
          <a:prstGeom prst="rect">
            <a:avLst/>
          </a:prstGeom>
        </p:spPr>
      </p:pic>
      <p:grpSp>
        <p:nvGrpSpPr>
          <p:cNvPr id="62" name="Group 61">
            <a:extLst>
              <a:ext uri="{FF2B5EF4-FFF2-40B4-BE49-F238E27FC236}">
                <a16:creationId xmlns:a16="http://schemas.microsoft.com/office/drawing/2014/main" id="{92B54E7C-F326-C736-A352-8BCC76A49313}"/>
              </a:ext>
            </a:extLst>
          </p:cNvPr>
          <p:cNvGrpSpPr/>
          <p:nvPr/>
        </p:nvGrpSpPr>
        <p:grpSpPr>
          <a:xfrm>
            <a:off x="890248" y="4027020"/>
            <a:ext cx="564934" cy="212473"/>
            <a:chOff x="5232400" y="3121342"/>
            <a:chExt cx="1727200" cy="649605"/>
          </a:xfrm>
        </p:grpSpPr>
        <p:sp>
          <p:nvSpPr>
            <p:cNvPr id="56" name="Freeform 55">
              <a:extLst>
                <a:ext uri="{FF2B5EF4-FFF2-40B4-BE49-F238E27FC236}">
                  <a16:creationId xmlns:a16="http://schemas.microsoft.com/office/drawing/2014/main" id="{B42BE896-088A-DB78-1B9F-52A1A006885C}"/>
                </a:ext>
              </a:extLst>
            </p:cNvPr>
            <p:cNvSpPr/>
            <p:nvPr/>
          </p:nvSpPr>
          <p:spPr>
            <a:xfrm>
              <a:off x="5232400" y="3121342"/>
              <a:ext cx="1727200" cy="649605"/>
            </a:xfrm>
            <a:custGeom>
              <a:avLst/>
              <a:gdLst>
                <a:gd name="connsiteX0" fmla="*/ 238202 w 1727200"/>
                <a:gd name="connsiteY0" fmla="*/ 0 h 649605"/>
                <a:gd name="connsiteX1" fmla="*/ 1488998 w 1727200"/>
                <a:gd name="connsiteY1" fmla="*/ 0 h 649605"/>
                <a:gd name="connsiteX2" fmla="*/ 1686393 w 1727200"/>
                <a:gd name="connsiteY2" fmla="*/ 107633 h 649605"/>
                <a:gd name="connsiteX3" fmla="*/ 1727200 w 1727200"/>
                <a:gd name="connsiteY3" fmla="*/ 324803 h 649605"/>
                <a:gd name="connsiteX4" fmla="*/ 1686393 w 1727200"/>
                <a:gd name="connsiteY4" fmla="*/ 541973 h 649605"/>
                <a:gd name="connsiteX5" fmla="*/ 1488998 w 1727200"/>
                <a:gd name="connsiteY5" fmla="*/ 649605 h 649605"/>
                <a:gd name="connsiteX6" fmla="*/ 238202 w 1727200"/>
                <a:gd name="connsiteY6" fmla="*/ 649605 h 649605"/>
                <a:gd name="connsiteX7" fmla="*/ 40807 w 1727200"/>
                <a:gd name="connsiteY7" fmla="*/ 541973 h 649605"/>
                <a:gd name="connsiteX8" fmla="*/ 0 w 1727200"/>
                <a:gd name="connsiteY8" fmla="*/ 324803 h 649605"/>
                <a:gd name="connsiteX9" fmla="*/ 40807 w 1727200"/>
                <a:gd name="connsiteY9" fmla="*/ 107633 h 649605"/>
                <a:gd name="connsiteX10" fmla="*/ 238202 w 1727200"/>
                <a:gd name="connsiteY10" fmla="*/ 0 h 649605"/>
                <a:gd name="connsiteX11" fmla="*/ 254334 w 1727200"/>
                <a:gd name="connsiteY11" fmla="*/ 57150 h 649605"/>
                <a:gd name="connsiteX12" fmla="*/ 115779 w 1727200"/>
                <a:gd name="connsiteY12" fmla="*/ 114300 h 649605"/>
                <a:gd name="connsiteX13" fmla="*/ 56940 w 1727200"/>
                <a:gd name="connsiteY13" fmla="*/ 324803 h 649605"/>
                <a:gd name="connsiteX14" fmla="*/ 115779 w 1727200"/>
                <a:gd name="connsiteY14" fmla="*/ 535305 h 649605"/>
                <a:gd name="connsiteX15" fmla="*/ 254334 w 1727200"/>
                <a:gd name="connsiteY15" fmla="*/ 592455 h 649605"/>
                <a:gd name="connsiteX16" fmla="*/ 898713 w 1727200"/>
                <a:gd name="connsiteY16" fmla="*/ 592455 h 649605"/>
                <a:gd name="connsiteX17" fmla="*/ 898713 w 1727200"/>
                <a:gd name="connsiteY17" fmla="*/ 57150 h 649605"/>
                <a:gd name="connsiteX18" fmla="*/ 254334 w 1727200"/>
                <a:gd name="connsiteY18" fmla="*/ 57150 h 649605"/>
                <a:gd name="connsiteX19" fmla="*/ 1123628 w 1727200"/>
                <a:gd name="connsiteY19" fmla="*/ 170498 h 649605"/>
                <a:gd name="connsiteX20" fmla="*/ 976532 w 1727200"/>
                <a:gd name="connsiteY20" fmla="*/ 324803 h 649605"/>
                <a:gd name="connsiteX21" fmla="*/ 1123628 w 1727200"/>
                <a:gd name="connsiteY21" fmla="*/ 478155 h 649605"/>
                <a:gd name="connsiteX22" fmla="*/ 1229918 w 1727200"/>
                <a:gd name="connsiteY22" fmla="*/ 460058 h 649605"/>
                <a:gd name="connsiteX23" fmla="*/ 1269776 w 1727200"/>
                <a:gd name="connsiteY23" fmla="*/ 378143 h 649605"/>
                <a:gd name="connsiteX24" fmla="*/ 1177722 w 1727200"/>
                <a:gd name="connsiteY24" fmla="*/ 378143 h 649605"/>
                <a:gd name="connsiteX25" fmla="*/ 1123628 w 1727200"/>
                <a:gd name="connsiteY25" fmla="*/ 414338 h 649605"/>
                <a:gd name="connsiteX26" fmla="*/ 1070484 w 1727200"/>
                <a:gd name="connsiteY26" fmla="*/ 340995 h 649605"/>
                <a:gd name="connsiteX27" fmla="*/ 1070484 w 1727200"/>
                <a:gd name="connsiteY27" fmla="*/ 338138 h 649605"/>
                <a:gd name="connsiteX28" fmla="*/ 1269776 w 1727200"/>
                <a:gd name="connsiteY28" fmla="*/ 338138 h 649605"/>
                <a:gd name="connsiteX29" fmla="*/ 1269776 w 1727200"/>
                <a:gd name="connsiteY29" fmla="*/ 324803 h 649605"/>
                <a:gd name="connsiteX30" fmla="*/ 1123628 w 1727200"/>
                <a:gd name="connsiteY30" fmla="*/ 170498 h 649605"/>
                <a:gd name="connsiteX31" fmla="*/ 1328615 w 1727200"/>
                <a:gd name="connsiteY31" fmla="*/ 171450 h 649605"/>
                <a:gd name="connsiteX32" fmla="*/ 1328615 w 1727200"/>
                <a:gd name="connsiteY32" fmla="*/ 240983 h 649605"/>
                <a:gd name="connsiteX33" fmla="*/ 1398842 w 1727200"/>
                <a:gd name="connsiteY33" fmla="*/ 240983 h 649605"/>
                <a:gd name="connsiteX34" fmla="*/ 1398842 w 1727200"/>
                <a:gd name="connsiteY34" fmla="*/ 478155 h 649605"/>
                <a:gd name="connsiteX35" fmla="*/ 1494692 w 1727200"/>
                <a:gd name="connsiteY35" fmla="*/ 478155 h 649605"/>
                <a:gd name="connsiteX36" fmla="*/ 1494692 w 1727200"/>
                <a:gd name="connsiteY36" fmla="*/ 240983 h 649605"/>
                <a:gd name="connsiteX37" fmla="*/ 1564918 w 1727200"/>
                <a:gd name="connsiteY37" fmla="*/ 240983 h 649605"/>
                <a:gd name="connsiteX38" fmla="*/ 1564918 w 1727200"/>
                <a:gd name="connsiteY38" fmla="*/ 171450 h 649605"/>
                <a:gd name="connsiteX39" fmla="*/ 1329564 w 1727200"/>
                <a:gd name="connsiteY39" fmla="*/ 171450 h 649605"/>
                <a:gd name="connsiteX40" fmla="*/ 1328615 w 1727200"/>
                <a:gd name="connsiteY40" fmla="*/ 171450 h 649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727200" h="649605">
                  <a:moveTo>
                    <a:pt x="238202" y="0"/>
                  </a:moveTo>
                  <a:lnTo>
                    <a:pt x="1488998" y="0"/>
                  </a:lnTo>
                  <a:cubicBezTo>
                    <a:pt x="1575358" y="0"/>
                    <a:pt x="1648432" y="44767"/>
                    <a:pt x="1686393" y="107633"/>
                  </a:cubicBezTo>
                  <a:cubicBezTo>
                    <a:pt x="1719608" y="165735"/>
                    <a:pt x="1727200" y="261938"/>
                    <a:pt x="1727200" y="324803"/>
                  </a:cubicBezTo>
                  <a:cubicBezTo>
                    <a:pt x="1727200" y="387668"/>
                    <a:pt x="1719608" y="483870"/>
                    <a:pt x="1686393" y="541973"/>
                  </a:cubicBezTo>
                  <a:cubicBezTo>
                    <a:pt x="1647483" y="604838"/>
                    <a:pt x="1574409" y="649605"/>
                    <a:pt x="1488998" y="649605"/>
                  </a:cubicBezTo>
                  <a:lnTo>
                    <a:pt x="238202" y="649605"/>
                  </a:lnTo>
                  <a:cubicBezTo>
                    <a:pt x="151842" y="649605"/>
                    <a:pt x="78768" y="604838"/>
                    <a:pt x="40807" y="541973"/>
                  </a:cubicBezTo>
                  <a:cubicBezTo>
                    <a:pt x="7592" y="483870"/>
                    <a:pt x="0" y="387668"/>
                    <a:pt x="0" y="324803"/>
                  </a:cubicBezTo>
                  <a:cubicBezTo>
                    <a:pt x="0" y="261938"/>
                    <a:pt x="7592" y="166688"/>
                    <a:pt x="40807" y="107633"/>
                  </a:cubicBezTo>
                  <a:cubicBezTo>
                    <a:pt x="79717" y="44767"/>
                    <a:pt x="152791" y="0"/>
                    <a:pt x="238202" y="0"/>
                  </a:cubicBezTo>
                  <a:close/>
                  <a:moveTo>
                    <a:pt x="254334" y="57150"/>
                  </a:moveTo>
                  <a:cubicBezTo>
                    <a:pt x="204986" y="57150"/>
                    <a:pt x="146147" y="81915"/>
                    <a:pt x="115779" y="114300"/>
                  </a:cubicBezTo>
                  <a:cubicBezTo>
                    <a:pt x="67379" y="166688"/>
                    <a:pt x="56940" y="247650"/>
                    <a:pt x="56940" y="324803"/>
                  </a:cubicBezTo>
                  <a:cubicBezTo>
                    <a:pt x="56940" y="401955"/>
                    <a:pt x="67379" y="482918"/>
                    <a:pt x="115779" y="535305"/>
                  </a:cubicBezTo>
                  <a:cubicBezTo>
                    <a:pt x="146147" y="567690"/>
                    <a:pt x="204037" y="592455"/>
                    <a:pt x="254334" y="592455"/>
                  </a:cubicBezTo>
                  <a:lnTo>
                    <a:pt x="898713" y="592455"/>
                  </a:lnTo>
                  <a:lnTo>
                    <a:pt x="898713" y="57150"/>
                  </a:lnTo>
                  <a:lnTo>
                    <a:pt x="254334" y="57150"/>
                  </a:lnTo>
                  <a:close/>
                  <a:moveTo>
                    <a:pt x="1123628" y="170498"/>
                  </a:moveTo>
                  <a:cubicBezTo>
                    <a:pt x="1002155" y="170498"/>
                    <a:pt x="976532" y="207645"/>
                    <a:pt x="976532" y="324803"/>
                  </a:cubicBezTo>
                  <a:cubicBezTo>
                    <a:pt x="976532" y="438150"/>
                    <a:pt x="1005002" y="478155"/>
                    <a:pt x="1123628" y="478155"/>
                  </a:cubicBezTo>
                  <a:cubicBezTo>
                    <a:pt x="1168232" y="478155"/>
                    <a:pt x="1204294" y="474345"/>
                    <a:pt x="1229918" y="460058"/>
                  </a:cubicBezTo>
                  <a:cubicBezTo>
                    <a:pt x="1254592" y="445770"/>
                    <a:pt x="1268827" y="421005"/>
                    <a:pt x="1269776" y="378143"/>
                  </a:cubicBezTo>
                  <a:lnTo>
                    <a:pt x="1177722" y="378143"/>
                  </a:lnTo>
                  <a:cubicBezTo>
                    <a:pt x="1175824" y="411480"/>
                    <a:pt x="1153048" y="414338"/>
                    <a:pt x="1123628" y="414338"/>
                  </a:cubicBezTo>
                  <a:cubicBezTo>
                    <a:pt x="1079025" y="414338"/>
                    <a:pt x="1070484" y="395288"/>
                    <a:pt x="1070484" y="340995"/>
                  </a:cubicBezTo>
                  <a:lnTo>
                    <a:pt x="1070484" y="338138"/>
                  </a:lnTo>
                  <a:lnTo>
                    <a:pt x="1269776" y="338138"/>
                  </a:lnTo>
                  <a:lnTo>
                    <a:pt x="1269776" y="324803"/>
                  </a:lnTo>
                  <a:cubicBezTo>
                    <a:pt x="1269776" y="200978"/>
                    <a:pt x="1236561" y="170498"/>
                    <a:pt x="1123628" y="170498"/>
                  </a:cubicBezTo>
                  <a:close/>
                  <a:moveTo>
                    <a:pt x="1328615" y="171450"/>
                  </a:moveTo>
                  <a:lnTo>
                    <a:pt x="1328615" y="240983"/>
                  </a:lnTo>
                  <a:lnTo>
                    <a:pt x="1398842" y="240983"/>
                  </a:lnTo>
                  <a:lnTo>
                    <a:pt x="1398842" y="478155"/>
                  </a:lnTo>
                  <a:lnTo>
                    <a:pt x="1494692" y="478155"/>
                  </a:lnTo>
                  <a:lnTo>
                    <a:pt x="1494692" y="240983"/>
                  </a:lnTo>
                  <a:lnTo>
                    <a:pt x="1564918" y="240983"/>
                  </a:lnTo>
                  <a:lnTo>
                    <a:pt x="1564918" y="171450"/>
                  </a:lnTo>
                  <a:lnTo>
                    <a:pt x="1329564" y="171450"/>
                  </a:lnTo>
                  <a:lnTo>
                    <a:pt x="1328615" y="171450"/>
                  </a:lnTo>
                  <a:close/>
                </a:path>
              </a:pathLst>
            </a:custGeom>
            <a:solidFill>
              <a:schemeClr val="tx1"/>
            </a:solidFill>
            <a:ln w="947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55" name="Freeform 54">
              <a:extLst>
                <a:ext uri="{FF2B5EF4-FFF2-40B4-BE49-F238E27FC236}">
                  <a16:creationId xmlns:a16="http://schemas.microsoft.com/office/drawing/2014/main" id="{BFCFE2E6-3DAB-CBD7-77FF-72DB26A4CCFC}"/>
                </a:ext>
              </a:extLst>
            </p:cNvPr>
            <p:cNvSpPr/>
            <p:nvPr/>
          </p:nvSpPr>
          <p:spPr>
            <a:xfrm>
              <a:off x="5417457" y="3292792"/>
              <a:ext cx="295143" cy="309563"/>
            </a:xfrm>
            <a:custGeom>
              <a:avLst/>
              <a:gdLst>
                <a:gd name="connsiteX0" fmla="*/ 148046 w 295143"/>
                <a:gd name="connsiteY0" fmla="*/ 0 h 309563"/>
                <a:gd name="connsiteX1" fmla="*/ 295143 w 295143"/>
                <a:gd name="connsiteY1" fmla="*/ 155258 h 309563"/>
                <a:gd name="connsiteX2" fmla="*/ 295143 w 295143"/>
                <a:gd name="connsiteY2" fmla="*/ 169545 h 309563"/>
                <a:gd name="connsiteX3" fmla="*/ 95851 w 295143"/>
                <a:gd name="connsiteY3" fmla="*/ 169545 h 309563"/>
                <a:gd name="connsiteX4" fmla="*/ 95851 w 295143"/>
                <a:gd name="connsiteY4" fmla="*/ 171450 h 309563"/>
                <a:gd name="connsiteX5" fmla="*/ 148046 w 295143"/>
                <a:gd name="connsiteY5" fmla="*/ 243840 h 309563"/>
                <a:gd name="connsiteX6" fmla="*/ 201191 w 295143"/>
                <a:gd name="connsiteY6" fmla="*/ 207645 h 309563"/>
                <a:gd name="connsiteX7" fmla="*/ 295143 w 295143"/>
                <a:gd name="connsiteY7" fmla="*/ 207645 h 309563"/>
                <a:gd name="connsiteX8" fmla="*/ 255284 w 295143"/>
                <a:gd name="connsiteY8" fmla="*/ 291465 h 309563"/>
                <a:gd name="connsiteX9" fmla="*/ 148046 w 295143"/>
                <a:gd name="connsiteY9" fmla="*/ 309563 h 309563"/>
                <a:gd name="connsiteX10" fmla="*/ 0 w 295143"/>
                <a:gd name="connsiteY10" fmla="*/ 155258 h 309563"/>
                <a:gd name="connsiteX11" fmla="*/ 148046 w 295143"/>
                <a:gd name="connsiteY11" fmla="*/ 0 h 309563"/>
                <a:gd name="connsiteX12" fmla="*/ 146148 w 295143"/>
                <a:gd name="connsiteY12" fmla="*/ 65723 h 309563"/>
                <a:gd name="connsiteX13" fmla="*/ 95851 w 295143"/>
                <a:gd name="connsiteY13" fmla="*/ 118110 h 309563"/>
                <a:gd name="connsiteX14" fmla="*/ 199293 w 295143"/>
                <a:gd name="connsiteY14" fmla="*/ 118110 h 309563"/>
                <a:gd name="connsiteX15" fmla="*/ 199293 w 295143"/>
                <a:gd name="connsiteY15" fmla="*/ 116205 h 309563"/>
                <a:gd name="connsiteX16" fmla="*/ 146148 w 295143"/>
                <a:gd name="connsiteY16" fmla="*/ 65723 h 309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5143" h="309563">
                  <a:moveTo>
                    <a:pt x="148046" y="0"/>
                  </a:moveTo>
                  <a:cubicBezTo>
                    <a:pt x="261928" y="0"/>
                    <a:pt x="295143" y="31433"/>
                    <a:pt x="295143" y="155258"/>
                  </a:cubicBezTo>
                  <a:lnTo>
                    <a:pt x="295143" y="169545"/>
                  </a:lnTo>
                  <a:lnTo>
                    <a:pt x="95851" y="169545"/>
                  </a:lnTo>
                  <a:lnTo>
                    <a:pt x="95851" y="171450"/>
                  </a:lnTo>
                  <a:cubicBezTo>
                    <a:pt x="95851" y="225743"/>
                    <a:pt x="104392" y="243840"/>
                    <a:pt x="148046" y="243840"/>
                  </a:cubicBezTo>
                  <a:cubicBezTo>
                    <a:pt x="178415" y="243840"/>
                    <a:pt x="200242" y="240030"/>
                    <a:pt x="201191" y="207645"/>
                  </a:cubicBezTo>
                  <a:lnTo>
                    <a:pt x="295143" y="207645"/>
                  </a:lnTo>
                  <a:cubicBezTo>
                    <a:pt x="295143" y="252413"/>
                    <a:pt x="279959" y="277178"/>
                    <a:pt x="255284" y="291465"/>
                  </a:cubicBezTo>
                  <a:cubicBezTo>
                    <a:pt x="228712" y="305753"/>
                    <a:pt x="192650" y="309563"/>
                    <a:pt x="148046" y="309563"/>
                  </a:cubicBezTo>
                  <a:cubicBezTo>
                    <a:pt x="28471" y="309563"/>
                    <a:pt x="0" y="268605"/>
                    <a:pt x="0" y="155258"/>
                  </a:cubicBezTo>
                  <a:cubicBezTo>
                    <a:pt x="0" y="38100"/>
                    <a:pt x="26573" y="0"/>
                    <a:pt x="148046" y="0"/>
                  </a:cubicBezTo>
                  <a:close/>
                  <a:moveTo>
                    <a:pt x="146148" y="65723"/>
                  </a:moveTo>
                  <a:cubicBezTo>
                    <a:pt x="105341" y="65723"/>
                    <a:pt x="96800" y="78105"/>
                    <a:pt x="95851" y="118110"/>
                  </a:cubicBezTo>
                  <a:lnTo>
                    <a:pt x="199293" y="118110"/>
                  </a:lnTo>
                  <a:lnTo>
                    <a:pt x="199293" y="116205"/>
                  </a:lnTo>
                  <a:cubicBezTo>
                    <a:pt x="199293" y="69533"/>
                    <a:pt x="180313" y="65723"/>
                    <a:pt x="146148" y="65723"/>
                  </a:cubicBezTo>
                  <a:close/>
                </a:path>
              </a:pathLst>
            </a:custGeom>
            <a:solidFill>
              <a:schemeClr val="tx1"/>
            </a:solidFill>
            <a:ln w="947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54" name="Freeform 53">
              <a:extLst>
                <a:ext uri="{FF2B5EF4-FFF2-40B4-BE49-F238E27FC236}">
                  <a16:creationId xmlns:a16="http://schemas.microsoft.com/office/drawing/2014/main" id="{BFEFBC04-9358-27BA-484D-0ECC0B509FF1}"/>
                </a:ext>
              </a:extLst>
            </p:cNvPr>
            <p:cNvSpPr/>
            <p:nvPr/>
          </p:nvSpPr>
          <p:spPr>
            <a:xfrm>
              <a:off x="5776184" y="3292792"/>
              <a:ext cx="296091" cy="309563"/>
            </a:xfrm>
            <a:custGeom>
              <a:avLst/>
              <a:gdLst>
                <a:gd name="connsiteX0" fmla="*/ 148045 w 296091"/>
                <a:gd name="connsiteY0" fmla="*/ 0 h 309563"/>
                <a:gd name="connsiteX1" fmla="*/ 280907 w 296091"/>
                <a:gd name="connsiteY1" fmla="*/ 73343 h 309563"/>
                <a:gd name="connsiteX2" fmla="*/ 280907 w 296091"/>
                <a:gd name="connsiteY2" fmla="*/ 85725 h 309563"/>
                <a:gd name="connsiteX3" fmla="*/ 190751 w 296091"/>
                <a:gd name="connsiteY3" fmla="*/ 85725 h 309563"/>
                <a:gd name="connsiteX4" fmla="*/ 148045 w 296091"/>
                <a:gd name="connsiteY4" fmla="*/ 60008 h 309563"/>
                <a:gd name="connsiteX5" fmla="*/ 93003 w 296091"/>
                <a:gd name="connsiteY5" fmla="*/ 86678 h 309563"/>
                <a:gd name="connsiteX6" fmla="*/ 148045 w 296091"/>
                <a:gd name="connsiteY6" fmla="*/ 116205 h 309563"/>
                <a:gd name="connsiteX7" fmla="*/ 296091 w 296091"/>
                <a:gd name="connsiteY7" fmla="*/ 208598 h 309563"/>
                <a:gd name="connsiteX8" fmla="*/ 148045 w 296091"/>
                <a:gd name="connsiteY8" fmla="*/ 309563 h 309563"/>
                <a:gd name="connsiteX9" fmla="*/ 91105 w 296091"/>
                <a:gd name="connsiteY9" fmla="*/ 308610 h 309563"/>
                <a:gd name="connsiteX10" fmla="*/ 0 w 296091"/>
                <a:gd name="connsiteY10" fmla="*/ 215265 h 309563"/>
                <a:gd name="connsiteX11" fmla="*/ 94901 w 296091"/>
                <a:gd name="connsiteY11" fmla="*/ 215265 h 309563"/>
                <a:gd name="connsiteX12" fmla="*/ 147096 w 296091"/>
                <a:gd name="connsiteY12" fmla="*/ 249555 h 309563"/>
                <a:gd name="connsiteX13" fmla="*/ 202139 w 296091"/>
                <a:gd name="connsiteY13" fmla="*/ 220028 h 309563"/>
                <a:gd name="connsiteX14" fmla="*/ 187904 w 296091"/>
                <a:gd name="connsiteY14" fmla="*/ 191453 h 309563"/>
                <a:gd name="connsiteX15" fmla="*/ 148045 w 296091"/>
                <a:gd name="connsiteY15" fmla="*/ 187643 h 309563"/>
                <a:gd name="connsiteX16" fmla="*/ 0 w 296091"/>
                <a:gd name="connsiteY16" fmla="*/ 99060 h 309563"/>
                <a:gd name="connsiteX17" fmla="*/ 148045 w 296091"/>
                <a:gd name="connsiteY17" fmla="*/ 0 h 309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96091" h="309563">
                  <a:moveTo>
                    <a:pt x="148045" y="0"/>
                  </a:moveTo>
                  <a:cubicBezTo>
                    <a:pt x="204986" y="0"/>
                    <a:pt x="280907" y="952"/>
                    <a:pt x="280907" y="73343"/>
                  </a:cubicBezTo>
                  <a:lnTo>
                    <a:pt x="280907" y="85725"/>
                  </a:lnTo>
                  <a:lnTo>
                    <a:pt x="190751" y="85725"/>
                  </a:lnTo>
                  <a:cubicBezTo>
                    <a:pt x="186955" y="61913"/>
                    <a:pt x="167026" y="60008"/>
                    <a:pt x="148045" y="60008"/>
                  </a:cubicBezTo>
                  <a:cubicBezTo>
                    <a:pt x="94901" y="60008"/>
                    <a:pt x="93003" y="66675"/>
                    <a:pt x="93003" y="86678"/>
                  </a:cubicBezTo>
                  <a:cubicBezTo>
                    <a:pt x="93003" y="103822"/>
                    <a:pt x="95850" y="115253"/>
                    <a:pt x="148045" y="116205"/>
                  </a:cubicBezTo>
                  <a:cubicBezTo>
                    <a:pt x="252437" y="119063"/>
                    <a:pt x="296091" y="124778"/>
                    <a:pt x="296091" y="208598"/>
                  </a:cubicBezTo>
                  <a:cubicBezTo>
                    <a:pt x="296091" y="296228"/>
                    <a:pt x="228711" y="309563"/>
                    <a:pt x="148045" y="309563"/>
                  </a:cubicBezTo>
                  <a:cubicBezTo>
                    <a:pt x="128116" y="309563"/>
                    <a:pt x="109136" y="309563"/>
                    <a:pt x="91105" y="308610"/>
                  </a:cubicBezTo>
                  <a:cubicBezTo>
                    <a:pt x="32266" y="303848"/>
                    <a:pt x="949" y="281940"/>
                    <a:pt x="0" y="215265"/>
                  </a:cubicBezTo>
                  <a:lnTo>
                    <a:pt x="94901" y="215265"/>
                  </a:lnTo>
                  <a:cubicBezTo>
                    <a:pt x="96799" y="248603"/>
                    <a:pt x="122422" y="249555"/>
                    <a:pt x="147096" y="249555"/>
                  </a:cubicBezTo>
                  <a:cubicBezTo>
                    <a:pt x="192649" y="249555"/>
                    <a:pt x="202139" y="246698"/>
                    <a:pt x="202139" y="220028"/>
                  </a:cubicBezTo>
                  <a:cubicBezTo>
                    <a:pt x="202139" y="204788"/>
                    <a:pt x="197394" y="196215"/>
                    <a:pt x="187904" y="191453"/>
                  </a:cubicBezTo>
                  <a:cubicBezTo>
                    <a:pt x="177465" y="186690"/>
                    <a:pt x="159434" y="187643"/>
                    <a:pt x="148045" y="187643"/>
                  </a:cubicBezTo>
                  <a:cubicBezTo>
                    <a:pt x="20878" y="187643"/>
                    <a:pt x="0" y="160020"/>
                    <a:pt x="0" y="99060"/>
                  </a:cubicBezTo>
                  <a:cubicBezTo>
                    <a:pt x="0" y="1905"/>
                    <a:pt x="61685" y="0"/>
                    <a:pt x="148045" y="0"/>
                  </a:cubicBezTo>
                  <a:close/>
                </a:path>
              </a:pathLst>
            </a:custGeom>
            <a:solidFill>
              <a:schemeClr val="tx1"/>
            </a:solidFill>
            <a:ln w="947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53" name="Freeform 52">
              <a:extLst>
                <a:ext uri="{FF2B5EF4-FFF2-40B4-BE49-F238E27FC236}">
                  <a16:creationId xmlns:a16="http://schemas.microsoft.com/office/drawing/2014/main" id="{FD98D583-0671-B4EA-C331-162EEF90C679}"/>
                </a:ext>
              </a:extLst>
            </p:cNvPr>
            <p:cNvSpPr/>
            <p:nvPr/>
          </p:nvSpPr>
          <p:spPr>
            <a:xfrm>
              <a:off x="6302884" y="3356562"/>
              <a:ext cx="105340" cy="54340"/>
            </a:xfrm>
            <a:custGeom>
              <a:avLst/>
              <a:gdLst>
                <a:gd name="connsiteX0" fmla="*/ 51246 w 105340"/>
                <a:gd name="connsiteY0" fmla="*/ 48 h 54340"/>
                <a:gd name="connsiteX1" fmla="*/ 105340 w 105340"/>
                <a:gd name="connsiteY1" fmla="*/ 51483 h 54340"/>
                <a:gd name="connsiteX2" fmla="*/ 105340 w 105340"/>
                <a:gd name="connsiteY2" fmla="*/ 54340 h 54340"/>
                <a:gd name="connsiteX3" fmla="*/ 0 w 105340"/>
                <a:gd name="connsiteY3" fmla="*/ 54340 h 54340"/>
                <a:gd name="connsiteX4" fmla="*/ 51246 w 105340"/>
                <a:gd name="connsiteY4" fmla="*/ 48 h 54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40" h="54340">
                  <a:moveTo>
                    <a:pt x="51246" y="48"/>
                  </a:moveTo>
                  <a:cubicBezTo>
                    <a:pt x="86360" y="48"/>
                    <a:pt x="105340" y="2905"/>
                    <a:pt x="105340" y="51483"/>
                  </a:cubicBezTo>
                  <a:lnTo>
                    <a:pt x="105340" y="54340"/>
                  </a:lnTo>
                  <a:lnTo>
                    <a:pt x="0" y="54340"/>
                  </a:lnTo>
                  <a:cubicBezTo>
                    <a:pt x="949" y="12430"/>
                    <a:pt x="8541" y="-905"/>
                    <a:pt x="51246" y="48"/>
                  </a:cubicBezTo>
                  <a:close/>
                </a:path>
              </a:pathLst>
            </a:custGeom>
            <a:solidFill>
              <a:schemeClr val="tx1"/>
            </a:solidFill>
            <a:ln w="947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05861"/>
                </a:solidFill>
                <a:effectLst/>
                <a:uLnTx/>
                <a:uFillTx/>
                <a:latin typeface="ES Build Neutral"/>
                <a:ea typeface="+mn-ea"/>
                <a:cs typeface="+mn-cs"/>
              </a:endParaRPr>
            </a:p>
          </p:txBody>
        </p:sp>
      </p:grpSp>
      <p:grpSp>
        <p:nvGrpSpPr>
          <p:cNvPr id="1059" name="Group 1058">
            <a:extLst>
              <a:ext uri="{FF2B5EF4-FFF2-40B4-BE49-F238E27FC236}">
                <a16:creationId xmlns:a16="http://schemas.microsoft.com/office/drawing/2014/main" id="{9D961873-39DF-B80C-666D-5E8DD3C0F5E1}"/>
              </a:ext>
            </a:extLst>
          </p:cNvPr>
          <p:cNvGrpSpPr/>
          <p:nvPr/>
        </p:nvGrpSpPr>
        <p:grpSpPr>
          <a:xfrm>
            <a:off x="890246" y="4464615"/>
            <a:ext cx="1491127" cy="174641"/>
            <a:chOff x="890246" y="4281412"/>
            <a:chExt cx="1947719" cy="228118"/>
          </a:xfrm>
          <a:solidFill>
            <a:schemeClr val="tx1"/>
          </a:solidFill>
        </p:grpSpPr>
        <p:grpSp>
          <p:nvGrpSpPr>
            <p:cNvPr id="1028" name="Graphic 1023">
              <a:extLst>
                <a:ext uri="{FF2B5EF4-FFF2-40B4-BE49-F238E27FC236}">
                  <a16:creationId xmlns:a16="http://schemas.microsoft.com/office/drawing/2014/main" id="{FD33ED40-1377-00DC-DEFB-B1ABC66777E2}"/>
                </a:ext>
              </a:extLst>
            </p:cNvPr>
            <p:cNvGrpSpPr/>
            <p:nvPr/>
          </p:nvGrpSpPr>
          <p:grpSpPr>
            <a:xfrm>
              <a:off x="890246" y="4281412"/>
              <a:ext cx="761376" cy="190397"/>
              <a:chOff x="0" y="1906153"/>
              <a:chExt cx="7772399" cy="1943640"/>
            </a:xfrm>
            <a:grpFill/>
          </p:grpSpPr>
          <p:grpSp>
            <p:nvGrpSpPr>
              <p:cNvPr id="1029" name="Graphic 1023">
                <a:extLst>
                  <a:ext uri="{FF2B5EF4-FFF2-40B4-BE49-F238E27FC236}">
                    <a16:creationId xmlns:a16="http://schemas.microsoft.com/office/drawing/2014/main" id="{6147A978-F1BD-184C-5F75-F644D4901494}"/>
                  </a:ext>
                </a:extLst>
              </p:cNvPr>
              <p:cNvGrpSpPr/>
              <p:nvPr/>
            </p:nvGrpSpPr>
            <p:grpSpPr>
              <a:xfrm>
                <a:off x="0" y="1906153"/>
                <a:ext cx="7394807" cy="1943640"/>
                <a:chOff x="0" y="1906153"/>
                <a:chExt cx="7394807" cy="1943640"/>
              </a:xfrm>
              <a:grpFill/>
            </p:grpSpPr>
            <p:sp>
              <p:nvSpPr>
                <p:cNvPr id="1031" name="Freeform 1030">
                  <a:extLst>
                    <a:ext uri="{FF2B5EF4-FFF2-40B4-BE49-F238E27FC236}">
                      <a16:creationId xmlns:a16="http://schemas.microsoft.com/office/drawing/2014/main" id="{B5543A7E-0B4B-A92D-B7C5-297A239DCBB5}"/>
                    </a:ext>
                  </a:extLst>
                </p:cNvPr>
                <p:cNvSpPr/>
                <p:nvPr/>
              </p:nvSpPr>
              <p:spPr>
                <a:xfrm>
                  <a:off x="5865780" y="2393418"/>
                  <a:ext cx="1529027" cy="1434406"/>
                </a:xfrm>
                <a:custGeom>
                  <a:avLst/>
                  <a:gdLst>
                    <a:gd name="connsiteX0" fmla="*/ 1529028 w 1529027"/>
                    <a:gd name="connsiteY0" fmla="*/ 1434406 h 1434406"/>
                    <a:gd name="connsiteX1" fmla="*/ 405647 w 1529027"/>
                    <a:gd name="connsiteY1" fmla="*/ 0 h 1434406"/>
                    <a:gd name="connsiteX2" fmla="*/ 0 w 1529027"/>
                    <a:gd name="connsiteY2" fmla="*/ 0 h 1434406"/>
                    <a:gd name="connsiteX3" fmla="*/ 561404 w 1529027"/>
                    <a:gd name="connsiteY3" fmla="*/ 716884 h 1434406"/>
                    <a:gd name="connsiteX4" fmla="*/ 0 w 1529027"/>
                    <a:gd name="connsiteY4" fmla="*/ 1434406 h 1434406"/>
                    <a:gd name="connsiteX5" fmla="*/ 405647 w 1529027"/>
                    <a:gd name="connsiteY5" fmla="*/ 1434406 h 1434406"/>
                    <a:gd name="connsiteX6" fmla="*/ 764360 w 1529027"/>
                    <a:gd name="connsiteY6" fmla="*/ 976010 h 1434406"/>
                    <a:gd name="connsiteX7" fmla="*/ 1123337 w 1529027"/>
                    <a:gd name="connsiteY7" fmla="*/ 1434406 h 1434406"/>
                    <a:gd name="connsiteX8" fmla="*/ 1529028 w 1529027"/>
                    <a:gd name="connsiteY8" fmla="*/ 1434406 h 143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9027" h="1434406">
                      <a:moveTo>
                        <a:pt x="1529028" y="1434406"/>
                      </a:moveTo>
                      <a:lnTo>
                        <a:pt x="405647" y="0"/>
                      </a:lnTo>
                      <a:lnTo>
                        <a:pt x="0" y="0"/>
                      </a:lnTo>
                      <a:lnTo>
                        <a:pt x="561404" y="716884"/>
                      </a:lnTo>
                      <a:lnTo>
                        <a:pt x="0" y="1434406"/>
                      </a:lnTo>
                      <a:lnTo>
                        <a:pt x="405647" y="1434406"/>
                      </a:lnTo>
                      <a:lnTo>
                        <a:pt x="764360" y="976010"/>
                      </a:lnTo>
                      <a:lnTo>
                        <a:pt x="1123337" y="1434406"/>
                      </a:lnTo>
                      <a:lnTo>
                        <a:pt x="1529028" y="1434406"/>
                      </a:lnTo>
                      <a:close/>
                    </a:path>
                  </a:pathLst>
                </a:custGeom>
                <a:grpFill/>
                <a:ln w="44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1032" name="Freeform 1031">
                  <a:extLst>
                    <a:ext uri="{FF2B5EF4-FFF2-40B4-BE49-F238E27FC236}">
                      <a16:creationId xmlns:a16="http://schemas.microsoft.com/office/drawing/2014/main" id="{4BFFCD83-9966-0C35-1B3C-74C2342A7A6F}"/>
                    </a:ext>
                  </a:extLst>
                </p:cNvPr>
                <p:cNvSpPr/>
                <p:nvPr/>
              </p:nvSpPr>
              <p:spPr>
                <a:xfrm>
                  <a:off x="5337107" y="2393418"/>
                  <a:ext cx="349845" cy="1434722"/>
                </a:xfrm>
                <a:custGeom>
                  <a:avLst/>
                  <a:gdLst>
                    <a:gd name="connsiteX0" fmla="*/ 0 w 349845"/>
                    <a:gd name="connsiteY0" fmla="*/ 0 h 1434722"/>
                    <a:gd name="connsiteX1" fmla="*/ 349846 w 349845"/>
                    <a:gd name="connsiteY1" fmla="*/ 0 h 1434722"/>
                    <a:gd name="connsiteX2" fmla="*/ 349846 w 349845"/>
                    <a:gd name="connsiteY2" fmla="*/ 1434723 h 1434722"/>
                    <a:gd name="connsiteX3" fmla="*/ 0 w 349845"/>
                    <a:gd name="connsiteY3" fmla="*/ 1434723 h 1434722"/>
                  </a:gdLst>
                  <a:ahLst/>
                  <a:cxnLst>
                    <a:cxn ang="0">
                      <a:pos x="connsiteX0" y="connsiteY0"/>
                    </a:cxn>
                    <a:cxn ang="0">
                      <a:pos x="connsiteX1" y="connsiteY1"/>
                    </a:cxn>
                    <a:cxn ang="0">
                      <a:pos x="connsiteX2" y="connsiteY2"/>
                    </a:cxn>
                    <a:cxn ang="0">
                      <a:pos x="connsiteX3" y="connsiteY3"/>
                    </a:cxn>
                  </a:cxnLst>
                  <a:rect l="l" t="t" r="r" b="b"/>
                  <a:pathLst>
                    <a:path w="349845" h="1434722">
                      <a:moveTo>
                        <a:pt x="0" y="0"/>
                      </a:moveTo>
                      <a:lnTo>
                        <a:pt x="349846" y="0"/>
                      </a:lnTo>
                      <a:lnTo>
                        <a:pt x="349846" y="1434723"/>
                      </a:lnTo>
                      <a:lnTo>
                        <a:pt x="0" y="1434723"/>
                      </a:lnTo>
                      <a:close/>
                    </a:path>
                  </a:pathLst>
                </a:custGeom>
                <a:grpFill/>
                <a:ln w="44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1033" name="Freeform 1032">
                  <a:extLst>
                    <a:ext uri="{FF2B5EF4-FFF2-40B4-BE49-F238E27FC236}">
                      <a16:creationId xmlns:a16="http://schemas.microsoft.com/office/drawing/2014/main" id="{51408CD0-28BD-2841-A324-5D24E46917A1}"/>
                    </a:ext>
                  </a:extLst>
                </p:cNvPr>
                <p:cNvSpPr/>
                <p:nvPr/>
              </p:nvSpPr>
              <p:spPr>
                <a:xfrm>
                  <a:off x="4742443" y="1906153"/>
                  <a:ext cx="349890" cy="1921988"/>
                </a:xfrm>
                <a:custGeom>
                  <a:avLst/>
                  <a:gdLst>
                    <a:gd name="connsiteX0" fmla="*/ 0 w 349890"/>
                    <a:gd name="connsiteY0" fmla="*/ 0 h 1921988"/>
                    <a:gd name="connsiteX1" fmla="*/ 349891 w 349890"/>
                    <a:gd name="connsiteY1" fmla="*/ 0 h 1921988"/>
                    <a:gd name="connsiteX2" fmla="*/ 349891 w 349890"/>
                    <a:gd name="connsiteY2" fmla="*/ 1921988 h 1921988"/>
                    <a:gd name="connsiteX3" fmla="*/ 0 w 349890"/>
                    <a:gd name="connsiteY3" fmla="*/ 1921988 h 1921988"/>
                  </a:gdLst>
                  <a:ahLst/>
                  <a:cxnLst>
                    <a:cxn ang="0">
                      <a:pos x="connsiteX0" y="connsiteY0"/>
                    </a:cxn>
                    <a:cxn ang="0">
                      <a:pos x="connsiteX1" y="connsiteY1"/>
                    </a:cxn>
                    <a:cxn ang="0">
                      <a:pos x="connsiteX2" y="connsiteY2"/>
                    </a:cxn>
                    <a:cxn ang="0">
                      <a:pos x="connsiteX3" y="connsiteY3"/>
                    </a:cxn>
                  </a:cxnLst>
                  <a:rect l="l" t="t" r="r" b="b"/>
                  <a:pathLst>
                    <a:path w="349890" h="1921988">
                      <a:moveTo>
                        <a:pt x="0" y="0"/>
                      </a:moveTo>
                      <a:lnTo>
                        <a:pt x="349891" y="0"/>
                      </a:lnTo>
                      <a:lnTo>
                        <a:pt x="349891" y="1921988"/>
                      </a:lnTo>
                      <a:lnTo>
                        <a:pt x="0" y="1921988"/>
                      </a:lnTo>
                      <a:close/>
                    </a:path>
                  </a:pathLst>
                </a:custGeom>
                <a:grpFill/>
                <a:ln w="44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1034" name="Freeform 1033">
                  <a:extLst>
                    <a:ext uri="{FF2B5EF4-FFF2-40B4-BE49-F238E27FC236}">
                      <a16:creationId xmlns:a16="http://schemas.microsoft.com/office/drawing/2014/main" id="{E22E7A95-B9A9-D3EB-DA08-19C533C6B0B3}"/>
                    </a:ext>
                  </a:extLst>
                </p:cNvPr>
                <p:cNvSpPr/>
                <p:nvPr/>
              </p:nvSpPr>
              <p:spPr>
                <a:xfrm>
                  <a:off x="4133311" y="1906153"/>
                  <a:ext cx="349890" cy="1921988"/>
                </a:xfrm>
                <a:custGeom>
                  <a:avLst/>
                  <a:gdLst>
                    <a:gd name="connsiteX0" fmla="*/ 0 w 349890"/>
                    <a:gd name="connsiteY0" fmla="*/ 0 h 1921988"/>
                    <a:gd name="connsiteX1" fmla="*/ 349890 w 349890"/>
                    <a:gd name="connsiteY1" fmla="*/ 0 h 1921988"/>
                    <a:gd name="connsiteX2" fmla="*/ 349890 w 349890"/>
                    <a:gd name="connsiteY2" fmla="*/ 1921988 h 1921988"/>
                    <a:gd name="connsiteX3" fmla="*/ 0 w 349890"/>
                    <a:gd name="connsiteY3" fmla="*/ 1921988 h 1921988"/>
                  </a:gdLst>
                  <a:ahLst/>
                  <a:cxnLst>
                    <a:cxn ang="0">
                      <a:pos x="connsiteX0" y="connsiteY0"/>
                    </a:cxn>
                    <a:cxn ang="0">
                      <a:pos x="connsiteX1" y="connsiteY1"/>
                    </a:cxn>
                    <a:cxn ang="0">
                      <a:pos x="connsiteX2" y="connsiteY2"/>
                    </a:cxn>
                    <a:cxn ang="0">
                      <a:pos x="connsiteX3" y="connsiteY3"/>
                    </a:cxn>
                  </a:cxnLst>
                  <a:rect l="l" t="t" r="r" b="b"/>
                  <a:pathLst>
                    <a:path w="349890" h="1921988">
                      <a:moveTo>
                        <a:pt x="0" y="0"/>
                      </a:moveTo>
                      <a:lnTo>
                        <a:pt x="349890" y="0"/>
                      </a:lnTo>
                      <a:lnTo>
                        <a:pt x="349890" y="1921988"/>
                      </a:lnTo>
                      <a:lnTo>
                        <a:pt x="0" y="1921988"/>
                      </a:lnTo>
                      <a:close/>
                    </a:path>
                  </a:pathLst>
                </a:custGeom>
                <a:grpFill/>
                <a:ln w="44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1038" name="Freeform 1037">
                  <a:extLst>
                    <a:ext uri="{FF2B5EF4-FFF2-40B4-BE49-F238E27FC236}">
                      <a16:creationId xmlns:a16="http://schemas.microsoft.com/office/drawing/2014/main" id="{4B48E3D2-ADFA-D96C-BC60-002658743CBE}"/>
                    </a:ext>
                  </a:extLst>
                </p:cNvPr>
                <p:cNvSpPr/>
                <p:nvPr/>
              </p:nvSpPr>
              <p:spPr>
                <a:xfrm>
                  <a:off x="2490390" y="2369044"/>
                  <a:ext cx="1480143" cy="1480749"/>
                </a:xfrm>
                <a:custGeom>
                  <a:avLst/>
                  <a:gdLst>
                    <a:gd name="connsiteX0" fmla="*/ 740404 w 1480143"/>
                    <a:gd name="connsiteY0" fmla="*/ 1480750 h 1480749"/>
                    <a:gd name="connsiteX1" fmla="*/ 366125 w 1480143"/>
                    <a:gd name="connsiteY1" fmla="*/ 1380595 h 1480749"/>
                    <a:gd name="connsiteX2" fmla="*/ 2 w 1480143"/>
                    <a:gd name="connsiteY2" fmla="*/ 741751 h 1480749"/>
                    <a:gd name="connsiteX3" fmla="*/ 100355 w 1480143"/>
                    <a:gd name="connsiteY3" fmla="*/ 368187 h 1480749"/>
                    <a:gd name="connsiteX4" fmla="*/ 371546 w 1480143"/>
                    <a:gd name="connsiteY4" fmla="*/ 98816 h 1480749"/>
                    <a:gd name="connsiteX5" fmla="*/ 740400 w 1480143"/>
                    <a:gd name="connsiteY5" fmla="*/ 13 h 1480749"/>
                    <a:gd name="connsiteX6" fmla="*/ 1069911 w 1480143"/>
                    <a:gd name="connsiteY6" fmla="*/ 78515 h 1480749"/>
                    <a:gd name="connsiteX7" fmla="*/ 1327569 w 1480143"/>
                    <a:gd name="connsiteY7" fmla="*/ 295075 h 1480749"/>
                    <a:gd name="connsiteX8" fmla="*/ 1464530 w 1480143"/>
                    <a:gd name="connsiteY8" fmla="*/ 600963 h 1480749"/>
                    <a:gd name="connsiteX9" fmla="*/ 1467238 w 1480143"/>
                    <a:gd name="connsiteY9" fmla="*/ 871668 h 1480749"/>
                    <a:gd name="connsiteX10" fmla="*/ 349852 w 1480143"/>
                    <a:gd name="connsiteY10" fmla="*/ 871668 h 1480749"/>
                    <a:gd name="connsiteX11" fmla="*/ 424435 w 1480143"/>
                    <a:gd name="connsiteY11" fmla="*/ 1034087 h 1480749"/>
                    <a:gd name="connsiteX12" fmla="*/ 562755 w 1480143"/>
                    <a:gd name="connsiteY12" fmla="*/ 1135602 h 1480749"/>
                    <a:gd name="connsiteX13" fmla="*/ 740404 w 1480143"/>
                    <a:gd name="connsiteY13" fmla="*/ 1169442 h 1480749"/>
                    <a:gd name="connsiteX14" fmla="*/ 942456 w 1480143"/>
                    <a:gd name="connsiteY14" fmla="*/ 1130195 h 1480749"/>
                    <a:gd name="connsiteX15" fmla="*/ 1109254 w 1480143"/>
                    <a:gd name="connsiteY15" fmla="*/ 1020566 h 1480749"/>
                    <a:gd name="connsiteX16" fmla="*/ 1418442 w 1480143"/>
                    <a:gd name="connsiteY16" fmla="*/ 1104487 h 1480749"/>
                    <a:gd name="connsiteX17" fmla="*/ 1139091 w 1480143"/>
                    <a:gd name="connsiteY17" fmla="*/ 1377900 h 1480749"/>
                    <a:gd name="connsiteX18" fmla="*/ 740404 w 1480143"/>
                    <a:gd name="connsiteY18" fmla="*/ 1480750 h 1480749"/>
                    <a:gd name="connsiteX19" fmla="*/ 1122818 w 1480143"/>
                    <a:gd name="connsiteY19" fmla="*/ 603675 h 1480749"/>
                    <a:gd name="connsiteX20" fmla="*/ 1050943 w 1480143"/>
                    <a:gd name="connsiteY20" fmla="*/ 457502 h 1480749"/>
                    <a:gd name="connsiteX21" fmla="*/ 918049 w 1480143"/>
                    <a:gd name="connsiteY21" fmla="*/ 350567 h 1480749"/>
                    <a:gd name="connsiteX22" fmla="*/ 737691 w 1480143"/>
                    <a:gd name="connsiteY22" fmla="*/ 311325 h 1480749"/>
                    <a:gd name="connsiteX23" fmla="*/ 555975 w 1480143"/>
                    <a:gd name="connsiteY23" fmla="*/ 350567 h 1480749"/>
                    <a:gd name="connsiteX24" fmla="*/ 421727 w 1480143"/>
                    <a:gd name="connsiteY24" fmla="*/ 457502 h 1480749"/>
                    <a:gd name="connsiteX25" fmla="*/ 349852 w 1480143"/>
                    <a:gd name="connsiteY25" fmla="*/ 603675 h 1480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80143" h="1480749">
                      <a:moveTo>
                        <a:pt x="740404" y="1480750"/>
                      </a:moveTo>
                      <a:cubicBezTo>
                        <a:pt x="604797" y="1480750"/>
                        <a:pt x="480038" y="1447363"/>
                        <a:pt x="366125" y="1380595"/>
                      </a:cubicBezTo>
                      <a:cubicBezTo>
                        <a:pt x="138899" y="1247829"/>
                        <a:pt x="-528" y="1004548"/>
                        <a:pt x="2" y="741751"/>
                      </a:cubicBezTo>
                      <a:cubicBezTo>
                        <a:pt x="2" y="606400"/>
                        <a:pt x="33451" y="481880"/>
                        <a:pt x="100355" y="368187"/>
                      </a:cubicBezTo>
                      <a:cubicBezTo>
                        <a:pt x="165511" y="256207"/>
                        <a:pt x="259040" y="163308"/>
                        <a:pt x="371546" y="98816"/>
                      </a:cubicBezTo>
                      <a:cubicBezTo>
                        <a:pt x="483412" y="33501"/>
                        <a:pt x="610801" y="-621"/>
                        <a:pt x="740400" y="13"/>
                      </a:cubicBezTo>
                      <a:cubicBezTo>
                        <a:pt x="854966" y="-678"/>
                        <a:pt x="968009" y="26254"/>
                        <a:pt x="1069911" y="78515"/>
                      </a:cubicBezTo>
                      <a:cubicBezTo>
                        <a:pt x="1171208" y="130159"/>
                        <a:pt x="1259338" y="204236"/>
                        <a:pt x="1327569" y="295075"/>
                      </a:cubicBezTo>
                      <a:cubicBezTo>
                        <a:pt x="1396268" y="385116"/>
                        <a:pt x="1443145" y="489814"/>
                        <a:pt x="1464530" y="600963"/>
                      </a:cubicBezTo>
                      <a:cubicBezTo>
                        <a:pt x="1484402" y="696648"/>
                        <a:pt x="1485306" y="786883"/>
                        <a:pt x="1467238" y="871668"/>
                      </a:cubicBezTo>
                      <a:lnTo>
                        <a:pt x="349852" y="871668"/>
                      </a:lnTo>
                      <a:cubicBezTo>
                        <a:pt x="362481" y="934861"/>
                        <a:pt x="387342" y="989002"/>
                        <a:pt x="424435" y="1034087"/>
                      </a:cubicBezTo>
                      <a:cubicBezTo>
                        <a:pt x="461215" y="1079039"/>
                        <a:pt x="508803" y="1113962"/>
                        <a:pt x="562755" y="1135602"/>
                      </a:cubicBezTo>
                      <a:cubicBezTo>
                        <a:pt x="619169" y="1158426"/>
                        <a:pt x="679535" y="1169926"/>
                        <a:pt x="740404" y="1169442"/>
                      </a:cubicBezTo>
                      <a:cubicBezTo>
                        <a:pt x="809646" y="1169345"/>
                        <a:pt x="878230" y="1156022"/>
                        <a:pt x="942456" y="1130195"/>
                      </a:cubicBezTo>
                      <a:cubicBezTo>
                        <a:pt x="1005336" y="1106103"/>
                        <a:pt x="1062240" y="1068701"/>
                        <a:pt x="1109254" y="1020566"/>
                      </a:cubicBezTo>
                      <a:lnTo>
                        <a:pt x="1418442" y="1104487"/>
                      </a:lnTo>
                      <a:cubicBezTo>
                        <a:pt x="1360551" y="1218189"/>
                        <a:pt x="1267432" y="1309327"/>
                        <a:pt x="1139091" y="1377900"/>
                      </a:cubicBezTo>
                      <a:cubicBezTo>
                        <a:pt x="1010687" y="1446491"/>
                        <a:pt x="877793" y="1480776"/>
                        <a:pt x="740404" y="1480750"/>
                      </a:cubicBezTo>
                      <a:close/>
                      <a:moveTo>
                        <a:pt x="1122818" y="603675"/>
                      </a:moveTo>
                      <a:cubicBezTo>
                        <a:pt x="1109668" y="550361"/>
                        <a:pt x="1085151" y="500504"/>
                        <a:pt x="1050943" y="457502"/>
                      </a:cubicBezTo>
                      <a:cubicBezTo>
                        <a:pt x="1015411" y="412193"/>
                        <a:pt x="969950" y="375610"/>
                        <a:pt x="918049" y="350567"/>
                      </a:cubicBezTo>
                      <a:cubicBezTo>
                        <a:pt x="864696" y="324446"/>
                        <a:pt x="804577" y="311365"/>
                        <a:pt x="737691" y="311325"/>
                      </a:cubicBezTo>
                      <a:cubicBezTo>
                        <a:pt x="670806" y="311286"/>
                        <a:pt x="610237" y="324366"/>
                        <a:pt x="555975" y="350567"/>
                      </a:cubicBezTo>
                      <a:cubicBezTo>
                        <a:pt x="503518" y="375333"/>
                        <a:pt x="457559" y="411942"/>
                        <a:pt x="421727" y="457502"/>
                      </a:cubicBezTo>
                      <a:cubicBezTo>
                        <a:pt x="387501" y="500491"/>
                        <a:pt x="362984" y="550353"/>
                        <a:pt x="349852" y="603675"/>
                      </a:cubicBezTo>
                      <a:close/>
                    </a:path>
                  </a:pathLst>
                </a:custGeom>
                <a:grpFill/>
                <a:ln w="44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1041" name="Freeform 1040">
                  <a:extLst>
                    <a:ext uri="{FF2B5EF4-FFF2-40B4-BE49-F238E27FC236}">
                      <a16:creationId xmlns:a16="http://schemas.microsoft.com/office/drawing/2014/main" id="{F8215F35-6E50-41EA-4645-65A43B33F254}"/>
                    </a:ext>
                  </a:extLst>
                </p:cNvPr>
                <p:cNvSpPr/>
                <p:nvPr/>
              </p:nvSpPr>
              <p:spPr>
                <a:xfrm>
                  <a:off x="1535071" y="2378503"/>
                  <a:ext cx="889586" cy="1449637"/>
                </a:xfrm>
                <a:custGeom>
                  <a:avLst/>
                  <a:gdLst>
                    <a:gd name="connsiteX0" fmla="*/ 0 w 889586"/>
                    <a:gd name="connsiteY0" fmla="*/ 14914 h 1449637"/>
                    <a:gd name="connsiteX1" fmla="*/ 352581 w 889586"/>
                    <a:gd name="connsiteY1" fmla="*/ 14914 h 1449637"/>
                    <a:gd name="connsiteX2" fmla="*/ 352581 w 889586"/>
                    <a:gd name="connsiteY2" fmla="*/ 228766 h 1449637"/>
                    <a:gd name="connsiteX3" fmla="*/ 555991 w 889586"/>
                    <a:gd name="connsiteY3" fmla="*/ 43334 h 1449637"/>
                    <a:gd name="connsiteX4" fmla="*/ 889587 w 889586"/>
                    <a:gd name="connsiteY4" fmla="*/ 9494 h 1449637"/>
                    <a:gd name="connsiteX5" fmla="*/ 889587 w 889586"/>
                    <a:gd name="connsiteY5" fmla="*/ 385783 h 1449637"/>
                    <a:gd name="connsiteX6" fmla="*/ 631933 w 889586"/>
                    <a:gd name="connsiteY6" fmla="*/ 368172 h 1449637"/>
                    <a:gd name="connsiteX7" fmla="*/ 429877 w 889586"/>
                    <a:gd name="connsiteY7" fmla="*/ 489988 h 1449637"/>
                    <a:gd name="connsiteX8" fmla="*/ 352581 w 889586"/>
                    <a:gd name="connsiteY8" fmla="*/ 718735 h 1449637"/>
                    <a:gd name="connsiteX9" fmla="*/ 352581 w 889586"/>
                    <a:gd name="connsiteY9" fmla="*/ 1449637 h 1449637"/>
                    <a:gd name="connsiteX10" fmla="*/ 0 w 889586"/>
                    <a:gd name="connsiteY10" fmla="*/ 1449637 h 1449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89586" h="1449637">
                      <a:moveTo>
                        <a:pt x="0" y="14914"/>
                      </a:moveTo>
                      <a:lnTo>
                        <a:pt x="352581" y="14914"/>
                      </a:lnTo>
                      <a:lnTo>
                        <a:pt x="352581" y="228766"/>
                      </a:lnTo>
                      <a:cubicBezTo>
                        <a:pt x="397755" y="147557"/>
                        <a:pt x="465559" y="85746"/>
                        <a:pt x="555991" y="43334"/>
                      </a:cubicBezTo>
                      <a:cubicBezTo>
                        <a:pt x="646424" y="922"/>
                        <a:pt x="757619" y="-10358"/>
                        <a:pt x="889587" y="9494"/>
                      </a:cubicBezTo>
                      <a:lnTo>
                        <a:pt x="889587" y="385783"/>
                      </a:lnTo>
                      <a:cubicBezTo>
                        <a:pt x="800976" y="355118"/>
                        <a:pt x="715092" y="349244"/>
                        <a:pt x="631933" y="368172"/>
                      </a:cubicBezTo>
                      <a:cubicBezTo>
                        <a:pt x="548775" y="387099"/>
                        <a:pt x="481421" y="427702"/>
                        <a:pt x="429877" y="489988"/>
                      </a:cubicBezTo>
                      <a:cubicBezTo>
                        <a:pt x="378346" y="552257"/>
                        <a:pt x="352581" y="628509"/>
                        <a:pt x="352581" y="718735"/>
                      </a:cubicBezTo>
                      <a:lnTo>
                        <a:pt x="352581" y="1449637"/>
                      </a:lnTo>
                      <a:lnTo>
                        <a:pt x="0" y="1449637"/>
                      </a:lnTo>
                      <a:close/>
                    </a:path>
                  </a:pathLst>
                </a:custGeom>
                <a:grpFill/>
                <a:ln w="44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1047" name="Freeform 1046">
                  <a:extLst>
                    <a:ext uri="{FF2B5EF4-FFF2-40B4-BE49-F238E27FC236}">
                      <a16:creationId xmlns:a16="http://schemas.microsoft.com/office/drawing/2014/main" id="{350D5A7D-2AE6-5440-8B16-9FD97FAF1AA3}"/>
                    </a:ext>
                  </a:extLst>
                </p:cNvPr>
                <p:cNvSpPr/>
                <p:nvPr/>
              </p:nvSpPr>
              <p:spPr>
                <a:xfrm>
                  <a:off x="0" y="1906153"/>
                  <a:ext cx="1535071" cy="1921988"/>
                </a:xfrm>
                <a:custGeom>
                  <a:avLst/>
                  <a:gdLst>
                    <a:gd name="connsiteX0" fmla="*/ 596675 w 1535071"/>
                    <a:gd name="connsiteY0" fmla="*/ 338376 h 1921988"/>
                    <a:gd name="connsiteX1" fmla="*/ 0 w 1535071"/>
                    <a:gd name="connsiteY1" fmla="*/ 338376 h 1921988"/>
                    <a:gd name="connsiteX2" fmla="*/ 0 w 1535071"/>
                    <a:gd name="connsiteY2" fmla="*/ 0 h 1921988"/>
                    <a:gd name="connsiteX3" fmla="*/ 1535071 w 1535071"/>
                    <a:gd name="connsiteY3" fmla="*/ 0 h 1921988"/>
                    <a:gd name="connsiteX4" fmla="*/ 1535071 w 1535071"/>
                    <a:gd name="connsiteY4" fmla="*/ 338376 h 1921988"/>
                    <a:gd name="connsiteX5" fmla="*/ 960103 w 1535071"/>
                    <a:gd name="connsiteY5" fmla="*/ 338376 h 1921988"/>
                    <a:gd name="connsiteX6" fmla="*/ 960103 w 1535071"/>
                    <a:gd name="connsiteY6" fmla="*/ 1921988 h 1921988"/>
                    <a:gd name="connsiteX7" fmla="*/ 596675 w 1535071"/>
                    <a:gd name="connsiteY7" fmla="*/ 1921988 h 1921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35071" h="1921988">
                      <a:moveTo>
                        <a:pt x="596675" y="338376"/>
                      </a:moveTo>
                      <a:lnTo>
                        <a:pt x="0" y="338376"/>
                      </a:lnTo>
                      <a:lnTo>
                        <a:pt x="0" y="0"/>
                      </a:lnTo>
                      <a:lnTo>
                        <a:pt x="1535071" y="0"/>
                      </a:lnTo>
                      <a:lnTo>
                        <a:pt x="1535071" y="338376"/>
                      </a:lnTo>
                      <a:lnTo>
                        <a:pt x="960103" y="338376"/>
                      </a:lnTo>
                      <a:lnTo>
                        <a:pt x="960103" y="1921988"/>
                      </a:lnTo>
                      <a:lnTo>
                        <a:pt x="596675" y="1921988"/>
                      </a:lnTo>
                      <a:close/>
                    </a:path>
                  </a:pathLst>
                </a:custGeom>
                <a:grpFill/>
                <a:ln w="44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05861"/>
                    </a:solidFill>
                    <a:effectLst/>
                    <a:uLnTx/>
                    <a:uFillTx/>
                    <a:latin typeface="ES Build Neutral"/>
                    <a:ea typeface="+mn-ea"/>
                    <a:cs typeface="+mn-cs"/>
                  </a:endParaRPr>
                </a:p>
              </p:txBody>
            </p:sp>
          </p:grpSp>
          <p:sp>
            <p:nvSpPr>
              <p:cNvPr id="1056" name="Freeform 1055">
                <a:extLst>
                  <a:ext uri="{FF2B5EF4-FFF2-40B4-BE49-F238E27FC236}">
                    <a16:creationId xmlns:a16="http://schemas.microsoft.com/office/drawing/2014/main" id="{EC4F038E-C098-6AD0-B17C-850EC84F0E7B}"/>
                  </a:ext>
                </a:extLst>
              </p:cNvPr>
              <p:cNvSpPr/>
              <p:nvPr/>
            </p:nvSpPr>
            <p:spPr>
              <a:xfrm>
                <a:off x="6625507" y="1906153"/>
                <a:ext cx="1146892" cy="946599"/>
              </a:xfrm>
              <a:custGeom>
                <a:avLst/>
                <a:gdLst>
                  <a:gd name="connsiteX0" fmla="*/ 405823 w 1146892"/>
                  <a:gd name="connsiteY0" fmla="*/ 946599 h 946599"/>
                  <a:gd name="connsiteX1" fmla="*/ 0 w 1146892"/>
                  <a:gd name="connsiteY1" fmla="*/ 946599 h 946599"/>
                  <a:gd name="connsiteX2" fmla="*/ 741069 w 1146892"/>
                  <a:gd name="connsiteY2" fmla="*/ 0 h 946599"/>
                  <a:gd name="connsiteX3" fmla="*/ 1146892 w 1146892"/>
                  <a:gd name="connsiteY3" fmla="*/ 0 h 946599"/>
                </a:gdLst>
                <a:ahLst/>
                <a:cxnLst>
                  <a:cxn ang="0">
                    <a:pos x="connsiteX0" y="connsiteY0"/>
                  </a:cxn>
                  <a:cxn ang="0">
                    <a:pos x="connsiteX1" y="connsiteY1"/>
                  </a:cxn>
                  <a:cxn ang="0">
                    <a:pos x="connsiteX2" y="connsiteY2"/>
                  </a:cxn>
                  <a:cxn ang="0">
                    <a:pos x="connsiteX3" y="connsiteY3"/>
                  </a:cxn>
                </a:cxnLst>
                <a:rect l="l" t="t" r="r" b="b"/>
                <a:pathLst>
                  <a:path w="1146892" h="946599">
                    <a:moveTo>
                      <a:pt x="405823" y="946599"/>
                    </a:moveTo>
                    <a:lnTo>
                      <a:pt x="0" y="946599"/>
                    </a:lnTo>
                    <a:lnTo>
                      <a:pt x="741069" y="0"/>
                    </a:lnTo>
                    <a:lnTo>
                      <a:pt x="1146892" y="0"/>
                    </a:lnTo>
                    <a:close/>
                  </a:path>
                </a:pathLst>
              </a:custGeom>
              <a:grpFill/>
              <a:ln w="44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505861"/>
                  </a:solidFill>
                  <a:effectLst/>
                  <a:uLnTx/>
                  <a:uFillTx/>
                  <a:latin typeface="ES Build Neutral"/>
                  <a:ea typeface="+mn-ea"/>
                  <a:cs typeface="+mn-cs"/>
                </a:endParaRPr>
              </a:p>
            </p:txBody>
          </p:sp>
        </p:grpSp>
        <p:pic>
          <p:nvPicPr>
            <p:cNvPr id="1058" name="Graphic 1057">
              <a:extLst>
                <a:ext uri="{FF2B5EF4-FFF2-40B4-BE49-F238E27FC236}">
                  <a16:creationId xmlns:a16="http://schemas.microsoft.com/office/drawing/2014/main" id="{CF09E26F-97B0-23B4-D401-EE75BA13DF37}"/>
                </a:ext>
              </a:extLst>
            </p:cNvPr>
            <p:cNvPicPr>
              <a:picLocks noChangeAspect="1"/>
            </p:cNvPicPr>
            <p:nvPr/>
          </p:nvPicPr>
          <p:blipFill>
            <a:blip r:embed="rId13" cstate="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726044" y="4287839"/>
              <a:ext cx="1111921" cy="221691"/>
            </a:xfrm>
            <a:prstGeom prst="rect">
              <a:avLst/>
            </a:prstGeom>
          </p:spPr>
        </p:pic>
      </p:grpSp>
      <p:pic>
        <p:nvPicPr>
          <p:cNvPr id="1063" name="Graphic 1062">
            <a:extLst>
              <a:ext uri="{FF2B5EF4-FFF2-40B4-BE49-F238E27FC236}">
                <a16:creationId xmlns:a16="http://schemas.microsoft.com/office/drawing/2014/main" id="{3E661463-EE35-C26F-99EC-B55EBEAB22F0}"/>
              </a:ext>
            </a:extLst>
          </p:cNvPr>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5329214" y="2823221"/>
            <a:ext cx="690586" cy="118176"/>
          </a:xfrm>
          <a:prstGeom prst="rect">
            <a:avLst/>
          </a:prstGeom>
        </p:spPr>
      </p:pic>
      <p:pic>
        <p:nvPicPr>
          <p:cNvPr id="1066" name="Graphic 1065">
            <a:extLst>
              <a:ext uri="{FF2B5EF4-FFF2-40B4-BE49-F238E27FC236}">
                <a16:creationId xmlns:a16="http://schemas.microsoft.com/office/drawing/2014/main" id="{DF2C263F-C9DE-3BAF-1F33-AEB55BC679A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398451" y="2767003"/>
            <a:ext cx="982611" cy="230613"/>
          </a:xfrm>
          <a:prstGeom prst="rect">
            <a:avLst/>
          </a:prstGeom>
        </p:spPr>
      </p:pic>
      <p:pic>
        <p:nvPicPr>
          <p:cNvPr id="1068" name="Graphic 1067">
            <a:extLst>
              <a:ext uri="{FF2B5EF4-FFF2-40B4-BE49-F238E27FC236}">
                <a16:creationId xmlns:a16="http://schemas.microsoft.com/office/drawing/2014/main" id="{C30EC56F-8536-6170-3004-FB12A93F9B1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398451" y="3179035"/>
            <a:ext cx="1173871" cy="169425"/>
          </a:xfrm>
          <a:prstGeom prst="rect">
            <a:avLst/>
          </a:prstGeom>
        </p:spPr>
      </p:pic>
      <p:pic>
        <p:nvPicPr>
          <p:cNvPr id="1070" name="Graphic 1069">
            <a:extLst>
              <a:ext uri="{FF2B5EF4-FFF2-40B4-BE49-F238E27FC236}">
                <a16:creationId xmlns:a16="http://schemas.microsoft.com/office/drawing/2014/main" id="{EB5FCAD4-214F-1554-0713-E4D3DD227D44}"/>
              </a:ext>
            </a:extLst>
          </p:cNvPr>
          <p:cNvPicPr>
            <a:picLocks noChangeAspect="1"/>
          </p:cNvPicPr>
          <p:nvPr/>
        </p:nvPicPr>
        <p:blipFill>
          <a:blip r:embed="rId19" cstate="print">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7417937" y="3571162"/>
            <a:ext cx="615720" cy="323063"/>
          </a:xfrm>
          <a:prstGeom prst="rect">
            <a:avLst/>
          </a:prstGeom>
        </p:spPr>
      </p:pic>
      <p:sp>
        <p:nvSpPr>
          <p:cNvPr id="1071" name="TextBox 1070">
            <a:extLst>
              <a:ext uri="{FF2B5EF4-FFF2-40B4-BE49-F238E27FC236}">
                <a16:creationId xmlns:a16="http://schemas.microsoft.com/office/drawing/2014/main" id="{DDEAB349-8040-846C-0CFD-B286257CA665}"/>
              </a:ext>
            </a:extLst>
          </p:cNvPr>
          <p:cNvSpPr txBox="1"/>
          <p:nvPr/>
        </p:nvSpPr>
        <p:spPr>
          <a:xfrm>
            <a:off x="8131568" y="3653696"/>
            <a:ext cx="65621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effectLst/>
                <a:uLnTx/>
                <a:uFillTx/>
                <a:latin typeface="ES Build Neutral"/>
                <a:ea typeface="+mn-ea"/>
                <a:cs typeface="+mn-cs"/>
              </a:rPr>
              <a:t>XDR*</a:t>
            </a:r>
            <a:endParaRPr kumimoji="0" lang="en-US" sz="1400" b="0" i="0" u="none" strike="noStrike" kern="1200" cap="none" spc="0" normalizeH="0" baseline="0" noProof="0">
              <a:ln>
                <a:noFill/>
              </a:ln>
              <a:effectLst/>
              <a:uLnTx/>
              <a:uFillTx/>
              <a:latin typeface="ES Build Neutral"/>
              <a:ea typeface="+mn-ea"/>
              <a:cs typeface="+mn-cs"/>
            </a:endParaRPr>
          </a:p>
        </p:txBody>
      </p:sp>
      <p:pic>
        <p:nvPicPr>
          <p:cNvPr id="1073" name="Graphic 1072">
            <a:extLst>
              <a:ext uri="{FF2B5EF4-FFF2-40B4-BE49-F238E27FC236}">
                <a16:creationId xmlns:a16="http://schemas.microsoft.com/office/drawing/2014/main" id="{89779A43-256B-2A4B-0D26-7D87A0706255}"/>
              </a:ext>
            </a:extLst>
          </p:cNvPr>
          <p:cNvPicPr>
            <a:picLocks noChangeAspect="1"/>
          </p:cNvPicPr>
          <p:nvPr/>
        </p:nvPicPr>
        <p:blipFill>
          <a:blip r:embed="rId21" cstate="print">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9502941" y="2818122"/>
            <a:ext cx="1082380" cy="128375"/>
          </a:xfrm>
          <a:prstGeom prst="rect">
            <a:avLst/>
          </a:prstGeom>
        </p:spPr>
      </p:pic>
      <p:pic>
        <p:nvPicPr>
          <p:cNvPr id="1075" name="Graphic 1074">
            <a:extLst>
              <a:ext uri="{FF2B5EF4-FFF2-40B4-BE49-F238E27FC236}">
                <a16:creationId xmlns:a16="http://schemas.microsoft.com/office/drawing/2014/main" id="{259ED6DE-0EDF-6C5D-6615-A47F229497B5}"/>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9502941" y="3193192"/>
            <a:ext cx="816471" cy="260576"/>
          </a:xfrm>
          <a:prstGeom prst="rect">
            <a:avLst/>
          </a:prstGeom>
        </p:spPr>
      </p:pic>
      <p:pic>
        <p:nvPicPr>
          <p:cNvPr id="1077" name="Graphic 1076">
            <a:extLst>
              <a:ext uri="{FF2B5EF4-FFF2-40B4-BE49-F238E27FC236}">
                <a16:creationId xmlns:a16="http://schemas.microsoft.com/office/drawing/2014/main" id="{B920815D-0E1C-75FD-5E49-5B9E27E6BFBF}"/>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9502941" y="3677120"/>
            <a:ext cx="1331191" cy="165537"/>
          </a:xfrm>
          <a:prstGeom prst="rect">
            <a:avLst/>
          </a:prstGeom>
        </p:spPr>
      </p:pic>
      <p:pic>
        <p:nvPicPr>
          <p:cNvPr id="1079" name="Graphic 1078">
            <a:extLst>
              <a:ext uri="{FF2B5EF4-FFF2-40B4-BE49-F238E27FC236}">
                <a16:creationId xmlns:a16="http://schemas.microsoft.com/office/drawing/2014/main" id="{F5832F1F-C17F-2E65-D07F-5B0BE439A7AD}"/>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9502941" y="4044809"/>
            <a:ext cx="990601" cy="182880"/>
          </a:xfrm>
          <a:prstGeom prst="rect">
            <a:avLst/>
          </a:prstGeom>
        </p:spPr>
      </p:pic>
      <p:grpSp>
        <p:nvGrpSpPr>
          <p:cNvPr id="1081" name="Graphic 1079">
            <a:extLst>
              <a:ext uri="{FF2B5EF4-FFF2-40B4-BE49-F238E27FC236}">
                <a16:creationId xmlns:a16="http://schemas.microsoft.com/office/drawing/2014/main" id="{4BD4EC83-D941-36A8-373B-F1A8FD465C7F}"/>
              </a:ext>
            </a:extLst>
          </p:cNvPr>
          <p:cNvGrpSpPr>
            <a:grpSpLocks noChangeAspect="1"/>
          </p:cNvGrpSpPr>
          <p:nvPr/>
        </p:nvGrpSpPr>
        <p:grpSpPr>
          <a:xfrm>
            <a:off x="9502941" y="4429269"/>
            <a:ext cx="1146024" cy="182880"/>
            <a:chOff x="1623012" y="3381591"/>
            <a:chExt cx="7771791" cy="1242447"/>
          </a:xfrm>
          <a:solidFill>
            <a:schemeClr val="tx1"/>
          </a:solidFill>
        </p:grpSpPr>
        <p:sp>
          <p:nvSpPr>
            <p:cNvPr id="1082" name="Freeform 1081">
              <a:extLst>
                <a:ext uri="{FF2B5EF4-FFF2-40B4-BE49-F238E27FC236}">
                  <a16:creationId xmlns:a16="http://schemas.microsoft.com/office/drawing/2014/main" id="{88A505E1-870D-6A7F-C848-8E94ACCDA9F1}"/>
                </a:ext>
              </a:extLst>
            </p:cNvPr>
            <p:cNvSpPr/>
            <p:nvPr/>
          </p:nvSpPr>
          <p:spPr>
            <a:xfrm>
              <a:off x="3022220" y="3580949"/>
              <a:ext cx="6372583" cy="868026"/>
            </a:xfrm>
            <a:custGeom>
              <a:avLst/>
              <a:gdLst>
                <a:gd name="connsiteX0" fmla="*/ 270544 w 6372583"/>
                <a:gd name="connsiteY0" fmla="*/ 846175 h 868026"/>
                <a:gd name="connsiteX1" fmla="*/ 159 w 6372583"/>
                <a:gd name="connsiteY1" fmla="*/ 17916 h 868026"/>
                <a:gd name="connsiteX2" fmla="*/ 101554 w 6372583"/>
                <a:gd name="connsiteY2" fmla="*/ 17916 h 868026"/>
                <a:gd name="connsiteX3" fmla="*/ 307349 w 6372583"/>
                <a:gd name="connsiteY3" fmla="*/ 657119 h 868026"/>
                <a:gd name="connsiteX4" fmla="*/ 518401 w 6372583"/>
                <a:gd name="connsiteY4" fmla="*/ 17916 h 868026"/>
                <a:gd name="connsiteX5" fmla="*/ 610784 w 6372583"/>
                <a:gd name="connsiteY5" fmla="*/ 17916 h 868026"/>
                <a:gd name="connsiteX6" fmla="*/ 821086 w 6372583"/>
                <a:gd name="connsiteY6" fmla="*/ 655632 h 868026"/>
                <a:gd name="connsiteX7" fmla="*/ 1027629 w 6372583"/>
                <a:gd name="connsiteY7" fmla="*/ 17916 h 868026"/>
                <a:gd name="connsiteX8" fmla="*/ 1126020 w 6372583"/>
                <a:gd name="connsiteY8" fmla="*/ 17916 h 868026"/>
                <a:gd name="connsiteX9" fmla="*/ 856384 w 6372583"/>
                <a:gd name="connsiteY9" fmla="*/ 846175 h 868026"/>
                <a:gd name="connsiteX10" fmla="*/ 781279 w 6372583"/>
                <a:gd name="connsiteY10" fmla="*/ 846175 h 868026"/>
                <a:gd name="connsiteX11" fmla="*/ 562719 w 6372583"/>
                <a:gd name="connsiteY11" fmla="*/ 179220 h 868026"/>
                <a:gd name="connsiteX12" fmla="*/ 346411 w 6372583"/>
                <a:gd name="connsiteY12" fmla="*/ 846175 h 868026"/>
                <a:gd name="connsiteX13" fmla="*/ 270555 w 6372583"/>
                <a:gd name="connsiteY13" fmla="*/ 846175 h 868026"/>
                <a:gd name="connsiteX14" fmla="*/ 1107510 w 6372583"/>
                <a:gd name="connsiteY14" fmla="*/ 846175 h 868026"/>
                <a:gd name="connsiteX15" fmla="*/ 1107510 w 6372583"/>
                <a:gd name="connsiteY15" fmla="*/ 203951 h 868026"/>
                <a:gd name="connsiteX16" fmla="*/ 1209656 w 6372583"/>
                <a:gd name="connsiteY16" fmla="*/ 203951 h 868026"/>
                <a:gd name="connsiteX17" fmla="*/ 1209656 w 6372583"/>
                <a:gd name="connsiteY17" fmla="*/ 846175 h 868026"/>
                <a:gd name="connsiteX18" fmla="*/ 1446450 w 6372583"/>
                <a:gd name="connsiteY18" fmla="*/ 566332 h 868026"/>
                <a:gd name="connsiteX19" fmla="*/ 1446450 w 6372583"/>
                <a:gd name="connsiteY19" fmla="*/ 846175 h 868026"/>
                <a:gd name="connsiteX20" fmla="*/ 1345809 w 6372583"/>
                <a:gd name="connsiteY20" fmla="*/ 846175 h 868026"/>
                <a:gd name="connsiteX21" fmla="*/ 1345809 w 6372583"/>
                <a:gd name="connsiteY21" fmla="*/ 206972 h 868026"/>
                <a:gd name="connsiteX22" fmla="*/ 1787447 w 6372583"/>
                <a:gd name="connsiteY22" fmla="*/ 206972 h 868026"/>
                <a:gd name="connsiteX23" fmla="*/ 1941416 w 6372583"/>
                <a:gd name="connsiteY23" fmla="*/ 254244 h 868026"/>
                <a:gd name="connsiteX24" fmla="*/ 1996993 w 6372583"/>
                <a:gd name="connsiteY24" fmla="*/ 385541 h 868026"/>
                <a:gd name="connsiteX25" fmla="*/ 1953053 w 6372583"/>
                <a:gd name="connsiteY25" fmla="*/ 503705 h 868026"/>
                <a:gd name="connsiteX26" fmla="*/ 1838518 w 6372583"/>
                <a:gd name="connsiteY26" fmla="*/ 564845 h 868026"/>
                <a:gd name="connsiteX27" fmla="*/ 2016522 w 6372583"/>
                <a:gd name="connsiteY27" fmla="*/ 846191 h 868026"/>
                <a:gd name="connsiteX28" fmla="*/ 1907617 w 6372583"/>
                <a:gd name="connsiteY28" fmla="*/ 846191 h 868026"/>
                <a:gd name="connsiteX29" fmla="*/ 1725857 w 6372583"/>
                <a:gd name="connsiteY29" fmla="*/ 566348 h 868026"/>
                <a:gd name="connsiteX30" fmla="*/ 1446458 w 6372583"/>
                <a:gd name="connsiteY30" fmla="*/ 566348 h 868026"/>
                <a:gd name="connsiteX31" fmla="*/ 1446450 w 6372583"/>
                <a:gd name="connsiteY31" fmla="*/ 472555 h 868026"/>
                <a:gd name="connsiteX32" fmla="*/ 1787435 w 6372583"/>
                <a:gd name="connsiteY32" fmla="*/ 472555 h 868026"/>
                <a:gd name="connsiteX33" fmla="*/ 1866674 w 6372583"/>
                <a:gd name="connsiteY33" fmla="*/ 450046 h 868026"/>
                <a:gd name="connsiteX34" fmla="*/ 1894087 w 6372583"/>
                <a:gd name="connsiteY34" fmla="*/ 385525 h 868026"/>
                <a:gd name="connsiteX35" fmla="*/ 1866674 w 6372583"/>
                <a:gd name="connsiteY35" fmla="*/ 321379 h 868026"/>
                <a:gd name="connsiteX36" fmla="*/ 1787435 w 6372583"/>
                <a:gd name="connsiteY36" fmla="*/ 299246 h 868026"/>
                <a:gd name="connsiteX37" fmla="*/ 1446450 w 6372583"/>
                <a:gd name="connsiteY37" fmla="*/ 299246 h 868026"/>
                <a:gd name="connsiteX38" fmla="*/ 1446450 w 6372583"/>
                <a:gd name="connsiteY38" fmla="*/ 472555 h 868026"/>
                <a:gd name="connsiteX39" fmla="*/ 2091868 w 6372583"/>
                <a:gd name="connsiteY39" fmla="*/ 846175 h 868026"/>
                <a:gd name="connsiteX40" fmla="*/ 2091868 w 6372583"/>
                <a:gd name="connsiteY40" fmla="*/ 205485 h 868026"/>
                <a:gd name="connsiteX41" fmla="*/ 2693466 w 6372583"/>
                <a:gd name="connsiteY41" fmla="*/ 205485 h 868026"/>
                <a:gd name="connsiteX42" fmla="*/ 2693466 w 6372583"/>
                <a:gd name="connsiteY42" fmla="*/ 299262 h 868026"/>
                <a:gd name="connsiteX43" fmla="*/ 2192493 w 6372583"/>
                <a:gd name="connsiteY43" fmla="*/ 299262 h 868026"/>
                <a:gd name="connsiteX44" fmla="*/ 2192493 w 6372583"/>
                <a:gd name="connsiteY44" fmla="*/ 459063 h 868026"/>
                <a:gd name="connsiteX45" fmla="*/ 2521463 w 6372583"/>
                <a:gd name="connsiteY45" fmla="*/ 459063 h 868026"/>
                <a:gd name="connsiteX46" fmla="*/ 2521463 w 6372583"/>
                <a:gd name="connsiteY46" fmla="*/ 551352 h 868026"/>
                <a:gd name="connsiteX47" fmla="*/ 2192493 w 6372583"/>
                <a:gd name="connsiteY47" fmla="*/ 551352 h 868026"/>
                <a:gd name="connsiteX48" fmla="*/ 2192493 w 6372583"/>
                <a:gd name="connsiteY48" fmla="*/ 753917 h 868026"/>
                <a:gd name="connsiteX49" fmla="*/ 2721234 w 6372583"/>
                <a:gd name="connsiteY49" fmla="*/ 753917 h 868026"/>
                <a:gd name="connsiteX50" fmla="*/ 2721234 w 6372583"/>
                <a:gd name="connsiteY50" fmla="*/ 846191 h 868026"/>
                <a:gd name="connsiteX51" fmla="*/ 2091826 w 6372583"/>
                <a:gd name="connsiteY51" fmla="*/ 846191 h 868026"/>
                <a:gd name="connsiteX52" fmla="*/ 3428898 w 6372583"/>
                <a:gd name="connsiteY52" fmla="*/ 621869 h 868026"/>
                <a:gd name="connsiteX53" fmla="*/ 3428898 w 6372583"/>
                <a:gd name="connsiteY53" fmla="*/ 500324 h 868026"/>
                <a:gd name="connsiteX54" fmla="*/ 3202825 w 6372583"/>
                <a:gd name="connsiteY54" fmla="*/ 500324 h 868026"/>
                <a:gd name="connsiteX55" fmla="*/ 3202825 w 6372583"/>
                <a:gd name="connsiteY55" fmla="*/ 405044 h 868026"/>
                <a:gd name="connsiteX56" fmla="*/ 3531789 w 6372583"/>
                <a:gd name="connsiteY56" fmla="*/ 405044 h 868026"/>
                <a:gd name="connsiteX57" fmla="*/ 3531789 w 6372583"/>
                <a:gd name="connsiteY57" fmla="*/ 654129 h 868026"/>
                <a:gd name="connsiteX58" fmla="*/ 3375197 w 6372583"/>
                <a:gd name="connsiteY58" fmla="*/ 812803 h 868026"/>
                <a:gd name="connsiteX59" fmla="*/ 3156253 w 6372583"/>
                <a:gd name="connsiteY59" fmla="*/ 867948 h 868026"/>
                <a:gd name="connsiteX60" fmla="*/ 2848695 w 6372583"/>
                <a:gd name="connsiteY60" fmla="*/ 745276 h 868026"/>
                <a:gd name="connsiteX61" fmla="*/ 2727392 w 6372583"/>
                <a:gd name="connsiteY61" fmla="*/ 434315 h 868026"/>
                <a:gd name="connsiteX62" fmla="*/ 2849071 w 6372583"/>
                <a:gd name="connsiteY62" fmla="*/ 122584 h 868026"/>
                <a:gd name="connsiteX63" fmla="*/ 3156253 w 6372583"/>
                <a:gd name="connsiteY63" fmla="*/ -78 h 868026"/>
                <a:gd name="connsiteX64" fmla="*/ 3365810 w 6372583"/>
                <a:gd name="connsiteY64" fmla="*/ 50186 h 868026"/>
                <a:gd name="connsiteX65" fmla="*/ 3519770 w 6372583"/>
                <a:gd name="connsiteY65" fmla="*/ 193479 h 868026"/>
                <a:gd name="connsiteX66" fmla="*/ 3433396 w 6372583"/>
                <a:gd name="connsiteY66" fmla="*/ 254995 h 868026"/>
                <a:gd name="connsiteX67" fmla="*/ 3320743 w 6372583"/>
                <a:gd name="connsiteY67" fmla="*/ 138711 h 868026"/>
                <a:gd name="connsiteX68" fmla="*/ 3156253 w 6372583"/>
                <a:gd name="connsiteY68" fmla="*/ 96696 h 868026"/>
                <a:gd name="connsiteX69" fmla="*/ 2924930 w 6372583"/>
                <a:gd name="connsiteY69" fmla="*/ 192352 h 868026"/>
                <a:gd name="connsiteX70" fmla="*/ 2833291 w 6372583"/>
                <a:gd name="connsiteY70" fmla="*/ 434300 h 868026"/>
                <a:gd name="connsiteX71" fmla="*/ 2924930 w 6372583"/>
                <a:gd name="connsiteY71" fmla="*/ 675887 h 868026"/>
                <a:gd name="connsiteX72" fmla="*/ 3156253 w 6372583"/>
                <a:gd name="connsiteY72" fmla="*/ 771166 h 868026"/>
                <a:gd name="connsiteX73" fmla="*/ 3311356 w 6372583"/>
                <a:gd name="connsiteY73" fmla="*/ 733646 h 868026"/>
                <a:gd name="connsiteX74" fmla="*/ 3428898 w 6372583"/>
                <a:gd name="connsiteY74" fmla="*/ 621853 h 868026"/>
                <a:gd name="connsiteX75" fmla="*/ 3644065 w 6372583"/>
                <a:gd name="connsiteY75" fmla="*/ 206988 h 868026"/>
                <a:gd name="connsiteX76" fmla="*/ 3744715 w 6372583"/>
                <a:gd name="connsiteY76" fmla="*/ 206988 h 868026"/>
                <a:gd name="connsiteX77" fmla="*/ 3744715 w 6372583"/>
                <a:gd name="connsiteY77" fmla="*/ 617376 h 868026"/>
                <a:gd name="connsiteX78" fmla="*/ 3788278 w 6372583"/>
                <a:gd name="connsiteY78" fmla="*/ 741911 h 868026"/>
                <a:gd name="connsiteX79" fmla="*/ 3961026 w 6372583"/>
                <a:gd name="connsiteY79" fmla="*/ 774172 h 868026"/>
                <a:gd name="connsiteX80" fmla="*/ 4134526 w 6372583"/>
                <a:gd name="connsiteY80" fmla="*/ 741911 h 868026"/>
                <a:gd name="connsiteX81" fmla="*/ 4178089 w 6372583"/>
                <a:gd name="connsiteY81" fmla="*/ 617376 h 868026"/>
                <a:gd name="connsiteX82" fmla="*/ 4178089 w 6372583"/>
                <a:gd name="connsiteY82" fmla="*/ 206988 h 868026"/>
                <a:gd name="connsiteX83" fmla="*/ 4277970 w 6372583"/>
                <a:gd name="connsiteY83" fmla="*/ 206988 h 868026"/>
                <a:gd name="connsiteX84" fmla="*/ 4277970 w 6372583"/>
                <a:gd name="connsiteY84" fmla="*/ 643626 h 868026"/>
                <a:gd name="connsiteX85" fmla="*/ 4203239 w 6372583"/>
                <a:gd name="connsiteY85" fmla="*/ 813930 h 868026"/>
                <a:gd name="connsiteX86" fmla="*/ 3959521 w 6372583"/>
                <a:gd name="connsiteY86" fmla="*/ 866445 h 868026"/>
                <a:gd name="connsiteX87" fmla="*/ 3717668 w 6372583"/>
                <a:gd name="connsiteY87" fmla="*/ 814681 h 868026"/>
                <a:gd name="connsiteX88" fmla="*/ 3644065 w 6372583"/>
                <a:gd name="connsiteY88" fmla="*/ 643626 h 868026"/>
                <a:gd name="connsiteX89" fmla="*/ 3644065 w 6372583"/>
                <a:gd name="connsiteY89" fmla="*/ 206988 h 868026"/>
                <a:gd name="connsiteX90" fmla="*/ 4262253 w 6372583"/>
                <a:gd name="connsiteY90" fmla="*/ 846175 h 868026"/>
                <a:gd name="connsiteX91" fmla="*/ 4588208 w 6372583"/>
                <a:gd name="connsiteY91" fmla="*/ 205485 h 868026"/>
                <a:gd name="connsiteX92" fmla="*/ 4651296 w 6372583"/>
                <a:gd name="connsiteY92" fmla="*/ 205485 h 868026"/>
                <a:gd name="connsiteX93" fmla="*/ 4980276 w 6372583"/>
                <a:gd name="connsiteY93" fmla="*/ 846175 h 868026"/>
                <a:gd name="connsiteX94" fmla="*/ 4872873 w 6372583"/>
                <a:gd name="connsiteY94" fmla="*/ 846175 h 868026"/>
                <a:gd name="connsiteX95" fmla="*/ 4789507 w 6372583"/>
                <a:gd name="connsiteY95" fmla="*/ 683369 h 868026"/>
                <a:gd name="connsiteX96" fmla="*/ 4450765 w 6372583"/>
                <a:gd name="connsiteY96" fmla="*/ 683369 h 868026"/>
                <a:gd name="connsiteX97" fmla="*/ 4368152 w 6372583"/>
                <a:gd name="connsiteY97" fmla="*/ 846175 h 868026"/>
                <a:gd name="connsiteX98" fmla="*/ 4494328 w 6372583"/>
                <a:gd name="connsiteY98" fmla="*/ 598593 h 868026"/>
                <a:gd name="connsiteX99" fmla="*/ 4745192 w 6372583"/>
                <a:gd name="connsiteY99" fmla="*/ 598593 h 868026"/>
                <a:gd name="connsiteX100" fmla="*/ 4620505 w 6372583"/>
                <a:gd name="connsiteY100" fmla="*/ 353264 h 868026"/>
                <a:gd name="connsiteX101" fmla="*/ 5091879 w 6372583"/>
                <a:gd name="connsiteY101" fmla="*/ 566332 h 868026"/>
                <a:gd name="connsiteX102" fmla="*/ 5091879 w 6372583"/>
                <a:gd name="connsiteY102" fmla="*/ 846175 h 868026"/>
                <a:gd name="connsiteX103" fmla="*/ 4991229 w 6372583"/>
                <a:gd name="connsiteY103" fmla="*/ 846175 h 868026"/>
                <a:gd name="connsiteX104" fmla="*/ 4991229 w 6372583"/>
                <a:gd name="connsiteY104" fmla="*/ 206972 h 868026"/>
                <a:gd name="connsiteX105" fmla="*/ 5432877 w 6372583"/>
                <a:gd name="connsiteY105" fmla="*/ 206972 h 868026"/>
                <a:gd name="connsiteX106" fmla="*/ 5586836 w 6372583"/>
                <a:gd name="connsiteY106" fmla="*/ 254244 h 868026"/>
                <a:gd name="connsiteX107" fmla="*/ 5642418 w 6372583"/>
                <a:gd name="connsiteY107" fmla="*/ 385541 h 868026"/>
                <a:gd name="connsiteX108" fmla="*/ 5598479 w 6372583"/>
                <a:gd name="connsiteY108" fmla="*/ 503705 h 868026"/>
                <a:gd name="connsiteX109" fmla="*/ 5483946 w 6372583"/>
                <a:gd name="connsiteY109" fmla="*/ 564845 h 868026"/>
                <a:gd name="connsiteX110" fmla="*/ 5661943 w 6372583"/>
                <a:gd name="connsiteY110" fmla="*/ 846191 h 868026"/>
                <a:gd name="connsiteX111" fmla="*/ 5553051 w 6372583"/>
                <a:gd name="connsiteY111" fmla="*/ 846191 h 868026"/>
                <a:gd name="connsiteX112" fmla="*/ 5371277 w 6372583"/>
                <a:gd name="connsiteY112" fmla="*/ 566348 h 868026"/>
                <a:gd name="connsiteX113" fmla="*/ 5091879 w 6372583"/>
                <a:gd name="connsiteY113" fmla="*/ 566348 h 868026"/>
                <a:gd name="connsiteX114" fmla="*/ 5091879 w 6372583"/>
                <a:gd name="connsiteY114" fmla="*/ 472555 h 868026"/>
                <a:gd name="connsiteX115" fmla="*/ 5432862 w 6372583"/>
                <a:gd name="connsiteY115" fmla="*/ 472555 h 868026"/>
                <a:gd name="connsiteX116" fmla="*/ 5512105 w 6372583"/>
                <a:gd name="connsiteY116" fmla="*/ 450046 h 868026"/>
                <a:gd name="connsiteX117" fmla="*/ 5539513 w 6372583"/>
                <a:gd name="connsiteY117" fmla="*/ 385525 h 868026"/>
                <a:gd name="connsiteX118" fmla="*/ 5512105 w 6372583"/>
                <a:gd name="connsiteY118" fmla="*/ 321379 h 868026"/>
                <a:gd name="connsiteX119" fmla="*/ 5432862 w 6372583"/>
                <a:gd name="connsiteY119" fmla="*/ 299246 h 868026"/>
                <a:gd name="connsiteX120" fmla="*/ 5091879 w 6372583"/>
                <a:gd name="connsiteY120" fmla="*/ 299246 h 868026"/>
                <a:gd name="connsiteX121" fmla="*/ 5091879 w 6372583"/>
                <a:gd name="connsiteY121" fmla="*/ 472555 h 868026"/>
                <a:gd name="connsiteX122" fmla="*/ 6023501 w 6372583"/>
                <a:gd name="connsiteY122" fmla="*/ 205485 h 868026"/>
                <a:gd name="connsiteX123" fmla="*/ 6276606 w 6372583"/>
                <a:gd name="connsiteY123" fmla="*/ 295145 h 868026"/>
                <a:gd name="connsiteX124" fmla="*/ 6372742 w 6372583"/>
                <a:gd name="connsiteY124" fmla="*/ 528092 h 868026"/>
                <a:gd name="connsiteX125" fmla="*/ 6278486 w 6372583"/>
                <a:gd name="connsiteY125" fmla="*/ 759536 h 868026"/>
                <a:gd name="connsiteX126" fmla="*/ 6023501 w 6372583"/>
                <a:gd name="connsiteY126" fmla="*/ 846191 h 868026"/>
                <a:gd name="connsiteX127" fmla="*/ 5738837 w 6372583"/>
                <a:gd name="connsiteY127" fmla="*/ 846191 h 868026"/>
                <a:gd name="connsiteX128" fmla="*/ 5738837 w 6372583"/>
                <a:gd name="connsiteY128" fmla="*/ 205501 h 868026"/>
                <a:gd name="connsiteX129" fmla="*/ 6023501 w 6372583"/>
                <a:gd name="connsiteY129" fmla="*/ 205501 h 868026"/>
                <a:gd name="connsiteX130" fmla="*/ 6025005 w 6372583"/>
                <a:gd name="connsiteY130" fmla="*/ 297775 h 868026"/>
                <a:gd name="connsiteX131" fmla="*/ 5839487 w 6372583"/>
                <a:gd name="connsiteY131" fmla="*/ 297775 h 868026"/>
                <a:gd name="connsiteX132" fmla="*/ 5839487 w 6372583"/>
                <a:gd name="connsiteY132" fmla="*/ 753917 h 868026"/>
                <a:gd name="connsiteX133" fmla="*/ 6025005 w 6372583"/>
                <a:gd name="connsiteY133" fmla="*/ 753917 h 868026"/>
                <a:gd name="connsiteX134" fmla="*/ 6204507 w 6372583"/>
                <a:gd name="connsiteY134" fmla="*/ 692776 h 868026"/>
                <a:gd name="connsiteX135" fmla="*/ 6269852 w 6372583"/>
                <a:gd name="connsiteY135" fmla="*/ 526589 h 868026"/>
                <a:gd name="connsiteX136" fmla="*/ 6202251 w 6372583"/>
                <a:gd name="connsiteY136" fmla="*/ 361529 h 868026"/>
                <a:gd name="connsiteX137" fmla="*/ 6024990 w 6372583"/>
                <a:gd name="connsiteY137" fmla="*/ 297759 h 868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6372583" h="868026">
                  <a:moveTo>
                    <a:pt x="270544" y="846175"/>
                  </a:moveTo>
                  <a:lnTo>
                    <a:pt x="159" y="17916"/>
                  </a:lnTo>
                  <a:lnTo>
                    <a:pt x="101554" y="17916"/>
                  </a:lnTo>
                  <a:lnTo>
                    <a:pt x="307349" y="657119"/>
                  </a:lnTo>
                  <a:lnTo>
                    <a:pt x="518401" y="17916"/>
                  </a:lnTo>
                  <a:lnTo>
                    <a:pt x="610784" y="17916"/>
                  </a:lnTo>
                  <a:lnTo>
                    <a:pt x="821086" y="655632"/>
                  </a:lnTo>
                  <a:lnTo>
                    <a:pt x="1027629" y="17916"/>
                  </a:lnTo>
                  <a:lnTo>
                    <a:pt x="1126020" y="17916"/>
                  </a:lnTo>
                  <a:lnTo>
                    <a:pt x="856384" y="846175"/>
                  </a:lnTo>
                  <a:lnTo>
                    <a:pt x="781279" y="846175"/>
                  </a:lnTo>
                  <a:lnTo>
                    <a:pt x="562719" y="179220"/>
                  </a:lnTo>
                  <a:lnTo>
                    <a:pt x="346411" y="846175"/>
                  </a:lnTo>
                  <a:lnTo>
                    <a:pt x="270555" y="846175"/>
                  </a:lnTo>
                  <a:close/>
                  <a:moveTo>
                    <a:pt x="1107510" y="846175"/>
                  </a:moveTo>
                  <a:lnTo>
                    <a:pt x="1107510" y="203951"/>
                  </a:lnTo>
                  <a:lnTo>
                    <a:pt x="1209656" y="203951"/>
                  </a:lnTo>
                  <a:lnTo>
                    <a:pt x="1209656" y="846175"/>
                  </a:lnTo>
                  <a:close/>
                  <a:moveTo>
                    <a:pt x="1446450" y="566332"/>
                  </a:moveTo>
                  <a:lnTo>
                    <a:pt x="1446450" y="846175"/>
                  </a:lnTo>
                  <a:lnTo>
                    <a:pt x="1345809" y="846175"/>
                  </a:lnTo>
                  <a:lnTo>
                    <a:pt x="1345809" y="206972"/>
                  </a:lnTo>
                  <a:lnTo>
                    <a:pt x="1787447" y="206972"/>
                  </a:lnTo>
                  <a:cubicBezTo>
                    <a:pt x="1853038" y="206972"/>
                    <a:pt x="1904361" y="222735"/>
                    <a:pt x="1941416" y="254244"/>
                  </a:cubicBezTo>
                  <a:cubicBezTo>
                    <a:pt x="1978465" y="285754"/>
                    <a:pt x="1996990" y="329519"/>
                    <a:pt x="1996993" y="385541"/>
                  </a:cubicBezTo>
                  <a:cubicBezTo>
                    <a:pt x="1997744" y="429040"/>
                    <a:pt x="1982055" y="471225"/>
                    <a:pt x="1953053" y="503705"/>
                  </a:cubicBezTo>
                  <a:cubicBezTo>
                    <a:pt x="1923764" y="536967"/>
                    <a:pt x="1885585" y="557347"/>
                    <a:pt x="1838518" y="564845"/>
                  </a:cubicBezTo>
                  <a:lnTo>
                    <a:pt x="2016522" y="846191"/>
                  </a:lnTo>
                  <a:lnTo>
                    <a:pt x="1907617" y="846191"/>
                  </a:lnTo>
                  <a:lnTo>
                    <a:pt x="1725857" y="566348"/>
                  </a:lnTo>
                  <a:lnTo>
                    <a:pt x="1446458" y="566348"/>
                  </a:lnTo>
                  <a:close/>
                  <a:moveTo>
                    <a:pt x="1446450" y="472555"/>
                  </a:moveTo>
                  <a:lnTo>
                    <a:pt x="1787435" y="472555"/>
                  </a:lnTo>
                  <a:cubicBezTo>
                    <a:pt x="1821986" y="472555"/>
                    <a:pt x="1848398" y="465058"/>
                    <a:pt x="1866674" y="450046"/>
                  </a:cubicBezTo>
                  <a:cubicBezTo>
                    <a:pt x="1884945" y="435035"/>
                    <a:pt x="1894083" y="413528"/>
                    <a:pt x="1894087" y="385525"/>
                  </a:cubicBezTo>
                  <a:cubicBezTo>
                    <a:pt x="1894087" y="357522"/>
                    <a:pt x="1884950" y="336140"/>
                    <a:pt x="1866674" y="321379"/>
                  </a:cubicBezTo>
                  <a:cubicBezTo>
                    <a:pt x="1848390" y="306635"/>
                    <a:pt x="1821976" y="299262"/>
                    <a:pt x="1787435" y="299246"/>
                  </a:cubicBezTo>
                  <a:lnTo>
                    <a:pt x="1446450" y="299246"/>
                  </a:lnTo>
                  <a:lnTo>
                    <a:pt x="1446450" y="472555"/>
                  </a:lnTo>
                  <a:close/>
                  <a:moveTo>
                    <a:pt x="2091868" y="846175"/>
                  </a:moveTo>
                  <a:lnTo>
                    <a:pt x="2091868" y="205485"/>
                  </a:lnTo>
                  <a:lnTo>
                    <a:pt x="2693466" y="205485"/>
                  </a:lnTo>
                  <a:lnTo>
                    <a:pt x="2693466" y="299262"/>
                  </a:lnTo>
                  <a:lnTo>
                    <a:pt x="2192493" y="299262"/>
                  </a:lnTo>
                  <a:lnTo>
                    <a:pt x="2192493" y="459063"/>
                  </a:lnTo>
                  <a:lnTo>
                    <a:pt x="2521463" y="459063"/>
                  </a:lnTo>
                  <a:lnTo>
                    <a:pt x="2521463" y="551352"/>
                  </a:lnTo>
                  <a:lnTo>
                    <a:pt x="2192493" y="551352"/>
                  </a:lnTo>
                  <a:lnTo>
                    <a:pt x="2192493" y="753917"/>
                  </a:lnTo>
                  <a:lnTo>
                    <a:pt x="2721234" y="753917"/>
                  </a:lnTo>
                  <a:lnTo>
                    <a:pt x="2721234" y="846191"/>
                  </a:lnTo>
                  <a:lnTo>
                    <a:pt x="2091826" y="846191"/>
                  </a:lnTo>
                  <a:close/>
                  <a:moveTo>
                    <a:pt x="3428898" y="621869"/>
                  </a:moveTo>
                  <a:lnTo>
                    <a:pt x="3428898" y="500324"/>
                  </a:lnTo>
                  <a:lnTo>
                    <a:pt x="3202825" y="500324"/>
                  </a:lnTo>
                  <a:lnTo>
                    <a:pt x="3202825" y="405044"/>
                  </a:lnTo>
                  <a:lnTo>
                    <a:pt x="3531789" y="405044"/>
                  </a:lnTo>
                  <a:lnTo>
                    <a:pt x="3531789" y="654129"/>
                  </a:lnTo>
                  <a:cubicBezTo>
                    <a:pt x="3491720" y="723159"/>
                    <a:pt x="3439523" y="776050"/>
                    <a:pt x="3375197" y="812803"/>
                  </a:cubicBezTo>
                  <a:cubicBezTo>
                    <a:pt x="3310839" y="849572"/>
                    <a:pt x="3237863" y="867948"/>
                    <a:pt x="3156253" y="867948"/>
                  </a:cubicBezTo>
                  <a:cubicBezTo>
                    <a:pt x="3032067" y="867948"/>
                    <a:pt x="2929553" y="827063"/>
                    <a:pt x="2848695" y="745276"/>
                  </a:cubicBezTo>
                  <a:cubicBezTo>
                    <a:pt x="2767821" y="663505"/>
                    <a:pt x="2727392" y="559852"/>
                    <a:pt x="2727392" y="434315"/>
                  </a:cubicBezTo>
                  <a:cubicBezTo>
                    <a:pt x="2727392" y="308278"/>
                    <a:pt x="2767947" y="204358"/>
                    <a:pt x="2849071" y="122584"/>
                  </a:cubicBezTo>
                  <a:cubicBezTo>
                    <a:pt x="2930180" y="40809"/>
                    <a:pt x="3032584" y="-78"/>
                    <a:pt x="3156253" y="-78"/>
                  </a:cubicBezTo>
                  <a:cubicBezTo>
                    <a:pt x="3232865" y="-78"/>
                    <a:pt x="3302706" y="16677"/>
                    <a:pt x="3365810" y="50186"/>
                  </a:cubicBezTo>
                  <a:cubicBezTo>
                    <a:pt x="3428820" y="83635"/>
                    <a:pt x="3481926" y="133055"/>
                    <a:pt x="3519770" y="193479"/>
                  </a:cubicBezTo>
                  <a:lnTo>
                    <a:pt x="3433396" y="254995"/>
                  </a:lnTo>
                  <a:cubicBezTo>
                    <a:pt x="3407963" y="206111"/>
                    <a:pt x="3368819" y="165696"/>
                    <a:pt x="3320743" y="138711"/>
                  </a:cubicBezTo>
                  <a:cubicBezTo>
                    <a:pt x="3270598" y="110425"/>
                    <a:pt x="3213841" y="95927"/>
                    <a:pt x="3156253" y="96696"/>
                  </a:cubicBezTo>
                  <a:cubicBezTo>
                    <a:pt x="3063125" y="96696"/>
                    <a:pt x="2986013" y="128581"/>
                    <a:pt x="2924930" y="192352"/>
                  </a:cubicBezTo>
                  <a:cubicBezTo>
                    <a:pt x="2863832" y="256122"/>
                    <a:pt x="2833291" y="336766"/>
                    <a:pt x="2833291" y="434300"/>
                  </a:cubicBezTo>
                  <a:cubicBezTo>
                    <a:pt x="2833291" y="531833"/>
                    <a:pt x="2863832" y="612367"/>
                    <a:pt x="2924930" y="675887"/>
                  </a:cubicBezTo>
                  <a:cubicBezTo>
                    <a:pt x="2986013" y="739406"/>
                    <a:pt x="3063110" y="771166"/>
                    <a:pt x="3156253" y="771166"/>
                  </a:cubicBezTo>
                  <a:cubicBezTo>
                    <a:pt x="3214327" y="771166"/>
                    <a:pt x="3266038" y="758659"/>
                    <a:pt x="3311356" y="733646"/>
                  </a:cubicBezTo>
                  <a:cubicBezTo>
                    <a:pt x="3356659" y="708648"/>
                    <a:pt x="3395850" y="671379"/>
                    <a:pt x="3428898" y="621853"/>
                  </a:cubicBezTo>
                  <a:close/>
                  <a:moveTo>
                    <a:pt x="3644065" y="206988"/>
                  </a:moveTo>
                  <a:lnTo>
                    <a:pt x="3744715" y="206988"/>
                  </a:lnTo>
                  <a:lnTo>
                    <a:pt x="3744715" y="617376"/>
                  </a:lnTo>
                  <a:cubicBezTo>
                    <a:pt x="3744715" y="678892"/>
                    <a:pt x="3759241" y="720404"/>
                    <a:pt x="3788278" y="741911"/>
                  </a:cubicBezTo>
                  <a:cubicBezTo>
                    <a:pt x="3817315" y="763418"/>
                    <a:pt x="3874887" y="774172"/>
                    <a:pt x="3961026" y="774172"/>
                  </a:cubicBezTo>
                  <a:cubicBezTo>
                    <a:pt x="4047635" y="774172"/>
                    <a:pt x="4105473" y="763418"/>
                    <a:pt x="4134526" y="741911"/>
                  </a:cubicBezTo>
                  <a:cubicBezTo>
                    <a:pt x="4163547" y="720404"/>
                    <a:pt x="4178073" y="678892"/>
                    <a:pt x="4178089" y="617376"/>
                  </a:cubicBezTo>
                  <a:lnTo>
                    <a:pt x="4178089" y="206988"/>
                  </a:lnTo>
                  <a:lnTo>
                    <a:pt x="4277970" y="206988"/>
                  </a:lnTo>
                  <a:lnTo>
                    <a:pt x="4277970" y="643626"/>
                  </a:lnTo>
                  <a:cubicBezTo>
                    <a:pt x="4277970" y="722157"/>
                    <a:pt x="4253055" y="778930"/>
                    <a:pt x="4203239" y="813930"/>
                  </a:cubicBezTo>
                  <a:cubicBezTo>
                    <a:pt x="4153408" y="848930"/>
                    <a:pt x="4072174" y="866445"/>
                    <a:pt x="3959521" y="866445"/>
                  </a:cubicBezTo>
                  <a:cubicBezTo>
                    <a:pt x="3847354" y="866445"/>
                    <a:pt x="3766731" y="849196"/>
                    <a:pt x="3717668" y="814681"/>
                  </a:cubicBezTo>
                  <a:cubicBezTo>
                    <a:pt x="3668589" y="780167"/>
                    <a:pt x="3644065" y="723143"/>
                    <a:pt x="3644065" y="643626"/>
                  </a:cubicBezTo>
                  <a:lnTo>
                    <a:pt x="3644065" y="206988"/>
                  </a:lnTo>
                  <a:close/>
                  <a:moveTo>
                    <a:pt x="4262253" y="846175"/>
                  </a:moveTo>
                  <a:lnTo>
                    <a:pt x="4588208" y="205485"/>
                  </a:lnTo>
                  <a:lnTo>
                    <a:pt x="4651296" y="205485"/>
                  </a:lnTo>
                  <a:lnTo>
                    <a:pt x="4980276" y="846175"/>
                  </a:lnTo>
                  <a:lnTo>
                    <a:pt x="4872873" y="846175"/>
                  </a:lnTo>
                  <a:lnTo>
                    <a:pt x="4789507" y="683369"/>
                  </a:lnTo>
                  <a:lnTo>
                    <a:pt x="4450765" y="683369"/>
                  </a:lnTo>
                  <a:lnTo>
                    <a:pt x="4368152" y="846175"/>
                  </a:lnTo>
                  <a:close/>
                  <a:moveTo>
                    <a:pt x="4494328" y="598593"/>
                  </a:moveTo>
                  <a:lnTo>
                    <a:pt x="4745192" y="598593"/>
                  </a:lnTo>
                  <a:lnTo>
                    <a:pt x="4620505" y="353264"/>
                  </a:lnTo>
                  <a:close/>
                  <a:moveTo>
                    <a:pt x="5091879" y="566332"/>
                  </a:moveTo>
                  <a:lnTo>
                    <a:pt x="5091879" y="846175"/>
                  </a:lnTo>
                  <a:lnTo>
                    <a:pt x="4991229" y="846175"/>
                  </a:lnTo>
                  <a:lnTo>
                    <a:pt x="4991229" y="206972"/>
                  </a:lnTo>
                  <a:lnTo>
                    <a:pt x="5432877" y="206972"/>
                  </a:lnTo>
                  <a:cubicBezTo>
                    <a:pt x="5498472" y="206972"/>
                    <a:pt x="5549792" y="222735"/>
                    <a:pt x="5586836" y="254244"/>
                  </a:cubicBezTo>
                  <a:cubicBezTo>
                    <a:pt x="5623896" y="285754"/>
                    <a:pt x="5642418" y="329519"/>
                    <a:pt x="5642418" y="385541"/>
                  </a:cubicBezTo>
                  <a:cubicBezTo>
                    <a:pt x="5643171" y="429040"/>
                    <a:pt x="5627485" y="471225"/>
                    <a:pt x="5598479" y="503705"/>
                  </a:cubicBezTo>
                  <a:cubicBezTo>
                    <a:pt x="5569192" y="536967"/>
                    <a:pt x="5531004" y="557347"/>
                    <a:pt x="5483946" y="564845"/>
                  </a:cubicBezTo>
                  <a:lnTo>
                    <a:pt x="5661943" y="846191"/>
                  </a:lnTo>
                  <a:lnTo>
                    <a:pt x="5553051" y="846191"/>
                  </a:lnTo>
                  <a:lnTo>
                    <a:pt x="5371277" y="566348"/>
                  </a:lnTo>
                  <a:lnTo>
                    <a:pt x="5091879" y="566348"/>
                  </a:lnTo>
                  <a:close/>
                  <a:moveTo>
                    <a:pt x="5091879" y="472555"/>
                  </a:moveTo>
                  <a:lnTo>
                    <a:pt x="5432862" y="472555"/>
                  </a:lnTo>
                  <a:cubicBezTo>
                    <a:pt x="5467414" y="472555"/>
                    <a:pt x="5493818" y="465058"/>
                    <a:pt x="5512105" y="450046"/>
                  </a:cubicBezTo>
                  <a:cubicBezTo>
                    <a:pt x="5530377" y="435035"/>
                    <a:pt x="5539513" y="413528"/>
                    <a:pt x="5539513" y="385525"/>
                  </a:cubicBezTo>
                  <a:cubicBezTo>
                    <a:pt x="5539513" y="357522"/>
                    <a:pt x="5530377" y="336140"/>
                    <a:pt x="5512105" y="321379"/>
                  </a:cubicBezTo>
                  <a:cubicBezTo>
                    <a:pt x="5493818" y="306635"/>
                    <a:pt x="5467398" y="299262"/>
                    <a:pt x="5432862" y="299246"/>
                  </a:cubicBezTo>
                  <a:lnTo>
                    <a:pt x="5091879" y="299246"/>
                  </a:lnTo>
                  <a:lnTo>
                    <a:pt x="5091879" y="472555"/>
                  </a:lnTo>
                  <a:close/>
                  <a:moveTo>
                    <a:pt x="6023501" y="205485"/>
                  </a:moveTo>
                  <a:cubicBezTo>
                    <a:pt x="6128146" y="205485"/>
                    <a:pt x="6212515" y="235367"/>
                    <a:pt x="6276606" y="295145"/>
                  </a:cubicBezTo>
                  <a:cubicBezTo>
                    <a:pt x="6340696" y="354908"/>
                    <a:pt x="6372742" y="432562"/>
                    <a:pt x="6372742" y="528092"/>
                  </a:cubicBezTo>
                  <a:cubicBezTo>
                    <a:pt x="6372742" y="624624"/>
                    <a:pt x="6341323" y="701777"/>
                    <a:pt x="6278486" y="759536"/>
                  </a:cubicBezTo>
                  <a:cubicBezTo>
                    <a:pt x="6215648" y="817311"/>
                    <a:pt x="6130654" y="846191"/>
                    <a:pt x="6023501" y="846191"/>
                  </a:cubicBezTo>
                  <a:lnTo>
                    <a:pt x="5738837" y="846191"/>
                  </a:lnTo>
                  <a:lnTo>
                    <a:pt x="5738837" y="205501"/>
                  </a:lnTo>
                  <a:lnTo>
                    <a:pt x="6023501" y="205501"/>
                  </a:lnTo>
                  <a:close/>
                  <a:moveTo>
                    <a:pt x="6025005" y="297775"/>
                  </a:moveTo>
                  <a:lnTo>
                    <a:pt x="5839487" y="297775"/>
                  </a:lnTo>
                  <a:lnTo>
                    <a:pt x="5839487" y="753917"/>
                  </a:lnTo>
                  <a:lnTo>
                    <a:pt x="6025005" y="753917"/>
                  </a:lnTo>
                  <a:cubicBezTo>
                    <a:pt x="6101100" y="753917"/>
                    <a:pt x="6160944" y="733537"/>
                    <a:pt x="6204507" y="692776"/>
                  </a:cubicBezTo>
                  <a:cubicBezTo>
                    <a:pt x="6248070" y="652016"/>
                    <a:pt x="6269852" y="596621"/>
                    <a:pt x="6269852" y="526589"/>
                  </a:cubicBezTo>
                  <a:cubicBezTo>
                    <a:pt x="6269852" y="459063"/>
                    <a:pt x="6247318" y="404058"/>
                    <a:pt x="6202251" y="361529"/>
                  </a:cubicBezTo>
                  <a:cubicBezTo>
                    <a:pt x="6157183" y="319032"/>
                    <a:pt x="6098107" y="297775"/>
                    <a:pt x="6024990" y="297759"/>
                  </a:cubicBezTo>
                  <a:close/>
                </a:path>
              </a:pathLst>
            </a:custGeom>
            <a:grpFill/>
            <a:ln w="415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1084" name="Freeform 1083">
              <a:extLst>
                <a:ext uri="{FF2B5EF4-FFF2-40B4-BE49-F238E27FC236}">
                  <a16:creationId xmlns:a16="http://schemas.microsoft.com/office/drawing/2014/main" id="{7255915E-8125-4368-6F9D-291071A04CD7}"/>
                </a:ext>
              </a:extLst>
            </p:cNvPr>
            <p:cNvSpPr/>
            <p:nvPr/>
          </p:nvSpPr>
          <p:spPr>
            <a:xfrm>
              <a:off x="1623012" y="3381591"/>
              <a:ext cx="1243829" cy="1242447"/>
            </a:xfrm>
            <a:custGeom>
              <a:avLst/>
              <a:gdLst>
                <a:gd name="connsiteX0" fmla="*/ 1242916 w 1243829"/>
                <a:gd name="connsiteY0" fmla="*/ 602760 h 1242447"/>
                <a:gd name="connsiteX1" fmla="*/ 608398 w 1243829"/>
                <a:gd name="connsiteY1" fmla="*/ -78 h 1242447"/>
                <a:gd name="connsiteX2" fmla="*/ 3499 w 1243829"/>
                <a:gd name="connsiteY2" fmla="*/ 578200 h 1242447"/>
                <a:gd name="connsiteX3" fmla="*/ 621922 w 1243829"/>
                <a:gd name="connsiteY3" fmla="*/ 1242369 h 1242447"/>
                <a:gd name="connsiteX4" fmla="*/ 1242916 w 1243829"/>
                <a:gd name="connsiteY4" fmla="*/ 602760 h 1242447"/>
                <a:gd name="connsiteX5" fmla="*/ 422832 w 1243829"/>
                <a:gd name="connsiteY5" fmla="*/ 392103 h 1242447"/>
                <a:gd name="connsiteX6" fmla="*/ 765852 w 1243829"/>
                <a:gd name="connsiteY6" fmla="*/ 476910 h 1242447"/>
                <a:gd name="connsiteX7" fmla="*/ 771431 w 1243829"/>
                <a:gd name="connsiteY7" fmla="*/ 554705 h 1242447"/>
                <a:gd name="connsiteX8" fmla="*/ 608430 w 1243829"/>
                <a:gd name="connsiteY8" fmla="*/ 695941 h 1242447"/>
                <a:gd name="connsiteX9" fmla="*/ 656772 w 1243829"/>
                <a:gd name="connsiteY9" fmla="*/ 621277 h 1242447"/>
                <a:gd name="connsiteX10" fmla="*/ 637936 w 1243829"/>
                <a:gd name="connsiteY10" fmla="*/ 534497 h 1242447"/>
                <a:gd name="connsiteX11" fmla="*/ 510193 w 1243829"/>
                <a:gd name="connsiteY11" fmla="*/ 495615 h 1242447"/>
                <a:gd name="connsiteX12" fmla="*/ 438816 w 1243829"/>
                <a:gd name="connsiteY12" fmla="*/ 614405 h 1242447"/>
                <a:gd name="connsiteX13" fmla="*/ 555167 w 1243829"/>
                <a:gd name="connsiteY13" fmla="*/ 711532 h 1242447"/>
                <a:gd name="connsiteX14" fmla="*/ 527666 w 1243829"/>
                <a:gd name="connsiteY14" fmla="*/ 726105 h 1242447"/>
                <a:gd name="connsiteX15" fmla="*/ 442498 w 1243829"/>
                <a:gd name="connsiteY15" fmla="*/ 800096 h 1242447"/>
                <a:gd name="connsiteX16" fmla="*/ 418742 w 1243829"/>
                <a:gd name="connsiteY16" fmla="*/ 803993 h 1242447"/>
                <a:gd name="connsiteX17" fmla="*/ 422816 w 1243829"/>
                <a:gd name="connsiteY17" fmla="*/ 392118 h 1242447"/>
                <a:gd name="connsiteX18" fmla="*/ 313172 w 1243829"/>
                <a:gd name="connsiteY18" fmla="*/ 945120 h 1242447"/>
                <a:gd name="connsiteX19" fmla="*/ 242766 w 1243829"/>
                <a:gd name="connsiteY19" fmla="*/ 967817 h 1242447"/>
                <a:gd name="connsiteX20" fmla="*/ 426139 w 1243829"/>
                <a:gd name="connsiteY20" fmla="*/ 823779 h 1242447"/>
                <a:gd name="connsiteX21" fmla="*/ 387825 w 1243829"/>
                <a:gd name="connsiteY21" fmla="*/ 931017 h 1242447"/>
                <a:gd name="connsiteX22" fmla="*/ 313172 w 1243829"/>
                <a:gd name="connsiteY22" fmla="*/ 945120 h 1242447"/>
                <a:gd name="connsiteX23" fmla="*/ 813975 w 1243829"/>
                <a:gd name="connsiteY23" fmla="*/ 170747 h 1242447"/>
                <a:gd name="connsiteX24" fmla="*/ 883801 w 1243829"/>
                <a:gd name="connsiteY24" fmla="*/ 171799 h 1242447"/>
                <a:gd name="connsiteX25" fmla="*/ 901085 w 1243829"/>
                <a:gd name="connsiteY25" fmla="*/ 174203 h 1242447"/>
                <a:gd name="connsiteX26" fmla="*/ 883519 w 1243829"/>
                <a:gd name="connsiteY26" fmla="*/ 196704 h 1242447"/>
                <a:gd name="connsiteX27" fmla="*/ 853809 w 1243829"/>
                <a:gd name="connsiteY27" fmla="*/ 200249 h 1242447"/>
                <a:gd name="connsiteX28" fmla="*/ 839094 w 1243829"/>
                <a:gd name="connsiteY28" fmla="*/ 198002 h 1242447"/>
                <a:gd name="connsiteX29" fmla="*/ 769660 w 1243829"/>
                <a:gd name="connsiteY29" fmla="*/ 197831 h 1242447"/>
                <a:gd name="connsiteX30" fmla="*/ 709863 w 1243829"/>
                <a:gd name="connsiteY30" fmla="*/ 203931 h 1242447"/>
                <a:gd name="connsiteX31" fmla="*/ 702325 w 1243829"/>
                <a:gd name="connsiteY31" fmla="*/ 221437 h 1242447"/>
                <a:gd name="connsiteX32" fmla="*/ 720879 w 1243829"/>
                <a:gd name="connsiteY32" fmla="*/ 250799 h 1242447"/>
                <a:gd name="connsiteX33" fmla="*/ 819350 w 1243829"/>
                <a:gd name="connsiteY33" fmla="*/ 323954 h 1242447"/>
                <a:gd name="connsiteX34" fmla="*/ 897607 w 1243829"/>
                <a:gd name="connsiteY34" fmla="*/ 411982 h 1242447"/>
                <a:gd name="connsiteX35" fmla="*/ 911443 w 1243829"/>
                <a:gd name="connsiteY35" fmla="*/ 560857 h 1242447"/>
                <a:gd name="connsiteX36" fmla="*/ 782776 w 1243829"/>
                <a:gd name="connsiteY36" fmla="*/ 765957 h 1242447"/>
                <a:gd name="connsiteX37" fmla="*/ 688394 w 1243829"/>
                <a:gd name="connsiteY37" fmla="*/ 812744 h 1242447"/>
                <a:gd name="connsiteX38" fmla="*/ 603196 w 1243829"/>
                <a:gd name="connsiteY38" fmla="*/ 849606 h 1242447"/>
                <a:gd name="connsiteX39" fmla="*/ 532257 w 1243829"/>
                <a:gd name="connsiteY39" fmla="*/ 984988 h 1242447"/>
                <a:gd name="connsiteX40" fmla="*/ 638955 w 1243829"/>
                <a:gd name="connsiteY40" fmla="*/ 1090411 h 1242447"/>
                <a:gd name="connsiteX41" fmla="*/ 783293 w 1243829"/>
                <a:gd name="connsiteY41" fmla="*/ 995742 h 1242447"/>
                <a:gd name="connsiteX42" fmla="*/ 687658 w 1243829"/>
                <a:gd name="connsiteY42" fmla="*/ 839134 h 1242447"/>
                <a:gd name="connsiteX43" fmla="*/ 674385 w 1243829"/>
                <a:gd name="connsiteY43" fmla="*/ 835706 h 1242447"/>
                <a:gd name="connsiteX44" fmla="*/ 726849 w 1243829"/>
                <a:gd name="connsiteY44" fmla="*/ 811992 h 1242447"/>
                <a:gd name="connsiteX45" fmla="*/ 807629 w 1243829"/>
                <a:gd name="connsiteY45" fmla="*/ 764110 h 1242447"/>
                <a:gd name="connsiteX46" fmla="*/ 826213 w 1243829"/>
                <a:gd name="connsiteY46" fmla="*/ 764877 h 1242447"/>
                <a:gd name="connsiteX47" fmla="*/ 915612 w 1243829"/>
                <a:gd name="connsiteY47" fmla="*/ 929859 h 1242447"/>
                <a:gd name="connsiteX48" fmla="*/ 778498 w 1243829"/>
                <a:gd name="connsiteY48" fmla="*/ 1193939 h 1242447"/>
                <a:gd name="connsiteX49" fmla="*/ 404921 w 1243829"/>
                <a:gd name="connsiteY49" fmla="*/ 1013570 h 1242447"/>
                <a:gd name="connsiteX50" fmla="*/ 601691 w 1243829"/>
                <a:gd name="connsiteY50" fmla="*/ 711720 h 1242447"/>
                <a:gd name="connsiteX51" fmla="*/ 740874 w 1243829"/>
                <a:gd name="connsiteY51" fmla="*/ 637963 h 1242447"/>
                <a:gd name="connsiteX52" fmla="*/ 781005 w 1243829"/>
                <a:gd name="connsiteY52" fmla="*/ 578889 h 1242447"/>
                <a:gd name="connsiteX53" fmla="*/ 792288 w 1243829"/>
                <a:gd name="connsiteY53" fmla="*/ 518954 h 1242447"/>
                <a:gd name="connsiteX54" fmla="*/ 779986 w 1243829"/>
                <a:gd name="connsiteY54" fmla="*/ 467612 h 1242447"/>
                <a:gd name="connsiteX55" fmla="*/ 705616 w 1243829"/>
                <a:gd name="connsiteY55" fmla="*/ 381866 h 1242447"/>
                <a:gd name="connsiteX56" fmla="*/ 589516 w 1243829"/>
                <a:gd name="connsiteY56" fmla="*/ 291082 h 1242447"/>
                <a:gd name="connsiteX57" fmla="*/ 570837 w 1243829"/>
                <a:gd name="connsiteY57" fmla="*/ 288637 h 1242447"/>
                <a:gd name="connsiteX58" fmla="*/ 515552 w 1243829"/>
                <a:gd name="connsiteY58" fmla="*/ 287693 h 1242447"/>
                <a:gd name="connsiteX59" fmla="*/ 567389 w 1243829"/>
                <a:gd name="connsiteY59" fmla="*/ 258672 h 1242447"/>
                <a:gd name="connsiteX60" fmla="*/ 447403 w 1243829"/>
                <a:gd name="connsiteY60" fmla="*/ 234875 h 1242447"/>
                <a:gd name="connsiteX61" fmla="*/ 527289 w 1243829"/>
                <a:gd name="connsiteY61" fmla="*/ 188942 h 1242447"/>
                <a:gd name="connsiteX62" fmla="*/ 520301 w 1243829"/>
                <a:gd name="connsiteY62" fmla="*/ 146363 h 1242447"/>
                <a:gd name="connsiteX63" fmla="*/ 506667 w 1243829"/>
                <a:gd name="connsiteY63" fmla="*/ 131721 h 1242447"/>
                <a:gd name="connsiteX64" fmla="*/ 462932 w 1243829"/>
                <a:gd name="connsiteY64" fmla="*/ 109221 h 1242447"/>
                <a:gd name="connsiteX65" fmla="*/ 509927 w 1243829"/>
                <a:gd name="connsiteY65" fmla="*/ 94703 h 1242447"/>
                <a:gd name="connsiteX66" fmla="*/ 556969 w 1243829"/>
                <a:gd name="connsiteY66" fmla="*/ 99282 h 1242447"/>
                <a:gd name="connsiteX67" fmla="*/ 629475 w 1243829"/>
                <a:gd name="connsiteY67" fmla="*/ 82518 h 1242447"/>
                <a:gd name="connsiteX68" fmla="*/ 577497 w 1243829"/>
                <a:gd name="connsiteY68" fmla="*/ 61435 h 1242447"/>
                <a:gd name="connsiteX69" fmla="*/ 528653 w 1243829"/>
                <a:gd name="connsiteY69" fmla="*/ 35930 h 1242447"/>
                <a:gd name="connsiteX70" fmla="*/ 660329 w 1243829"/>
                <a:gd name="connsiteY70" fmla="*/ 52509 h 1242447"/>
                <a:gd name="connsiteX71" fmla="*/ 661473 w 1243829"/>
                <a:gd name="connsiteY71" fmla="*/ 46377 h 1242447"/>
                <a:gd name="connsiteX72" fmla="*/ 556875 w 1243829"/>
                <a:gd name="connsiteY72" fmla="*/ 22055 h 1242447"/>
                <a:gd name="connsiteX73" fmla="*/ 732255 w 1243829"/>
                <a:gd name="connsiteY73" fmla="*/ 42160 h 1242447"/>
                <a:gd name="connsiteX74" fmla="*/ 778733 w 1243829"/>
                <a:gd name="connsiteY74" fmla="*/ 64512 h 1242447"/>
                <a:gd name="connsiteX75" fmla="*/ 796769 w 1243829"/>
                <a:gd name="connsiteY75" fmla="*/ 83394 h 1242447"/>
                <a:gd name="connsiteX76" fmla="*/ 811060 w 1243829"/>
                <a:gd name="connsiteY76" fmla="*/ 98413 h 1242447"/>
                <a:gd name="connsiteX77" fmla="*/ 881858 w 1243829"/>
                <a:gd name="connsiteY77" fmla="*/ 109959 h 1242447"/>
                <a:gd name="connsiteX78" fmla="*/ 882407 w 1243829"/>
                <a:gd name="connsiteY78" fmla="*/ 101703 h 1242447"/>
                <a:gd name="connsiteX79" fmla="*/ 935077 w 1243829"/>
                <a:gd name="connsiteY79" fmla="*/ 158882 h 1242447"/>
                <a:gd name="connsiteX80" fmla="*/ 814602 w 1243829"/>
                <a:gd name="connsiteY80" fmla="*/ 159104 h 1242447"/>
                <a:gd name="connsiteX81" fmla="*/ 801784 w 1243829"/>
                <a:gd name="connsiteY81" fmla="*/ 163972 h 1242447"/>
                <a:gd name="connsiteX82" fmla="*/ 813975 w 1243829"/>
                <a:gd name="connsiteY82" fmla="*/ 170748 h 1242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243829" h="1242447">
                  <a:moveTo>
                    <a:pt x="1242916" y="602760"/>
                  </a:moveTo>
                  <a:cubicBezTo>
                    <a:pt x="1242916" y="602760"/>
                    <a:pt x="1271688" y="-78"/>
                    <a:pt x="608398" y="-78"/>
                  </a:cubicBezTo>
                  <a:cubicBezTo>
                    <a:pt x="21817" y="-78"/>
                    <a:pt x="3499" y="578200"/>
                    <a:pt x="3499" y="578200"/>
                  </a:cubicBezTo>
                  <a:cubicBezTo>
                    <a:pt x="3499" y="578200"/>
                    <a:pt x="-82797" y="1242369"/>
                    <a:pt x="621922" y="1242369"/>
                  </a:cubicBezTo>
                  <a:cubicBezTo>
                    <a:pt x="1297810" y="1242369"/>
                    <a:pt x="1242916" y="602760"/>
                    <a:pt x="1242916" y="602760"/>
                  </a:cubicBezTo>
                  <a:close/>
                  <a:moveTo>
                    <a:pt x="422832" y="392103"/>
                  </a:moveTo>
                  <a:cubicBezTo>
                    <a:pt x="547269" y="316056"/>
                    <a:pt x="706274" y="362534"/>
                    <a:pt x="765852" y="476910"/>
                  </a:cubicBezTo>
                  <a:cubicBezTo>
                    <a:pt x="777135" y="498589"/>
                    <a:pt x="778576" y="531961"/>
                    <a:pt x="771431" y="554705"/>
                  </a:cubicBezTo>
                  <a:cubicBezTo>
                    <a:pt x="746734" y="633204"/>
                    <a:pt x="688441" y="677236"/>
                    <a:pt x="608430" y="695941"/>
                  </a:cubicBezTo>
                  <a:cubicBezTo>
                    <a:pt x="632029" y="675765"/>
                    <a:pt x="650802" y="652896"/>
                    <a:pt x="656772" y="621277"/>
                  </a:cubicBezTo>
                  <a:cubicBezTo>
                    <a:pt x="663071" y="590989"/>
                    <a:pt x="656223" y="559464"/>
                    <a:pt x="637936" y="534497"/>
                  </a:cubicBezTo>
                  <a:cubicBezTo>
                    <a:pt x="608806" y="494520"/>
                    <a:pt x="556687" y="478663"/>
                    <a:pt x="510193" y="495615"/>
                  </a:cubicBezTo>
                  <a:cubicBezTo>
                    <a:pt x="460942" y="514289"/>
                    <a:pt x="433958" y="559197"/>
                    <a:pt x="438816" y="614405"/>
                  </a:cubicBezTo>
                  <a:cubicBezTo>
                    <a:pt x="443329" y="665684"/>
                    <a:pt x="482285" y="698915"/>
                    <a:pt x="555167" y="711532"/>
                  </a:cubicBezTo>
                  <a:cubicBezTo>
                    <a:pt x="544260" y="717292"/>
                    <a:pt x="535877" y="721534"/>
                    <a:pt x="527666" y="726105"/>
                  </a:cubicBezTo>
                  <a:cubicBezTo>
                    <a:pt x="494288" y="744371"/>
                    <a:pt x="465236" y="769604"/>
                    <a:pt x="442498" y="800096"/>
                  </a:cubicBezTo>
                  <a:cubicBezTo>
                    <a:pt x="435102" y="810067"/>
                    <a:pt x="430009" y="810881"/>
                    <a:pt x="418742" y="803993"/>
                  </a:cubicBezTo>
                  <a:cubicBezTo>
                    <a:pt x="272242" y="714490"/>
                    <a:pt x="262824" y="489886"/>
                    <a:pt x="422816" y="392118"/>
                  </a:cubicBezTo>
                  <a:close/>
                  <a:moveTo>
                    <a:pt x="313172" y="945120"/>
                  </a:moveTo>
                  <a:cubicBezTo>
                    <a:pt x="289636" y="951100"/>
                    <a:pt x="266820" y="959928"/>
                    <a:pt x="242766" y="967817"/>
                  </a:cubicBezTo>
                  <a:cubicBezTo>
                    <a:pt x="254535" y="888504"/>
                    <a:pt x="347506" y="815452"/>
                    <a:pt x="426139" y="823779"/>
                  </a:cubicBezTo>
                  <a:cubicBezTo>
                    <a:pt x="403354" y="855131"/>
                    <a:pt x="390066" y="892354"/>
                    <a:pt x="387825" y="931017"/>
                  </a:cubicBezTo>
                  <a:cubicBezTo>
                    <a:pt x="361687" y="935822"/>
                    <a:pt x="337069" y="939062"/>
                    <a:pt x="313172" y="945120"/>
                  </a:cubicBezTo>
                  <a:close/>
                  <a:moveTo>
                    <a:pt x="813975" y="170747"/>
                  </a:moveTo>
                  <a:cubicBezTo>
                    <a:pt x="837230" y="171600"/>
                    <a:pt x="860531" y="171248"/>
                    <a:pt x="883801" y="171799"/>
                  </a:cubicBezTo>
                  <a:cubicBezTo>
                    <a:pt x="889615" y="172182"/>
                    <a:pt x="895382" y="172985"/>
                    <a:pt x="901085" y="174203"/>
                  </a:cubicBezTo>
                  <a:cubicBezTo>
                    <a:pt x="895883" y="182186"/>
                    <a:pt x="890007" y="189715"/>
                    <a:pt x="883519" y="196704"/>
                  </a:cubicBezTo>
                  <a:cubicBezTo>
                    <a:pt x="875198" y="204449"/>
                    <a:pt x="865796" y="212022"/>
                    <a:pt x="853809" y="200249"/>
                  </a:cubicBezTo>
                  <a:cubicBezTo>
                    <a:pt x="850925" y="197418"/>
                    <a:pt x="844109" y="198067"/>
                    <a:pt x="839094" y="198002"/>
                  </a:cubicBezTo>
                  <a:cubicBezTo>
                    <a:pt x="815949" y="197698"/>
                    <a:pt x="792773" y="196959"/>
                    <a:pt x="769660" y="197831"/>
                  </a:cubicBezTo>
                  <a:cubicBezTo>
                    <a:pt x="749618" y="198473"/>
                    <a:pt x="729623" y="200511"/>
                    <a:pt x="709863" y="203931"/>
                  </a:cubicBezTo>
                  <a:cubicBezTo>
                    <a:pt x="706149" y="204596"/>
                    <a:pt x="700617" y="216899"/>
                    <a:pt x="702325" y="221437"/>
                  </a:cubicBezTo>
                  <a:cubicBezTo>
                    <a:pt x="706337" y="232144"/>
                    <a:pt x="712197" y="243951"/>
                    <a:pt x="720879" y="250799"/>
                  </a:cubicBezTo>
                  <a:cubicBezTo>
                    <a:pt x="752971" y="276103"/>
                    <a:pt x="787101" y="298824"/>
                    <a:pt x="819350" y="323954"/>
                  </a:cubicBezTo>
                  <a:cubicBezTo>
                    <a:pt x="850675" y="348368"/>
                    <a:pt x="879837" y="375135"/>
                    <a:pt x="897607" y="411982"/>
                  </a:cubicBezTo>
                  <a:cubicBezTo>
                    <a:pt x="920752" y="459974"/>
                    <a:pt x="921428" y="510313"/>
                    <a:pt x="911443" y="560857"/>
                  </a:cubicBezTo>
                  <a:cubicBezTo>
                    <a:pt x="894770" y="645257"/>
                    <a:pt x="852022" y="715179"/>
                    <a:pt x="782776" y="765957"/>
                  </a:cubicBezTo>
                  <a:cubicBezTo>
                    <a:pt x="754883" y="786431"/>
                    <a:pt x="720346" y="798045"/>
                    <a:pt x="688394" y="812744"/>
                  </a:cubicBezTo>
                  <a:cubicBezTo>
                    <a:pt x="660282" y="825673"/>
                    <a:pt x="631355" y="836818"/>
                    <a:pt x="603196" y="849606"/>
                  </a:cubicBezTo>
                  <a:cubicBezTo>
                    <a:pt x="552409" y="872678"/>
                    <a:pt x="523873" y="927730"/>
                    <a:pt x="532257" y="984988"/>
                  </a:cubicBezTo>
                  <a:cubicBezTo>
                    <a:pt x="539967" y="1037519"/>
                    <a:pt x="586100" y="1081363"/>
                    <a:pt x="638955" y="1090411"/>
                  </a:cubicBezTo>
                  <a:cubicBezTo>
                    <a:pt x="702356" y="1101274"/>
                    <a:pt x="767779" y="1060107"/>
                    <a:pt x="783293" y="995742"/>
                  </a:cubicBezTo>
                  <a:cubicBezTo>
                    <a:pt x="800734" y="923347"/>
                    <a:pt x="761355" y="858716"/>
                    <a:pt x="687658" y="839134"/>
                  </a:cubicBezTo>
                  <a:cubicBezTo>
                    <a:pt x="684414" y="838273"/>
                    <a:pt x="681155" y="837459"/>
                    <a:pt x="674385" y="835706"/>
                  </a:cubicBezTo>
                  <a:cubicBezTo>
                    <a:pt x="694098" y="826909"/>
                    <a:pt x="711132" y="820633"/>
                    <a:pt x="726849" y="811992"/>
                  </a:cubicBezTo>
                  <a:cubicBezTo>
                    <a:pt x="754272" y="796918"/>
                    <a:pt x="781193" y="780968"/>
                    <a:pt x="807629" y="764110"/>
                  </a:cubicBezTo>
                  <a:cubicBezTo>
                    <a:pt x="815385" y="759148"/>
                    <a:pt x="819585" y="759148"/>
                    <a:pt x="826213" y="764877"/>
                  </a:cubicBezTo>
                  <a:cubicBezTo>
                    <a:pt x="876906" y="808642"/>
                    <a:pt x="907134" y="863099"/>
                    <a:pt x="915612" y="929859"/>
                  </a:cubicBezTo>
                  <a:cubicBezTo>
                    <a:pt x="929651" y="1040368"/>
                    <a:pt x="877282" y="1141893"/>
                    <a:pt x="778498" y="1193939"/>
                  </a:cubicBezTo>
                  <a:cubicBezTo>
                    <a:pt x="625682" y="1274442"/>
                    <a:pt x="438675" y="1182810"/>
                    <a:pt x="404921" y="1013570"/>
                  </a:cubicBezTo>
                  <a:cubicBezTo>
                    <a:pt x="375994" y="868593"/>
                    <a:pt x="478430" y="737109"/>
                    <a:pt x="601691" y="711720"/>
                  </a:cubicBezTo>
                  <a:cubicBezTo>
                    <a:pt x="654703" y="700794"/>
                    <a:pt x="703187" y="678754"/>
                    <a:pt x="740874" y="637963"/>
                  </a:cubicBezTo>
                  <a:cubicBezTo>
                    <a:pt x="765194" y="611650"/>
                    <a:pt x="776978" y="589079"/>
                    <a:pt x="781005" y="578889"/>
                  </a:cubicBezTo>
                  <a:cubicBezTo>
                    <a:pt x="788480" y="559792"/>
                    <a:pt x="792303" y="539459"/>
                    <a:pt x="792288" y="518954"/>
                  </a:cubicBezTo>
                  <a:cubicBezTo>
                    <a:pt x="791473" y="501219"/>
                    <a:pt x="787304" y="483797"/>
                    <a:pt x="779986" y="467612"/>
                  </a:cubicBezTo>
                  <a:cubicBezTo>
                    <a:pt x="767121" y="438310"/>
                    <a:pt x="717823" y="391696"/>
                    <a:pt x="705616" y="381866"/>
                  </a:cubicBezTo>
                  <a:lnTo>
                    <a:pt x="589516" y="291082"/>
                  </a:lnTo>
                  <a:cubicBezTo>
                    <a:pt x="585426" y="287716"/>
                    <a:pt x="580819" y="287961"/>
                    <a:pt x="570837" y="288637"/>
                  </a:cubicBezTo>
                  <a:cubicBezTo>
                    <a:pt x="558975" y="289440"/>
                    <a:pt x="528637" y="291118"/>
                    <a:pt x="515552" y="287693"/>
                  </a:cubicBezTo>
                  <a:cubicBezTo>
                    <a:pt x="526146" y="279691"/>
                    <a:pt x="554994" y="268041"/>
                    <a:pt x="567389" y="258672"/>
                  </a:cubicBezTo>
                  <a:cubicBezTo>
                    <a:pt x="529781" y="233286"/>
                    <a:pt x="486829" y="242456"/>
                    <a:pt x="447403" y="234875"/>
                  </a:cubicBezTo>
                  <a:cubicBezTo>
                    <a:pt x="456523" y="217912"/>
                    <a:pt x="501637" y="191845"/>
                    <a:pt x="527289" y="188942"/>
                  </a:cubicBezTo>
                  <a:cubicBezTo>
                    <a:pt x="525769" y="174627"/>
                    <a:pt x="523435" y="160411"/>
                    <a:pt x="520301" y="146363"/>
                  </a:cubicBezTo>
                  <a:cubicBezTo>
                    <a:pt x="518734" y="140599"/>
                    <a:pt x="512293" y="135013"/>
                    <a:pt x="506667" y="131721"/>
                  </a:cubicBezTo>
                  <a:cubicBezTo>
                    <a:pt x="493050" y="123741"/>
                    <a:pt x="478602" y="117156"/>
                    <a:pt x="462932" y="109221"/>
                  </a:cubicBezTo>
                  <a:cubicBezTo>
                    <a:pt x="476972" y="100163"/>
                    <a:pt x="493222" y="95140"/>
                    <a:pt x="509927" y="94703"/>
                  </a:cubicBezTo>
                  <a:cubicBezTo>
                    <a:pt x="525738" y="94102"/>
                    <a:pt x="541565" y="95643"/>
                    <a:pt x="556969" y="99282"/>
                  </a:cubicBezTo>
                  <a:cubicBezTo>
                    <a:pt x="584924" y="105662"/>
                    <a:pt x="607239" y="101497"/>
                    <a:pt x="629475" y="82518"/>
                  </a:cubicBezTo>
                  <a:cubicBezTo>
                    <a:pt x="611971" y="75475"/>
                    <a:pt x="594467" y="69043"/>
                    <a:pt x="577497" y="61435"/>
                  </a:cubicBezTo>
                  <a:cubicBezTo>
                    <a:pt x="560761" y="53818"/>
                    <a:pt x="544464" y="45304"/>
                    <a:pt x="528653" y="35930"/>
                  </a:cubicBezTo>
                  <a:cubicBezTo>
                    <a:pt x="572702" y="42041"/>
                    <a:pt x="615293" y="58536"/>
                    <a:pt x="660329" y="52509"/>
                  </a:cubicBezTo>
                  <a:cubicBezTo>
                    <a:pt x="660705" y="50465"/>
                    <a:pt x="661097" y="48421"/>
                    <a:pt x="661473" y="46377"/>
                  </a:cubicBezTo>
                  <a:cubicBezTo>
                    <a:pt x="627814" y="38550"/>
                    <a:pt x="594138" y="30722"/>
                    <a:pt x="556875" y="22055"/>
                  </a:cubicBezTo>
                  <a:cubicBezTo>
                    <a:pt x="619226" y="16353"/>
                    <a:pt x="677284" y="15413"/>
                    <a:pt x="732255" y="42160"/>
                  </a:cubicBezTo>
                  <a:cubicBezTo>
                    <a:pt x="747722" y="49685"/>
                    <a:pt x="763909" y="55915"/>
                    <a:pt x="778733" y="64512"/>
                  </a:cubicBezTo>
                  <a:cubicBezTo>
                    <a:pt x="785973" y="68704"/>
                    <a:pt x="790830" y="76969"/>
                    <a:pt x="796769" y="83394"/>
                  </a:cubicBezTo>
                  <a:cubicBezTo>
                    <a:pt x="801486" y="88498"/>
                    <a:pt x="805262" y="95337"/>
                    <a:pt x="811060" y="98413"/>
                  </a:cubicBezTo>
                  <a:cubicBezTo>
                    <a:pt x="833030" y="110085"/>
                    <a:pt x="857225" y="110544"/>
                    <a:pt x="881858" y="109959"/>
                  </a:cubicBezTo>
                  <a:cubicBezTo>
                    <a:pt x="882046" y="107155"/>
                    <a:pt x="882219" y="104529"/>
                    <a:pt x="882407" y="101703"/>
                  </a:cubicBezTo>
                  <a:cubicBezTo>
                    <a:pt x="907213" y="109445"/>
                    <a:pt x="935123" y="138017"/>
                    <a:pt x="935077" y="158882"/>
                  </a:cubicBezTo>
                  <a:cubicBezTo>
                    <a:pt x="894896" y="158882"/>
                    <a:pt x="854749" y="158728"/>
                    <a:pt x="814602" y="159104"/>
                  </a:cubicBezTo>
                  <a:cubicBezTo>
                    <a:pt x="810324" y="159145"/>
                    <a:pt x="806062" y="162275"/>
                    <a:pt x="801784" y="163972"/>
                  </a:cubicBezTo>
                  <a:cubicBezTo>
                    <a:pt x="805842" y="166336"/>
                    <a:pt x="809838" y="170596"/>
                    <a:pt x="813975" y="170748"/>
                  </a:cubicBezTo>
                  <a:close/>
                </a:path>
              </a:pathLst>
            </a:custGeom>
            <a:grpFill/>
            <a:ln w="415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1085" name="Freeform 1084">
              <a:extLst>
                <a:ext uri="{FF2B5EF4-FFF2-40B4-BE49-F238E27FC236}">
                  <a16:creationId xmlns:a16="http://schemas.microsoft.com/office/drawing/2014/main" id="{C791852B-E747-AB81-EADE-6A52283A5EEE}"/>
                </a:ext>
              </a:extLst>
            </p:cNvPr>
            <p:cNvSpPr/>
            <p:nvPr/>
          </p:nvSpPr>
          <p:spPr>
            <a:xfrm>
              <a:off x="2382111" y="3489008"/>
              <a:ext cx="27168" cy="18509"/>
            </a:xfrm>
            <a:custGeom>
              <a:avLst/>
              <a:gdLst>
                <a:gd name="connsiteX0" fmla="*/ 3039 w 27168"/>
                <a:gd name="connsiteY0" fmla="*/ 3942 h 18509"/>
                <a:gd name="connsiteX1" fmla="*/ 1096 w 27168"/>
                <a:gd name="connsiteY1" fmla="*/ 12393 h 18509"/>
                <a:gd name="connsiteX2" fmla="*/ 2255 w 27168"/>
                <a:gd name="connsiteY2" fmla="*/ 13752 h 18509"/>
                <a:gd name="connsiteX3" fmla="*/ 14870 w 27168"/>
                <a:gd name="connsiteY3" fmla="*/ 17223 h 18509"/>
                <a:gd name="connsiteX4" fmla="*/ 14995 w 27168"/>
                <a:gd name="connsiteY4" fmla="*/ 17155 h 18509"/>
                <a:gd name="connsiteX5" fmla="*/ 27328 w 27168"/>
                <a:gd name="connsiteY5" fmla="*/ 10668 h 18509"/>
                <a:gd name="connsiteX6" fmla="*/ 17440 w 27168"/>
                <a:gd name="connsiteY6" fmla="*/ 2250 h 18509"/>
                <a:gd name="connsiteX7" fmla="*/ 3039 w 27168"/>
                <a:gd name="connsiteY7" fmla="*/ 3942 h 18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168" h="18509">
                  <a:moveTo>
                    <a:pt x="3039" y="3942"/>
                  </a:moveTo>
                  <a:cubicBezTo>
                    <a:pt x="171" y="5740"/>
                    <a:pt x="-706" y="9524"/>
                    <a:pt x="1096" y="12393"/>
                  </a:cubicBezTo>
                  <a:cubicBezTo>
                    <a:pt x="1409" y="12900"/>
                    <a:pt x="1801" y="13357"/>
                    <a:pt x="2255" y="13752"/>
                  </a:cubicBezTo>
                  <a:cubicBezTo>
                    <a:pt x="4778" y="18191"/>
                    <a:pt x="10435" y="19745"/>
                    <a:pt x="14870" y="17223"/>
                  </a:cubicBezTo>
                  <a:cubicBezTo>
                    <a:pt x="14917" y="17200"/>
                    <a:pt x="14948" y="17178"/>
                    <a:pt x="14995" y="17155"/>
                  </a:cubicBezTo>
                  <a:cubicBezTo>
                    <a:pt x="18866" y="15207"/>
                    <a:pt x="22658" y="13132"/>
                    <a:pt x="27328" y="10668"/>
                  </a:cubicBezTo>
                  <a:cubicBezTo>
                    <a:pt x="23567" y="7458"/>
                    <a:pt x="20542" y="4809"/>
                    <a:pt x="17440" y="2250"/>
                  </a:cubicBezTo>
                  <a:cubicBezTo>
                    <a:pt x="11971" y="-2247"/>
                    <a:pt x="7442" y="578"/>
                    <a:pt x="3039" y="3942"/>
                  </a:cubicBezTo>
                  <a:close/>
                </a:path>
              </a:pathLst>
            </a:custGeom>
            <a:grpFill/>
            <a:ln w="415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861"/>
                </a:solidFill>
                <a:effectLst/>
                <a:uLnTx/>
                <a:uFillTx/>
                <a:latin typeface="ES Build Neutral"/>
                <a:ea typeface="+mn-ea"/>
                <a:cs typeface="+mn-cs"/>
              </a:endParaRPr>
            </a:p>
          </p:txBody>
        </p:sp>
      </p:grpSp>
      <p:grpSp>
        <p:nvGrpSpPr>
          <p:cNvPr id="1118" name="Group 1117">
            <a:extLst>
              <a:ext uri="{FF2B5EF4-FFF2-40B4-BE49-F238E27FC236}">
                <a16:creationId xmlns:a16="http://schemas.microsoft.com/office/drawing/2014/main" id="{2DA9F5BE-C13D-E449-F362-2CD8855767C6}"/>
              </a:ext>
            </a:extLst>
          </p:cNvPr>
          <p:cNvGrpSpPr>
            <a:grpSpLocks noChangeAspect="1"/>
          </p:cNvGrpSpPr>
          <p:nvPr/>
        </p:nvGrpSpPr>
        <p:grpSpPr>
          <a:xfrm>
            <a:off x="9502941" y="4835501"/>
            <a:ext cx="1023545" cy="129289"/>
            <a:chOff x="3507242" y="3888858"/>
            <a:chExt cx="7772399" cy="981768"/>
          </a:xfrm>
        </p:grpSpPr>
        <p:sp>
          <p:nvSpPr>
            <p:cNvPr id="1089" name="Freeform 1088">
              <a:extLst>
                <a:ext uri="{FF2B5EF4-FFF2-40B4-BE49-F238E27FC236}">
                  <a16:creationId xmlns:a16="http://schemas.microsoft.com/office/drawing/2014/main" id="{70B6D561-A349-D040-B542-FC2E232E5C67}"/>
                </a:ext>
              </a:extLst>
            </p:cNvPr>
            <p:cNvSpPr/>
            <p:nvPr/>
          </p:nvSpPr>
          <p:spPr>
            <a:xfrm>
              <a:off x="4875708" y="3896799"/>
              <a:ext cx="692688" cy="965646"/>
            </a:xfrm>
            <a:custGeom>
              <a:avLst/>
              <a:gdLst>
                <a:gd name="connsiteX0" fmla="*/ 364644 w 692688"/>
                <a:gd name="connsiteY0" fmla="*/ 168367 h 965646"/>
                <a:gd name="connsiteX1" fmla="*/ 188475 w 692688"/>
                <a:gd name="connsiteY1" fmla="*/ 168367 h 965646"/>
                <a:gd name="connsiteX2" fmla="*/ 188475 w 692688"/>
                <a:gd name="connsiteY2" fmla="*/ 432750 h 965646"/>
                <a:gd name="connsiteX3" fmla="*/ 364644 w 692688"/>
                <a:gd name="connsiteY3" fmla="*/ 432750 h 965646"/>
                <a:gd name="connsiteX4" fmla="*/ 504293 w 692688"/>
                <a:gd name="connsiteY4" fmla="*/ 301233 h 965646"/>
                <a:gd name="connsiteX5" fmla="*/ 364644 w 692688"/>
                <a:gd name="connsiteY5" fmla="*/ 168367 h 965646"/>
                <a:gd name="connsiteX6" fmla="*/ 374171 w 692688"/>
                <a:gd name="connsiteY6" fmla="*/ 602308 h 965646"/>
                <a:gd name="connsiteX7" fmla="*/ 188475 w 692688"/>
                <a:gd name="connsiteY7" fmla="*/ 602308 h 965646"/>
                <a:gd name="connsiteX8" fmla="*/ 188475 w 692688"/>
                <a:gd name="connsiteY8" fmla="*/ 965646 h 965646"/>
                <a:gd name="connsiteX9" fmla="*/ 0 w 692688"/>
                <a:gd name="connsiteY9" fmla="*/ 965646 h 965646"/>
                <a:gd name="connsiteX10" fmla="*/ 0 w 692688"/>
                <a:gd name="connsiteY10" fmla="*/ 0 h 965646"/>
                <a:gd name="connsiteX11" fmla="*/ 374171 w 692688"/>
                <a:gd name="connsiteY11" fmla="*/ 0 h 965646"/>
                <a:gd name="connsiteX12" fmla="*/ 692688 w 692688"/>
                <a:gd name="connsiteY12" fmla="*/ 301075 h 965646"/>
                <a:gd name="connsiteX13" fmla="*/ 374171 w 692688"/>
                <a:gd name="connsiteY13" fmla="*/ 602149 h 965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2688" h="965646">
                  <a:moveTo>
                    <a:pt x="364644" y="168367"/>
                  </a:moveTo>
                  <a:lnTo>
                    <a:pt x="188475" y="168367"/>
                  </a:lnTo>
                  <a:lnTo>
                    <a:pt x="188475" y="432750"/>
                  </a:lnTo>
                  <a:lnTo>
                    <a:pt x="364644" y="432750"/>
                  </a:lnTo>
                  <a:cubicBezTo>
                    <a:pt x="450069" y="432750"/>
                    <a:pt x="504293" y="379857"/>
                    <a:pt x="504293" y="301233"/>
                  </a:cubicBezTo>
                  <a:cubicBezTo>
                    <a:pt x="504293" y="222609"/>
                    <a:pt x="450069" y="168367"/>
                    <a:pt x="364644" y="168367"/>
                  </a:cubicBezTo>
                  <a:moveTo>
                    <a:pt x="374171" y="602308"/>
                  </a:moveTo>
                  <a:lnTo>
                    <a:pt x="188475" y="602308"/>
                  </a:lnTo>
                  <a:lnTo>
                    <a:pt x="188475" y="965646"/>
                  </a:lnTo>
                  <a:lnTo>
                    <a:pt x="0" y="965646"/>
                  </a:lnTo>
                  <a:lnTo>
                    <a:pt x="0" y="0"/>
                  </a:lnTo>
                  <a:lnTo>
                    <a:pt x="374171" y="0"/>
                  </a:lnTo>
                  <a:cubicBezTo>
                    <a:pt x="573443" y="0"/>
                    <a:pt x="692688" y="136996"/>
                    <a:pt x="692688" y="301075"/>
                  </a:cubicBezTo>
                  <a:cubicBezTo>
                    <a:pt x="692688" y="465153"/>
                    <a:pt x="573602" y="602149"/>
                    <a:pt x="374171" y="602149"/>
                  </a:cubicBezTo>
                </a:path>
              </a:pathLst>
            </a:custGeom>
            <a:solidFill>
              <a:schemeClr val="tx1"/>
            </a:solidFill>
            <a:ln w="793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1090" name="Freeform 1089">
              <a:extLst>
                <a:ext uri="{FF2B5EF4-FFF2-40B4-BE49-F238E27FC236}">
                  <a16:creationId xmlns:a16="http://schemas.microsoft.com/office/drawing/2014/main" id="{7C5E216D-1D19-8D4E-A2A5-803760D7EB8E}"/>
                </a:ext>
              </a:extLst>
            </p:cNvPr>
            <p:cNvSpPr/>
            <p:nvPr/>
          </p:nvSpPr>
          <p:spPr>
            <a:xfrm>
              <a:off x="5556170" y="3896799"/>
              <a:ext cx="851312" cy="965646"/>
            </a:xfrm>
            <a:custGeom>
              <a:avLst/>
              <a:gdLst>
                <a:gd name="connsiteX0" fmla="*/ 429665 w 851312"/>
                <a:gd name="connsiteY0" fmla="*/ 284953 h 965646"/>
                <a:gd name="connsiteX1" fmla="*/ 547641 w 851312"/>
                <a:gd name="connsiteY1" fmla="*/ 636140 h 965646"/>
                <a:gd name="connsiteX2" fmla="*/ 307720 w 851312"/>
                <a:gd name="connsiteY2" fmla="*/ 636140 h 965646"/>
                <a:gd name="connsiteX3" fmla="*/ 351068 w 851312"/>
                <a:gd name="connsiteY3" fmla="*/ 0 h 965646"/>
                <a:gd name="connsiteX4" fmla="*/ 0 w 851312"/>
                <a:gd name="connsiteY4" fmla="*/ 965646 h 965646"/>
                <a:gd name="connsiteX5" fmla="*/ 196493 w 851312"/>
                <a:gd name="connsiteY5" fmla="*/ 965646 h 965646"/>
                <a:gd name="connsiteX6" fmla="*/ 254846 w 851312"/>
                <a:gd name="connsiteY6" fmla="*/ 794818 h 965646"/>
                <a:gd name="connsiteX7" fmla="*/ 597816 w 851312"/>
                <a:gd name="connsiteY7" fmla="*/ 794818 h 965646"/>
                <a:gd name="connsiteX8" fmla="*/ 654739 w 851312"/>
                <a:gd name="connsiteY8" fmla="*/ 965646 h 965646"/>
                <a:gd name="connsiteX9" fmla="*/ 851312 w 851312"/>
                <a:gd name="connsiteY9" fmla="*/ 965646 h 965646"/>
                <a:gd name="connsiteX10" fmla="*/ 498815 w 851312"/>
                <a:gd name="connsiteY10" fmla="*/ 0 h 965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1312" h="965646">
                  <a:moveTo>
                    <a:pt x="429665" y="284953"/>
                  </a:moveTo>
                  <a:lnTo>
                    <a:pt x="547641" y="636140"/>
                  </a:lnTo>
                  <a:lnTo>
                    <a:pt x="307720" y="636140"/>
                  </a:lnTo>
                  <a:close/>
                  <a:moveTo>
                    <a:pt x="351068" y="0"/>
                  </a:moveTo>
                  <a:lnTo>
                    <a:pt x="0" y="965646"/>
                  </a:lnTo>
                  <a:lnTo>
                    <a:pt x="196493" y="965646"/>
                  </a:lnTo>
                  <a:lnTo>
                    <a:pt x="254846" y="794818"/>
                  </a:lnTo>
                  <a:lnTo>
                    <a:pt x="597816" y="794818"/>
                  </a:lnTo>
                  <a:lnTo>
                    <a:pt x="654739" y="965646"/>
                  </a:lnTo>
                  <a:lnTo>
                    <a:pt x="851312" y="965646"/>
                  </a:lnTo>
                  <a:lnTo>
                    <a:pt x="498815" y="0"/>
                  </a:lnTo>
                  <a:close/>
                </a:path>
              </a:pathLst>
            </a:custGeom>
            <a:solidFill>
              <a:schemeClr val="tx1"/>
            </a:solidFill>
            <a:ln w="793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1091" name="Freeform 1090">
              <a:extLst>
                <a:ext uri="{FF2B5EF4-FFF2-40B4-BE49-F238E27FC236}">
                  <a16:creationId xmlns:a16="http://schemas.microsoft.com/office/drawing/2014/main" id="{2EFCAED0-3331-A42B-AAC6-4C0BC764A312}"/>
                </a:ext>
              </a:extLst>
            </p:cNvPr>
            <p:cNvSpPr/>
            <p:nvPr/>
          </p:nvSpPr>
          <p:spPr>
            <a:xfrm>
              <a:off x="6526807" y="3896958"/>
              <a:ext cx="635764" cy="965487"/>
            </a:xfrm>
            <a:custGeom>
              <a:avLst/>
              <a:gdLst>
                <a:gd name="connsiteX0" fmla="*/ 0 w 635764"/>
                <a:gd name="connsiteY0" fmla="*/ 0 h 965487"/>
                <a:gd name="connsiteX1" fmla="*/ 0 w 635764"/>
                <a:gd name="connsiteY1" fmla="*/ 965488 h 965487"/>
                <a:gd name="connsiteX2" fmla="*/ 635765 w 635764"/>
                <a:gd name="connsiteY2" fmla="*/ 965488 h 965487"/>
                <a:gd name="connsiteX3" fmla="*/ 635765 w 635764"/>
                <a:gd name="connsiteY3" fmla="*/ 797359 h 965487"/>
                <a:gd name="connsiteX4" fmla="*/ 188395 w 635764"/>
                <a:gd name="connsiteY4" fmla="*/ 797359 h 965487"/>
                <a:gd name="connsiteX5" fmla="*/ 188395 w 635764"/>
                <a:gd name="connsiteY5" fmla="*/ 562758 h 965487"/>
                <a:gd name="connsiteX6" fmla="*/ 569314 w 635764"/>
                <a:gd name="connsiteY6" fmla="*/ 562758 h 965487"/>
                <a:gd name="connsiteX7" fmla="*/ 569314 w 635764"/>
                <a:gd name="connsiteY7" fmla="*/ 394629 h 965487"/>
                <a:gd name="connsiteX8" fmla="*/ 188395 w 635764"/>
                <a:gd name="connsiteY8" fmla="*/ 394629 h 965487"/>
                <a:gd name="connsiteX9" fmla="*/ 188395 w 635764"/>
                <a:gd name="connsiteY9" fmla="*/ 168208 h 965487"/>
                <a:gd name="connsiteX10" fmla="*/ 635765 w 635764"/>
                <a:gd name="connsiteY10" fmla="*/ 168208 h 965487"/>
                <a:gd name="connsiteX11" fmla="*/ 635765 w 635764"/>
                <a:gd name="connsiteY11" fmla="*/ 0 h 965487"/>
                <a:gd name="connsiteX12" fmla="*/ 0 w 635764"/>
                <a:gd name="connsiteY12" fmla="*/ 0 h 96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5764" h="965487">
                  <a:moveTo>
                    <a:pt x="0" y="0"/>
                  </a:moveTo>
                  <a:lnTo>
                    <a:pt x="0" y="965488"/>
                  </a:lnTo>
                  <a:lnTo>
                    <a:pt x="635765" y="965488"/>
                  </a:lnTo>
                  <a:lnTo>
                    <a:pt x="635765" y="797359"/>
                  </a:lnTo>
                  <a:lnTo>
                    <a:pt x="188395" y="797359"/>
                  </a:lnTo>
                  <a:lnTo>
                    <a:pt x="188395" y="562758"/>
                  </a:lnTo>
                  <a:lnTo>
                    <a:pt x="569314" y="562758"/>
                  </a:lnTo>
                  <a:lnTo>
                    <a:pt x="569314" y="394629"/>
                  </a:lnTo>
                  <a:lnTo>
                    <a:pt x="188395" y="394629"/>
                  </a:lnTo>
                  <a:lnTo>
                    <a:pt x="188395" y="168208"/>
                  </a:lnTo>
                  <a:lnTo>
                    <a:pt x="635765" y="168208"/>
                  </a:lnTo>
                  <a:lnTo>
                    <a:pt x="635765" y="0"/>
                  </a:lnTo>
                  <a:lnTo>
                    <a:pt x="0" y="0"/>
                  </a:lnTo>
                  <a:close/>
                </a:path>
              </a:pathLst>
            </a:custGeom>
            <a:solidFill>
              <a:schemeClr val="tx1"/>
            </a:solidFill>
            <a:ln w="793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1092" name="Freeform 1091">
              <a:extLst>
                <a:ext uri="{FF2B5EF4-FFF2-40B4-BE49-F238E27FC236}">
                  <a16:creationId xmlns:a16="http://schemas.microsoft.com/office/drawing/2014/main" id="{719822ED-D316-F2AE-0909-94184500D7FD}"/>
                </a:ext>
              </a:extLst>
            </p:cNvPr>
            <p:cNvSpPr/>
            <p:nvPr/>
          </p:nvSpPr>
          <p:spPr>
            <a:xfrm>
              <a:off x="7260223" y="3888858"/>
              <a:ext cx="710630" cy="981768"/>
            </a:xfrm>
            <a:custGeom>
              <a:avLst/>
              <a:gdLst>
                <a:gd name="connsiteX0" fmla="*/ 352417 w 710630"/>
                <a:gd name="connsiteY0" fmla="*/ 981768 h 981768"/>
                <a:gd name="connsiteX1" fmla="*/ 0 w 710630"/>
                <a:gd name="connsiteY1" fmla="*/ 854302 h 981768"/>
                <a:gd name="connsiteX2" fmla="*/ 121945 w 710630"/>
                <a:gd name="connsiteY2" fmla="*/ 732236 h 981768"/>
                <a:gd name="connsiteX3" fmla="*/ 355196 w 710630"/>
                <a:gd name="connsiteY3" fmla="*/ 813640 h 981768"/>
                <a:gd name="connsiteX4" fmla="*/ 525967 w 710630"/>
                <a:gd name="connsiteY4" fmla="*/ 694513 h 981768"/>
                <a:gd name="connsiteX5" fmla="*/ 496116 w 710630"/>
                <a:gd name="connsiteY5" fmla="*/ 613188 h 981768"/>
                <a:gd name="connsiteX6" fmla="*/ 410691 w 710630"/>
                <a:gd name="connsiteY6" fmla="*/ 579277 h 981768"/>
                <a:gd name="connsiteX7" fmla="*/ 294144 w 710630"/>
                <a:gd name="connsiteY7" fmla="*/ 563393 h 981768"/>
                <a:gd name="connsiteX8" fmla="*/ 107099 w 710630"/>
                <a:gd name="connsiteY8" fmla="*/ 483339 h 981768"/>
                <a:gd name="connsiteX9" fmla="*/ 37949 w 710630"/>
                <a:gd name="connsiteY9" fmla="*/ 293530 h 981768"/>
                <a:gd name="connsiteX10" fmla="*/ 374092 w 710630"/>
                <a:gd name="connsiteY10" fmla="*/ 0 h 981768"/>
                <a:gd name="connsiteX11" fmla="*/ 685861 w 710630"/>
                <a:gd name="connsiteY11" fmla="*/ 112536 h 981768"/>
                <a:gd name="connsiteX12" fmla="*/ 566615 w 710630"/>
                <a:gd name="connsiteY12" fmla="*/ 230313 h 981768"/>
                <a:gd name="connsiteX13" fmla="*/ 368693 w 710630"/>
                <a:gd name="connsiteY13" fmla="*/ 163840 h 981768"/>
                <a:gd name="connsiteX14" fmla="*/ 219596 w 710630"/>
                <a:gd name="connsiteY14" fmla="*/ 285906 h 981768"/>
                <a:gd name="connsiteX15" fmla="*/ 248336 w 710630"/>
                <a:gd name="connsiteY15" fmla="*/ 355317 h 981768"/>
                <a:gd name="connsiteX16" fmla="*/ 337810 w 710630"/>
                <a:gd name="connsiteY16" fmla="*/ 393200 h 981768"/>
                <a:gd name="connsiteX17" fmla="*/ 451736 w 710630"/>
                <a:gd name="connsiteY17" fmla="*/ 409481 h 981768"/>
                <a:gd name="connsiteX18" fmla="*/ 636083 w 710630"/>
                <a:gd name="connsiteY18" fmla="*/ 484054 h 981768"/>
                <a:gd name="connsiteX19" fmla="*/ 710631 w 710630"/>
                <a:gd name="connsiteY19" fmla="*/ 688874 h 981768"/>
                <a:gd name="connsiteX20" fmla="*/ 352735 w 710630"/>
                <a:gd name="connsiteY20" fmla="*/ 981768 h 981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10630" h="981768">
                  <a:moveTo>
                    <a:pt x="352417" y="981768"/>
                  </a:moveTo>
                  <a:cubicBezTo>
                    <a:pt x="206020" y="981768"/>
                    <a:pt x="94873" y="950636"/>
                    <a:pt x="0" y="854302"/>
                  </a:cubicBezTo>
                  <a:lnTo>
                    <a:pt x="121945" y="732236"/>
                  </a:lnTo>
                  <a:cubicBezTo>
                    <a:pt x="182997" y="793309"/>
                    <a:pt x="265643" y="813640"/>
                    <a:pt x="355196" y="813640"/>
                  </a:cubicBezTo>
                  <a:cubicBezTo>
                    <a:pt x="466344" y="813640"/>
                    <a:pt x="525967" y="771548"/>
                    <a:pt x="525967" y="694513"/>
                  </a:cubicBezTo>
                  <a:cubicBezTo>
                    <a:pt x="525967" y="660680"/>
                    <a:pt x="516519" y="632169"/>
                    <a:pt x="496116" y="613188"/>
                  </a:cubicBezTo>
                  <a:cubicBezTo>
                    <a:pt x="477221" y="595557"/>
                    <a:pt x="455468" y="586027"/>
                    <a:pt x="410691" y="579277"/>
                  </a:cubicBezTo>
                  <a:lnTo>
                    <a:pt x="294144" y="563393"/>
                  </a:lnTo>
                  <a:cubicBezTo>
                    <a:pt x="211419" y="551163"/>
                    <a:pt x="150446" y="525431"/>
                    <a:pt x="107099" y="483339"/>
                  </a:cubicBezTo>
                  <a:cubicBezTo>
                    <a:pt x="60972" y="437277"/>
                    <a:pt x="37949" y="374934"/>
                    <a:pt x="37949" y="293530"/>
                  </a:cubicBezTo>
                  <a:cubicBezTo>
                    <a:pt x="37949" y="120636"/>
                    <a:pt x="165372" y="0"/>
                    <a:pt x="374092" y="0"/>
                  </a:cubicBezTo>
                  <a:cubicBezTo>
                    <a:pt x="506992" y="0"/>
                    <a:pt x="603215" y="32482"/>
                    <a:pt x="685861" y="112536"/>
                  </a:cubicBezTo>
                  <a:lnTo>
                    <a:pt x="566615" y="230313"/>
                  </a:lnTo>
                  <a:cubicBezTo>
                    <a:pt x="505642" y="171941"/>
                    <a:pt x="432444" y="163840"/>
                    <a:pt x="368693" y="163840"/>
                  </a:cubicBezTo>
                  <a:cubicBezTo>
                    <a:pt x="268422" y="163840"/>
                    <a:pt x="219596" y="219433"/>
                    <a:pt x="219596" y="285906"/>
                  </a:cubicBezTo>
                  <a:cubicBezTo>
                    <a:pt x="219040" y="312047"/>
                    <a:pt x="229464" y="337224"/>
                    <a:pt x="248336" y="355317"/>
                  </a:cubicBezTo>
                  <a:cubicBezTo>
                    <a:pt x="273701" y="376613"/>
                    <a:pt x="304870" y="389809"/>
                    <a:pt x="337810" y="393200"/>
                  </a:cubicBezTo>
                  <a:lnTo>
                    <a:pt x="451736" y="409481"/>
                  </a:lnTo>
                  <a:cubicBezTo>
                    <a:pt x="539860" y="421711"/>
                    <a:pt x="595355" y="446172"/>
                    <a:pt x="636083" y="484054"/>
                  </a:cubicBezTo>
                  <a:cubicBezTo>
                    <a:pt x="687607" y="532896"/>
                    <a:pt x="710631" y="603182"/>
                    <a:pt x="710631" y="688874"/>
                  </a:cubicBezTo>
                  <a:cubicBezTo>
                    <a:pt x="710631" y="875983"/>
                    <a:pt x="554707" y="981768"/>
                    <a:pt x="352735" y="981768"/>
                  </a:cubicBezTo>
                </a:path>
              </a:pathLst>
            </a:custGeom>
            <a:solidFill>
              <a:schemeClr val="tx1"/>
            </a:solidFill>
            <a:ln w="793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1093" name="Freeform 1092">
              <a:extLst>
                <a:ext uri="{FF2B5EF4-FFF2-40B4-BE49-F238E27FC236}">
                  <a16:creationId xmlns:a16="http://schemas.microsoft.com/office/drawing/2014/main" id="{ABE61075-6CA3-2901-BBD6-3C803A97A3BF}"/>
                </a:ext>
              </a:extLst>
            </p:cNvPr>
            <p:cNvSpPr/>
            <p:nvPr/>
          </p:nvSpPr>
          <p:spPr>
            <a:xfrm>
              <a:off x="8061121" y="3888858"/>
              <a:ext cx="710551" cy="981768"/>
            </a:xfrm>
            <a:custGeom>
              <a:avLst/>
              <a:gdLst>
                <a:gd name="connsiteX0" fmla="*/ 352497 w 710551"/>
                <a:gd name="connsiteY0" fmla="*/ 981768 h 981768"/>
                <a:gd name="connsiteX1" fmla="*/ 0 w 710551"/>
                <a:gd name="connsiteY1" fmla="*/ 854302 h 981768"/>
                <a:gd name="connsiteX2" fmla="*/ 122263 w 710551"/>
                <a:gd name="connsiteY2" fmla="*/ 732236 h 981768"/>
                <a:gd name="connsiteX3" fmla="*/ 355435 w 710551"/>
                <a:gd name="connsiteY3" fmla="*/ 813640 h 981768"/>
                <a:gd name="connsiteX4" fmla="*/ 526285 w 710551"/>
                <a:gd name="connsiteY4" fmla="*/ 694513 h 981768"/>
                <a:gd name="connsiteX5" fmla="*/ 496354 w 710551"/>
                <a:gd name="connsiteY5" fmla="*/ 613188 h 981768"/>
                <a:gd name="connsiteX6" fmla="*/ 411008 w 710551"/>
                <a:gd name="connsiteY6" fmla="*/ 579277 h 981768"/>
                <a:gd name="connsiteX7" fmla="*/ 294383 w 710551"/>
                <a:gd name="connsiteY7" fmla="*/ 563393 h 981768"/>
                <a:gd name="connsiteX8" fmla="*/ 107417 w 710551"/>
                <a:gd name="connsiteY8" fmla="*/ 483339 h 981768"/>
                <a:gd name="connsiteX9" fmla="*/ 38187 w 710551"/>
                <a:gd name="connsiteY9" fmla="*/ 293530 h 981768"/>
                <a:gd name="connsiteX10" fmla="*/ 374409 w 710551"/>
                <a:gd name="connsiteY10" fmla="*/ 0 h 981768"/>
                <a:gd name="connsiteX11" fmla="*/ 685940 w 710551"/>
                <a:gd name="connsiteY11" fmla="*/ 112536 h 981768"/>
                <a:gd name="connsiteX12" fmla="*/ 566854 w 710551"/>
                <a:gd name="connsiteY12" fmla="*/ 230313 h 981768"/>
                <a:gd name="connsiteX13" fmla="*/ 369011 w 710551"/>
                <a:gd name="connsiteY13" fmla="*/ 163840 h 981768"/>
                <a:gd name="connsiteX14" fmla="*/ 219834 w 710551"/>
                <a:gd name="connsiteY14" fmla="*/ 285906 h 981768"/>
                <a:gd name="connsiteX15" fmla="*/ 248336 w 710551"/>
                <a:gd name="connsiteY15" fmla="*/ 355079 h 981768"/>
                <a:gd name="connsiteX16" fmla="*/ 337889 w 710551"/>
                <a:gd name="connsiteY16" fmla="*/ 392961 h 981768"/>
                <a:gd name="connsiteX17" fmla="*/ 451736 w 710551"/>
                <a:gd name="connsiteY17" fmla="*/ 409242 h 981768"/>
                <a:gd name="connsiteX18" fmla="*/ 636003 w 710551"/>
                <a:gd name="connsiteY18" fmla="*/ 483816 h 981768"/>
                <a:gd name="connsiteX19" fmla="*/ 710551 w 710551"/>
                <a:gd name="connsiteY19" fmla="*/ 688636 h 981768"/>
                <a:gd name="connsiteX20" fmla="*/ 352736 w 710551"/>
                <a:gd name="connsiteY20" fmla="*/ 981530 h 981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10551" h="981768">
                  <a:moveTo>
                    <a:pt x="352497" y="981768"/>
                  </a:moveTo>
                  <a:cubicBezTo>
                    <a:pt x="206100" y="981768"/>
                    <a:pt x="94952" y="950636"/>
                    <a:pt x="0" y="854302"/>
                  </a:cubicBezTo>
                  <a:lnTo>
                    <a:pt x="122263" y="732236"/>
                  </a:lnTo>
                  <a:cubicBezTo>
                    <a:pt x="183315" y="793309"/>
                    <a:pt x="265961" y="813640"/>
                    <a:pt x="355435" y="813640"/>
                  </a:cubicBezTo>
                  <a:cubicBezTo>
                    <a:pt x="466582" y="813640"/>
                    <a:pt x="526285" y="771548"/>
                    <a:pt x="526285" y="694513"/>
                  </a:cubicBezTo>
                  <a:cubicBezTo>
                    <a:pt x="526285" y="660680"/>
                    <a:pt x="516758" y="632169"/>
                    <a:pt x="496354" y="613188"/>
                  </a:cubicBezTo>
                  <a:cubicBezTo>
                    <a:pt x="477379" y="595557"/>
                    <a:pt x="455785" y="586027"/>
                    <a:pt x="411008" y="579277"/>
                  </a:cubicBezTo>
                  <a:lnTo>
                    <a:pt x="294383" y="563393"/>
                  </a:lnTo>
                  <a:cubicBezTo>
                    <a:pt x="211737" y="551163"/>
                    <a:pt x="150764" y="525431"/>
                    <a:pt x="107417" y="483339"/>
                  </a:cubicBezTo>
                  <a:cubicBezTo>
                    <a:pt x="61290" y="437277"/>
                    <a:pt x="38187" y="374934"/>
                    <a:pt x="38187" y="293530"/>
                  </a:cubicBezTo>
                  <a:cubicBezTo>
                    <a:pt x="38187" y="120636"/>
                    <a:pt x="165610" y="0"/>
                    <a:pt x="374409" y="0"/>
                  </a:cubicBezTo>
                  <a:cubicBezTo>
                    <a:pt x="507231" y="0"/>
                    <a:pt x="603532" y="32482"/>
                    <a:pt x="685940" y="112536"/>
                  </a:cubicBezTo>
                  <a:lnTo>
                    <a:pt x="566854" y="230313"/>
                  </a:lnTo>
                  <a:cubicBezTo>
                    <a:pt x="505961" y="171941"/>
                    <a:pt x="432682" y="163840"/>
                    <a:pt x="369011" y="163840"/>
                  </a:cubicBezTo>
                  <a:cubicBezTo>
                    <a:pt x="268660" y="163840"/>
                    <a:pt x="219834" y="219433"/>
                    <a:pt x="219834" y="285906"/>
                  </a:cubicBezTo>
                  <a:cubicBezTo>
                    <a:pt x="219294" y="311927"/>
                    <a:pt x="229623" y="336996"/>
                    <a:pt x="248336" y="355079"/>
                  </a:cubicBezTo>
                  <a:cubicBezTo>
                    <a:pt x="273709" y="376407"/>
                    <a:pt x="304918" y="389606"/>
                    <a:pt x="337889" y="392961"/>
                  </a:cubicBezTo>
                  <a:lnTo>
                    <a:pt x="451736" y="409242"/>
                  </a:lnTo>
                  <a:cubicBezTo>
                    <a:pt x="539860" y="421473"/>
                    <a:pt x="595355" y="445933"/>
                    <a:pt x="636003" y="483816"/>
                  </a:cubicBezTo>
                  <a:cubicBezTo>
                    <a:pt x="687528" y="532658"/>
                    <a:pt x="710551" y="602943"/>
                    <a:pt x="710551" y="688636"/>
                  </a:cubicBezTo>
                  <a:cubicBezTo>
                    <a:pt x="710551" y="875745"/>
                    <a:pt x="554706" y="981530"/>
                    <a:pt x="352736" y="981530"/>
                  </a:cubicBezTo>
                </a:path>
              </a:pathLst>
            </a:custGeom>
            <a:solidFill>
              <a:schemeClr val="tx1"/>
            </a:solidFill>
            <a:ln w="793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1094" name="Freeform 1093">
              <a:extLst>
                <a:ext uri="{FF2B5EF4-FFF2-40B4-BE49-F238E27FC236}">
                  <a16:creationId xmlns:a16="http://schemas.microsoft.com/office/drawing/2014/main" id="{4E546BDD-EB11-8510-74FB-F621E0822AB6}"/>
                </a:ext>
              </a:extLst>
            </p:cNvPr>
            <p:cNvSpPr/>
            <p:nvPr/>
          </p:nvSpPr>
          <p:spPr>
            <a:xfrm>
              <a:off x="8949350" y="3896958"/>
              <a:ext cx="626317" cy="965487"/>
            </a:xfrm>
            <a:custGeom>
              <a:avLst/>
              <a:gdLst>
                <a:gd name="connsiteX0" fmla="*/ 0 w 626317"/>
                <a:gd name="connsiteY0" fmla="*/ 0 h 965487"/>
                <a:gd name="connsiteX1" fmla="*/ 0 w 626317"/>
                <a:gd name="connsiteY1" fmla="*/ 965488 h 965487"/>
                <a:gd name="connsiteX2" fmla="*/ 626317 w 626317"/>
                <a:gd name="connsiteY2" fmla="*/ 965488 h 965487"/>
                <a:gd name="connsiteX3" fmla="*/ 626317 w 626317"/>
                <a:gd name="connsiteY3" fmla="*/ 797359 h 965487"/>
                <a:gd name="connsiteX4" fmla="*/ 188396 w 626317"/>
                <a:gd name="connsiteY4" fmla="*/ 797359 h 965487"/>
                <a:gd name="connsiteX5" fmla="*/ 188396 w 626317"/>
                <a:gd name="connsiteY5" fmla="*/ 0 h 965487"/>
                <a:gd name="connsiteX6" fmla="*/ 0 w 626317"/>
                <a:gd name="connsiteY6" fmla="*/ 0 h 96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6317" h="965487">
                  <a:moveTo>
                    <a:pt x="0" y="0"/>
                  </a:moveTo>
                  <a:lnTo>
                    <a:pt x="0" y="965488"/>
                  </a:lnTo>
                  <a:lnTo>
                    <a:pt x="626317" y="965488"/>
                  </a:lnTo>
                  <a:lnTo>
                    <a:pt x="626317" y="797359"/>
                  </a:lnTo>
                  <a:lnTo>
                    <a:pt x="188396" y="797359"/>
                  </a:lnTo>
                  <a:lnTo>
                    <a:pt x="188396" y="0"/>
                  </a:lnTo>
                  <a:lnTo>
                    <a:pt x="0" y="0"/>
                  </a:lnTo>
                  <a:close/>
                </a:path>
              </a:pathLst>
            </a:custGeom>
            <a:solidFill>
              <a:schemeClr val="tx1"/>
            </a:solidFill>
            <a:ln w="793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1095" name="Freeform 1094">
              <a:extLst>
                <a:ext uri="{FF2B5EF4-FFF2-40B4-BE49-F238E27FC236}">
                  <a16:creationId xmlns:a16="http://schemas.microsoft.com/office/drawing/2014/main" id="{17E87802-A524-F6F1-038B-C3527B9C4CFF}"/>
                </a:ext>
              </a:extLst>
            </p:cNvPr>
            <p:cNvSpPr/>
            <p:nvPr/>
          </p:nvSpPr>
          <p:spPr>
            <a:xfrm>
              <a:off x="9728893" y="3896958"/>
              <a:ext cx="635764" cy="965487"/>
            </a:xfrm>
            <a:custGeom>
              <a:avLst/>
              <a:gdLst>
                <a:gd name="connsiteX0" fmla="*/ 0 w 635764"/>
                <a:gd name="connsiteY0" fmla="*/ 0 h 965487"/>
                <a:gd name="connsiteX1" fmla="*/ 0 w 635764"/>
                <a:gd name="connsiteY1" fmla="*/ 965488 h 965487"/>
                <a:gd name="connsiteX2" fmla="*/ 635765 w 635764"/>
                <a:gd name="connsiteY2" fmla="*/ 965488 h 965487"/>
                <a:gd name="connsiteX3" fmla="*/ 635765 w 635764"/>
                <a:gd name="connsiteY3" fmla="*/ 797359 h 965487"/>
                <a:gd name="connsiteX4" fmla="*/ 188475 w 635764"/>
                <a:gd name="connsiteY4" fmla="*/ 797359 h 965487"/>
                <a:gd name="connsiteX5" fmla="*/ 188475 w 635764"/>
                <a:gd name="connsiteY5" fmla="*/ 562758 h 965487"/>
                <a:gd name="connsiteX6" fmla="*/ 569315 w 635764"/>
                <a:gd name="connsiteY6" fmla="*/ 562758 h 965487"/>
                <a:gd name="connsiteX7" fmla="*/ 569315 w 635764"/>
                <a:gd name="connsiteY7" fmla="*/ 394629 h 965487"/>
                <a:gd name="connsiteX8" fmla="*/ 188475 w 635764"/>
                <a:gd name="connsiteY8" fmla="*/ 394629 h 965487"/>
                <a:gd name="connsiteX9" fmla="*/ 188475 w 635764"/>
                <a:gd name="connsiteY9" fmla="*/ 168208 h 965487"/>
                <a:gd name="connsiteX10" fmla="*/ 635765 w 635764"/>
                <a:gd name="connsiteY10" fmla="*/ 168208 h 965487"/>
                <a:gd name="connsiteX11" fmla="*/ 635765 w 635764"/>
                <a:gd name="connsiteY11" fmla="*/ 0 h 965487"/>
                <a:gd name="connsiteX12" fmla="*/ 0 w 635764"/>
                <a:gd name="connsiteY12" fmla="*/ 0 h 96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5764" h="965487">
                  <a:moveTo>
                    <a:pt x="0" y="0"/>
                  </a:moveTo>
                  <a:lnTo>
                    <a:pt x="0" y="965488"/>
                  </a:lnTo>
                  <a:lnTo>
                    <a:pt x="635765" y="965488"/>
                  </a:lnTo>
                  <a:lnTo>
                    <a:pt x="635765" y="797359"/>
                  </a:lnTo>
                  <a:lnTo>
                    <a:pt x="188475" y="797359"/>
                  </a:lnTo>
                  <a:lnTo>
                    <a:pt x="188475" y="562758"/>
                  </a:lnTo>
                  <a:lnTo>
                    <a:pt x="569315" y="562758"/>
                  </a:lnTo>
                  <a:lnTo>
                    <a:pt x="569315" y="394629"/>
                  </a:lnTo>
                  <a:lnTo>
                    <a:pt x="188475" y="394629"/>
                  </a:lnTo>
                  <a:lnTo>
                    <a:pt x="188475" y="168208"/>
                  </a:lnTo>
                  <a:lnTo>
                    <a:pt x="635765" y="168208"/>
                  </a:lnTo>
                  <a:lnTo>
                    <a:pt x="635765" y="0"/>
                  </a:lnTo>
                  <a:lnTo>
                    <a:pt x="0" y="0"/>
                  </a:lnTo>
                  <a:close/>
                </a:path>
              </a:pathLst>
            </a:custGeom>
            <a:solidFill>
              <a:schemeClr val="tx1"/>
            </a:solidFill>
            <a:ln w="793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1096" name="Freeform 1095">
              <a:extLst>
                <a:ext uri="{FF2B5EF4-FFF2-40B4-BE49-F238E27FC236}">
                  <a16:creationId xmlns:a16="http://schemas.microsoft.com/office/drawing/2014/main" id="{851B59A7-DBF2-3AF7-6EE0-BACCAE8F58FD}"/>
                </a:ext>
              </a:extLst>
            </p:cNvPr>
            <p:cNvSpPr/>
            <p:nvPr/>
          </p:nvSpPr>
          <p:spPr>
            <a:xfrm>
              <a:off x="10549242" y="3896799"/>
              <a:ext cx="730399" cy="966440"/>
            </a:xfrm>
            <a:custGeom>
              <a:avLst/>
              <a:gdLst>
                <a:gd name="connsiteX0" fmla="*/ 365755 w 730399"/>
                <a:gd name="connsiteY0" fmla="*/ 168367 h 966440"/>
                <a:gd name="connsiteX1" fmla="*/ 188237 w 730399"/>
                <a:gd name="connsiteY1" fmla="*/ 168367 h 966440"/>
                <a:gd name="connsiteX2" fmla="*/ 188237 w 730399"/>
                <a:gd name="connsiteY2" fmla="*/ 423299 h 966440"/>
                <a:gd name="connsiteX3" fmla="*/ 365755 w 730399"/>
                <a:gd name="connsiteY3" fmla="*/ 423299 h 966440"/>
                <a:gd name="connsiteX4" fmla="*/ 502705 w 730399"/>
                <a:gd name="connsiteY4" fmla="*/ 296230 h 966440"/>
                <a:gd name="connsiteX5" fmla="*/ 365755 w 730399"/>
                <a:gd name="connsiteY5" fmla="*/ 169161 h 966440"/>
                <a:gd name="connsiteX6" fmla="*/ 512232 w 730399"/>
                <a:gd name="connsiteY6" fmla="*/ 966441 h 966440"/>
                <a:gd name="connsiteX7" fmla="*/ 323758 w 730399"/>
                <a:gd name="connsiteY7" fmla="*/ 580627 h 966440"/>
                <a:gd name="connsiteX8" fmla="*/ 188237 w 730399"/>
                <a:gd name="connsiteY8" fmla="*/ 580627 h 966440"/>
                <a:gd name="connsiteX9" fmla="*/ 188237 w 730399"/>
                <a:gd name="connsiteY9" fmla="*/ 965646 h 966440"/>
                <a:gd name="connsiteX10" fmla="*/ 0 w 730399"/>
                <a:gd name="connsiteY10" fmla="*/ 965646 h 966440"/>
                <a:gd name="connsiteX11" fmla="*/ 0 w 730399"/>
                <a:gd name="connsiteY11" fmla="*/ 0 h 966440"/>
                <a:gd name="connsiteX12" fmla="*/ 378220 w 730399"/>
                <a:gd name="connsiteY12" fmla="*/ 0 h 966440"/>
                <a:gd name="connsiteX13" fmla="*/ 691339 w 730399"/>
                <a:gd name="connsiteY13" fmla="*/ 295674 h 966440"/>
                <a:gd name="connsiteX14" fmla="*/ 515090 w 730399"/>
                <a:gd name="connsiteY14" fmla="*/ 549177 h 966440"/>
                <a:gd name="connsiteX15" fmla="*/ 730399 w 730399"/>
                <a:gd name="connsiteY15" fmla="*/ 965646 h 966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30399" h="966440">
                  <a:moveTo>
                    <a:pt x="365755" y="168367"/>
                  </a:moveTo>
                  <a:lnTo>
                    <a:pt x="188237" y="168367"/>
                  </a:lnTo>
                  <a:lnTo>
                    <a:pt x="188237" y="423299"/>
                  </a:lnTo>
                  <a:lnTo>
                    <a:pt x="365755" y="423299"/>
                  </a:lnTo>
                  <a:cubicBezTo>
                    <a:pt x="448481" y="423299"/>
                    <a:pt x="502705" y="370407"/>
                    <a:pt x="502705" y="296230"/>
                  </a:cubicBezTo>
                  <a:cubicBezTo>
                    <a:pt x="502705" y="222053"/>
                    <a:pt x="448481" y="169161"/>
                    <a:pt x="365755" y="169161"/>
                  </a:cubicBezTo>
                  <a:moveTo>
                    <a:pt x="512232" y="966441"/>
                  </a:moveTo>
                  <a:lnTo>
                    <a:pt x="323758" y="580627"/>
                  </a:lnTo>
                  <a:lnTo>
                    <a:pt x="188237" y="580627"/>
                  </a:lnTo>
                  <a:lnTo>
                    <a:pt x="188237" y="965646"/>
                  </a:lnTo>
                  <a:lnTo>
                    <a:pt x="0" y="965646"/>
                  </a:lnTo>
                  <a:lnTo>
                    <a:pt x="0" y="0"/>
                  </a:lnTo>
                  <a:lnTo>
                    <a:pt x="378220" y="0"/>
                  </a:lnTo>
                  <a:cubicBezTo>
                    <a:pt x="574793" y="0"/>
                    <a:pt x="691339" y="134296"/>
                    <a:pt x="691339" y="295674"/>
                  </a:cubicBezTo>
                  <a:cubicBezTo>
                    <a:pt x="691339" y="431241"/>
                    <a:pt x="608613" y="515345"/>
                    <a:pt x="515090" y="549177"/>
                  </a:cubicBezTo>
                  <a:lnTo>
                    <a:pt x="730399" y="965646"/>
                  </a:lnTo>
                  <a:close/>
                </a:path>
              </a:pathLst>
            </a:custGeom>
            <a:solidFill>
              <a:schemeClr val="tx1"/>
            </a:solidFill>
            <a:ln w="793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1097" name="Freeform 1096">
              <a:extLst>
                <a:ext uri="{FF2B5EF4-FFF2-40B4-BE49-F238E27FC236}">
                  <a16:creationId xmlns:a16="http://schemas.microsoft.com/office/drawing/2014/main" id="{4E29EA1D-BEE7-DE0D-17E0-6B153C7D7F84}"/>
                </a:ext>
              </a:extLst>
            </p:cNvPr>
            <p:cNvSpPr/>
            <p:nvPr/>
          </p:nvSpPr>
          <p:spPr>
            <a:xfrm>
              <a:off x="3507242" y="3896799"/>
              <a:ext cx="964762" cy="965169"/>
            </a:xfrm>
            <a:custGeom>
              <a:avLst/>
              <a:gdLst>
                <a:gd name="connsiteX0" fmla="*/ 471425 w 964762"/>
                <a:gd name="connsiteY0" fmla="*/ 348170 h 965169"/>
                <a:gd name="connsiteX1" fmla="*/ 349163 w 964762"/>
                <a:gd name="connsiteY1" fmla="*/ 470474 h 965169"/>
                <a:gd name="connsiteX2" fmla="*/ 226900 w 964762"/>
                <a:gd name="connsiteY2" fmla="*/ 348170 h 965169"/>
                <a:gd name="connsiteX3" fmla="*/ 349163 w 964762"/>
                <a:gd name="connsiteY3" fmla="*/ 225866 h 965169"/>
                <a:gd name="connsiteX4" fmla="*/ 349321 w 964762"/>
                <a:gd name="connsiteY4" fmla="*/ 225866 h 965169"/>
                <a:gd name="connsiteX5" fmla="*/ 471504 w 964762"/>
                <a:gd name="connsiteY5" fmla="*/ 348090 h 965169"/>
                <a:gd name="connsiteX6" fmla="*/ 471504 w 964762"/>
                <a:gd name="connsiteY6" fmla="*/ 348170 h 965169"/>
                <a:gd name="connsiteX7" fmla="*/ 551293 w 964762"/>
                <a:gd name="connsiteY7" fmla="*/ 348170 h 965169"/>
                <a:gd name="connsiteX8" fmla="*/ 349242 w 964762"/>
                <a:gd name="connsiteY8" fmla="*/ 146050 h 965169"/>
                <a:gd name="connsiteX9" fmla="*/ 147191 w 964762"/>
                <a:gd name="connsiteY9" fmla="*/ 348170 h 965169"/>
                <a:gd name="connsiteX10" fmla="*/ 349242 w 964762"/>
                <a:gd name="connsiteY10" fmla="*/ 550289 h 965169"/>
                <a:gd name="connsiteX11" fmla="*/ 349321 w 964762"/>
                <a:gd name="connsiteY11" fmla="*/ 550289 h 965169"/>
                <a:gd name="connsiteX12" fmla="*/ 551213 w 964762"/>
                <a:gd name="connsiteY12" fmla="*/ 348170 h 965169"/>
                <a:gd name="connsiteX13" fmla="*/ 884656 w 964762"/>
                <a:gd name="connsiteY13" fmla="*/ 886149 h 965169"/>
                <a:gd name="connsiteX14" fmla="*/ 79947 w 964762"/>
                <a:gd name="connsiteY14" fmla="*/ 886149 h 965169"/>
                <a:gd name="connsiteX15" fmla="*/ 79947 w 964762"/>
                <a:gd name="connsiteY15" fmla="*/ 732713 h 965169"/>
                <a:gd name="connsiteX16" fmla="*/ 730691 w 964762"/>
                <a:gd name="connsiteY16" fmla="*/ 601778 h 965169"/>
                <a:gd name="connsiteX17" fmla="*/ 809235 w 964762"/>
                <a:gd name="connsiteY17" fmla="*/ 341975 h 965169"/>
                <a:gd name="connsiteX18" fmla="*/ 730399 w 964762"/>
                <a:gd name="connsiteY18" fmla="*/ 80927 h 965169"/>
                <a:gd name="connsiteX19" fmla="*/ 884815 w 964762"/>
                <a:gd name="connsiteY19" fmla="*/ 80927 h 965169"/>
                <a:gd name="connsiteX20" fmla="*/ 730399 w 964762"/>
                <a:gd name="connsiteY20" fmla="*/ 341975 h 965169"/>
                <a:gd name="connsiteX21" fmla="*/ 340430 w 964762"/>
                <a:gd name="connsiteY21" fmla="*/ 732077 h 965169"/>
                <a:gd name="connsiteX22" fmla="*/ 80344 w 964762"/>
                <a:gd name="connsiteY22" fmla="*/ 632646 h 965169"/>
                <a:gd name="connsiteX23" fmla="*/ 80344 w 964762"/>
                <a:gd name="connsiteY23" fmla="*/ 81245 h 965169"/>
                <a:gd name="connsiteX24" fmla="*/ 630287 w 964762"/>
                <a:gd name="connsiteY24" fmla="*/ 81245 h 965169"/>
                <a:gd name="connsiteX25" fmla="*/ 730399 w 964762"/>
                <a:gd name="connsiteY25" fmla="*/ 341975 h 965169"/>
                <a:gd name="connsiteX26" fmla="*/ 964762 w 964762"/>
                <a:gd name="connsiteY26" fmla="*/ 0 h 965169"/>
                <a:gd name="connsiteX27" fmla="*/ 0 w 964762"/>
                <a:gd name="connsiteY27" fmla="*/ 0 h 965169"/>
                <a:gd name="connsiteX28" fmla="*/ 0 w 964762"/>
                <a:gd name="connsiteY28" fmla="*/ 965170 h 965169"/>
                <a:gd name="connsiteX29" fmla="*/ 964762 w 964762"/>
                <a:gd name="connsiteY29" fmla="*/ 965170 h 96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964762" h="965169">
                  <a:moveTo>
                    <a:pt x="471425" y="348170"/>
                  </a:moveTo>
                  <a:cubicBezTo>
                    <a:pt x="471425" y="415716"/>
                    <a:pt x="416686" y="470474"/>
                    <a:pt x="349163" y="470474"/>
                  </a:cubicBezTo>
                  <a:cubicBezTo>
                    <a:pt x="281639" y="470474"/>
                    <a:pt x="226900" y="415716"/>
                    <a:pt x="226900" y="348170"/>
                  </a:cubicBezTo>
                  <a:cubicBezTo>
                    <a:pt x="226900" y="280623"/>
                    <a:pt x="281639" y="225866"/>
                    <a:pt x="349163" y="225866"/>
                  </a:cubicBezTo>
                  <a:cubicBezTo>
                    <a:pt x="349216" y="225866"/>
                    <a:pt x="349268" y="225866"/>
                    <a:pt x="349321" y="225866"/>
                  </a:cubicBezTo>
                  <a:cubicBezTo>
                    <a:pt x="416802" y="225866"/>
                    <a:pt x="471504" y="280587"/>
                    <a:pt x="471504" y="348090"/>
                  </a:cubicBezTo>
                  <a:cubicBezTo>
                    <a:pt x="471504" y="348116"/>
                    <a:pt x="471504" y="348143"/>
                    <a:pt x="471504" y="348170"/>
                  </a:cubicBezTo>
                  <a:moveTo>
                    <a:pt x="551293" y="348170"/>
                  </a:moveTo>
                  <a:cubicBezTo>
                    <a:pt x="551293" y="236542"/>
                    <a:pt x="460831" y="146050"/>
                    <a:pt x="349242" y="146050"/>
                  </a:cubicBezTo>
                  <a:cubicBezTo>
                    <a:pt x="237653" y="146050"/>
                    <a:pt x="147191" y="236542"/>
                    <a:pt x="147191" y="348170"/>
                  </a:cubicBezTo>
                  <a:cubicBezTo>
                    <a:pt x="147191" y="459797"/>
                    <a:pt x="237653" y="550289"/>
                    <a:pt x="349242" y="550289"/>
                  </a:cubicBezTo>
                  <a:cubicBezTo>
                    <a:pt x="349268" y="550289"/>
                    <a:pt x="349295" y="550289"/>
                    <a:pt x="349321" y="550289"/>
                  </a:cubicBezTo>
                  <a:cubicBezTo>
                    <a:pt x="460849" y="550202"/>
                    <a:pt x="551213" y="459735"/>
                    <a:pt x="551213" y="348170"/>
                  </a:cubicBezTo>
                  <a:moveTo>
                    <a:pt x="884656" y="886149"/>
                  </a:moveTo>
                  <a:lnTo>
                    <a:pt x="79947" y="886149"/>
                  </a:lnTo>
                  <a:lnTo>
                    <a:pt x="79947" y="732713"/>
                  </a:lnTo>
                  <a:cubicBezTo>
                    <a:pt x="295789" y="876317"/>
                    <a:pt x="587137" y="817690"/>
                    <a:pt x="730691" y="601778"/>
                  </a:cubicBezTo>
                  <a:cubicBezTo>
                    <a:pt x="781869" y="524801"/>
                    <a:pt x="809195" y="434423"/>
                    <a:pt x="809235" y="341975"/>
                  </a:cubicBezTo>
                  <a:cubicBezTo>
                    <a:pt x="810124" y="248961"/>
                    <a:pt x="782620" y="157891"/>
                    <a:pt x="730399" y="80927"/>
                  </a:cubicBezTo>
                  <a:lnTo>
                    <a:pt x="884815" y="80927"/>
                  </a:lnTo>
                  <a:close/>
                  <a:moveTo>
                    <a:pt x="730399" y="341975"/>
                  </a:moveTo>
                  <a:cubicBezTo>
                    <a:pt x="730399" y="557422"/>
                    <a:pt x="555804" y="732077"/>
                    <a:pt x="340430" y="732077"/>
                  </a:cubicBezTo>
                  <a:cubicBezTo>
                    <a:pt x="244457" y="732078"/>
                    <a:pt x="151855" y="696675"/>
                    <a:pt x="80344" y="632646"/>
                  </a:cubicBezTo>
                  <a:lnTo>
                    <a:pt x="80344" y="81245"/>
                  </a:lnTo>
                  <a:lnTo>
                    <a:pt x="630287" y="81245"/>
                  </a:lnTo>
                  <a:cubicBezTo>
                    <a:pt x="694865" y="152704"/>
                    <a:pt x="730552" y="245645"/>
                    <a:pt x="730399" y="341975"/>
                  </a:cubicBezTo>
                  <a:moveTo>
                    <a:pt x="964762" y="0"/>
                  </a:moveTo>
                  <a:lnTo>
                    <a:pt x="0" y="0"/>
                  </a:lnTo>
                  <a:lnTo>
                    <a:pt x="0" y="965170"/>
                  </a:lnTo>
                  <a:lnTo>
                    <a:pt x="964762" y="965170"/>
                  </a:lnTo>
                  <a:close/>
                </a:path>
              </a:pathLst>
            </a:custGeom>
            <a:solidFill>
              <a:schemeClr val="tx1"/>
            </a:solidFill>
            <a:ln w="793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861"/>
                </a:solidFill>
                <a:effectLst/>
                <a:uLnTx/>
                <a:uFillTx/>
                <a:latin typeface="ES Build Neutral"/>
                <a:ea typeface="+mn-ea"/>
                <a:cs typeface="+mn-cs"/>
              </a:endParaRPr>
            </a:p>
          </p:txBody>
        </p:sp>
      </p:grpSp>
      <p:grpSp>
        <p:nvGrpSpPr>
          <p:cNvPr id="1127" name="Group 1126">
            <a:extLst>
              <a:ext uri="{FF2B5EF4-FFF2-40B4-BE49-F238E27FC236}">
                <a16:creationId xmlns:a16="http://schemas.microsoft.com/office/drawing/2014/main" id="{CB61DF8A-7894-759A-211D-B392AE38FE73}"/>
              </a:ext>
            </a:extLst>
          </p:cNvPr>
          <p:cNvGrpSpPr/>
          <p:nvPr/>
        </p:nvGrpSpPr>
        <p:grpSpPr>
          <a:xfrm>
            <a:off x="3229793" y="3819725"/>
            <a:ext cx="1059178" cy="242697"/>
            <a:chOff x="5260648" y="3256508"/>
            <a:chExt cx="1287620" cy="295041"/>
          </a:xfrm>
        </p:grpSpPr>
        <p:grpSp>
          <p:nvGrpSpPr>
            <p:cNvPr id="1128" name="Graphic 16">
              <a:extLst>
                <a:ext uri="{FF2B5EF4-FFF2-40B4-BE49-F238E27FC236}">
                  <a16:creationId xmlns:a16="http://schemas.microsoft.com/office/drawing/2014/main" id="{D5CB1254-AB9C-56E5-1C39-D71766593C4C}"/>
                </a:ext>
              </a:extLst>
            </p:cNvPr>
            <p:cNvGrpSpPr/>
            <p:nvPr/>
          </p:nvGrpSpPr>
          <p:grpSpPr>
            <a:xfrm>
              <a:off x="5260648" y="3256508"/>
              <a:ext cx="253556" cy="295041"/>
              <a:chOff x="5958860" y="3065688"/>
              <a:chExt cx="253556" cy="295041"/>
            </a:xfrm>
            <a:solidFill>
              <a:schemeClr val="bg1"/>
            </a:solidFill>
          </p:grpSpPr>
          <p:sp>
            <p:nvSpPr>
              <p:cNvPr id="1137" name="Freeform 1136">
                <a:extLst>
                  <a:ext uri="{FF2B5EF4-FFF2-40B4-BE49-F238E27FC236}">
                    <a16:creationId xmlns:a16="http://schemas.microsoft.com/office/drawing/2014/main" id="{20C60B9E-55E0-56CB-089C-33566A0E6C3B}"/>
                  </a:ext>
                </a:extLst>
              </p:cNvPr>
              <p:cNvSpPr/>
              <p:nvPr/>
            </p:nvSpPr>
            <p:spPr>
              <a:xfrm>
                <a:off x="5958860" y="3065688"/>
                <a:ext cx="253556" cy="295041"/>
              </a:xfrm>
              <a:custGeom>
                <a:avLst/>
                <a:gdLst>
                  <a:gd name="connsiteX0" fmla="*/ 126845 w 253556"/>
                  <a:gd name="connsiteY0" fmla="*/ 295059 h 295041"/>
                  <a:gd name="connsiteX1" fmla="*/ 66 w 253556"/>
                  <a:gd name="connsiteY1" fmla="*/ 221373 h 295041"/>
                  <a:gd name="connsiteX2" fmla="*/ 66 w 253556"/>
                  <a:gd name="connsiteY2" fmla="*/ 73703 h 295041"/>
                  <a:gd name="connsiteX3" fmla="*/ 126845 w 253556"/>
                  <a:gd name="connsiteY3" fmla="*/ 18 h 295041"/>
                  <a:gd name="connsiteX4" fmla="*/ 253623 w 253556"/>
                  <a:gd name="connsiteY4" fmla="*/ 73703 h 295041"/>
                  <a:gd name="connsiteX5" fmla="*/ 253623 w 253556"/>
                  <a:gd name="connsiteY5" fmla="*/ 221373 h 295041"/>
                  <a:gd name="connsiteX6" fmla="*/ 233606 w 253556"/>
                  <a:gd name="connsiteY6" fmla="*/ 209291 h 295041"/>
                  <a:gd name="connsiteX7" fmla="*/ 233606 w 253556"/>
                  <a:gd name="connsiteY7" fmla="*/ 85487 h 295041"/>
                  <a:gd name="connsiteX8" fmla="*/ 126845 w 253556"/>
                  <a:gd name="connsiteY8" fmla="*/ 23660 h 295041"/>
                  <a:gd name="connsiteX9" fmla="*/ 20084 w 253556"/>
                  <a:gd name="connsiteY9" fmla="*/ 85487 h 295041"/>
                  <a:gd name="connsiteX10" fmla="*/ 20084 w 253556"/>
                  <a:gd name="connsiteY10" fmla="*/ 209291 h 295041"/>
                  <a:gd name="connsiteX11" fmla="*/ 126845 w 253556"/>
                  <a:gd name="connsiteY11" fmla="*/ 271119 h 295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3556" h="295041">
                    <a:moveTo>
                      <a:pt x="126845" y="295059"/>
                    </a:moveTo>
                    <a:lnTo>
                      <a:pt x="66" y="221373"/>
                    </a:lnTo>
                    <a:lnTo>
                      <a:pt x="66" y="73703"/>
                    </a:lnTo>
                    <a:lnTo>
                      <a:pt x="126845" y="18"/>
                    </a:lnTo>
                    <a:lnTo>
                      <a:pt x="253623" y="73703"/>
                    </a:lnTo>
                    <a:lnTo>
                      <a:pt x="253623" y="221373"/>
                    </a:lnTo>
                    <a:close/>
                    <a:moveTo>
                      <a:pt x="233606" y="209291"/>
                    </a:moveTo>
                    <a:lnTo>
                      <a:pt x="233606" y="85487"/>
                    </a:lnTo>
                    <a:lnTo>
                      <a:pt x="126845" y="23660"/>
                    </a:lnTo>
                    <a:lnTo>
                      <a:pt x="20084" y="85487"/>
                    </a:lnTo>
                    <a:lnTo>
                      <a:pt x="20084" y="209291"/>
                    </a:lnTo>
                    <a:lnTo>
                      <a:pt x="126845" y="271119"/>
                    </a:lnTo>
                    <a:close/>
                  </a:path>
                </a:pathLst>
              </a:custGeom>
              <a:solidFill>
                <a:schemeClr val="tx1"/>
              </a:solidFill>
              <a:ln w="74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1138" name="Freeform 1137">
                <a:extLst>
                  <a:ext uri="{FF2B5EF4-FFF2-40B4-BE49-F238E27FC236}">
                    <a16:creationId xmlns:a16="http://schemas.microsoft.com/office/drawing/2014/main" id="{B5A63C2F-50EA-EF5D-FEED-5425038A70FF}"/>
                  </a:ext>
                </a:extLst>
              </p:cNvPr>
              <p:cNvSpPr/>
              <p:nvPr/>
            </p:nvSpPr>
            <p:spPr>
              <a:xfrm>
                <a:off x="5999637" y="3113494"/>
                <a:ext cx="172003" cy="200249"/>
              </a:xfrm>
              <a:custGeom>
                <a:avLst/>
                <a:gdLst>
                  <a:gd name="connsiteX0" fmla="*/ 66 w 172003"/>
                  <a:gd name="connsiteY0" fmla="*/ 150298 h 200249"/>
                  <a:gd name="connsiteX1" fmla="*/ 86068 w 172003"/>
                  <a:gd name="connsiteY1" fmla="*/ 200267 h 200249"/>
                  <a:gd name="connsiteX2" fmla="*/ 172070 w 172003"/>
                  <a:gd name="connsiteY2" fmla="*/ 150298 h 200249"/>
                  <a:gd name="connsiteX3" fmla="*/ 172070 w 172003"/>
                  <a:gd name="connsiteY3" fmla="*/ 129415 h 200249"/>
                  <a:gd name="connsiteX4" fmla="*/ 106086 w 172003"/>
                  <a:gd name="connsiteY4" fmla="*/ 168197 h 200249"/>
                  <a:gd name="connsiteX5" fmla="*/ 106086 w 172003"/>
                  <a:gd name="connsiteY5" fmla="*/ 147315 h 200249"/>
                  <a:gd name="connsiteX6" fmla="*/ 172070 w 172003"/>
                  <a:gd name="connsiteY6" fmla="*/ 108533 h 200249"/>
                  <a:gd name="connsiteX7" fmla="*/ 172070 w 172003"/>
                  <a:gd name="connsiteY7" fmla="*/ 88396 h 200249"/>
                  <a:gd name="connsiteX8" fmla="*/ 106086 w 172003"/>
                  <a:gd name="connsiteY8" fmla="*/ 126432 h 200249"/>
                  <a:gd name="connsiteX9" fmla="*/ 106086 w 172003"/>
                  <a:gd name="connsiteY9" fmla="*/ 106295 h 200249"/>
                  <a:gd name="connsiteX10" fmla="*/ 172070 w 172003"/>
                  <a:gd name="connsiteY10" fmla="*/ 67513 h 200249"/>
                  <a:gd name="connsiteX11" fmla="*/ 172070 w 172003"/>
                  <a:gd name="connsiteY11" fmla="*/ 50360 h 200249"/>
                  <a:gd name="connsiteX12" fmla="*/ 86068 w 172003"/>
                  <a:gd name="connsiteY12" fmla="*/ 18 h 200249"/>
                  <a:gd name="connsiteX13" fmla="*/ 66 w 172003"/>
                  <a:gd name="connsiteY13" fmla="*/ 50360 h 200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2003" h="200249">
                    <a:moveTo>
                      <a:pt x="66" y="150298"/>
                    </a:moveTo>
                    <a:lnTo>
                      <a:pt x="86068" y="200267"/>
                    </a:lnTo>
                    <a:lnTo>
                      <a:pt x="172070" y="150298"/>
                    </a:lnTo>
                    <a:lnTo>
                      <a:pt x="172070" y="129415"/>
                    </a:lnTo>
                    <a:lnTo>
                      <a:pt x="106086" y="168197"/>
                    </a:lnTo>
                    <a:lnTo>
                      <a:pt x="106086" y="147315"/>
                    </a:lnTo>
                    <a:lnTo>
                      <a:pt x="172070" y="108533"/>
                    </a:lnTo>
                    <a:lnTo>
                      <a:pt x="172070" y="88396"/>
                    </a:lnTo>
                    <a:lnTo>
                      <a:pt x="106086" y="126432"/>
                    </a:lnTo>
                    <a:lnTo>
                      <a:pt x="106086" y="106295"/>
                    </a:lnTo>
                    <a:lnTo>
                      <a:pt x="172070" y="67513"/>
                    </a:lnTo>
                    <a:lnTo>
                      <a:pt x="172070" y="50360"/>
                    </a:lnTo>
                    <a:lnTo>
                      <a:pt x="86068" y="18"/>
                    </a:lnTo>
                    <a:lnTo>
                      <a:pt x="66" y="50360"/>
                    </a:lnTo>
                    <a:close/>
                  </a:path>
                </a:pathLst>
              </a:custGeom>
              <a:solidFill>
                <a:schemeClr val="tx1"/>
              </a:solidFill>
              <a:ln w="74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861"/>
                  </a:solidFill>
                  <a:effectLst/>
                  <a:uLnTx/>
                  <a:uFillTx/>
                  <a:latin typeface="ES Build Neutral"/>
                  <a:ea typeface="+mn-ea"/>
                  <a:cs typeface="+mn-cs"/>
                </a:endParaRPr>
              </a:p>
            </p:txBody>
          </p:sp>
        </p:grpSp>
        <p:grpSp>
          <p:nvGrpSpPr>
            <p:cNvPr id="1129" name="Graphic 16">
              <a:extLst>
                <a:ext uri="{FF2B5EF4-FFF2-40B4-BE49-F238E27FC236}">
                  <a16:creationId xmlns:a16="http://schemas.microsoft.com/office/drawing/2014/main" id="{EB917270-4BA0-C0B1-F89E-DA1EB407A86F}"/>
                </a:ext>
              </a:extLst>
            </p:cNvPr>
            <p:cNvGrpSpPr/>
            <p:nvPr/>
          </p:nvGrpSpPr>
          <p:grpSpPr>
            <a:xfrm>
              <a:off x="5644024" y="3389395"/>
              <a:ext cx="904244" cy="98419"/>
              <a:chOff x="5644024" y="3389395"/>
              <a:chExt cx="904244" cy="98419"/>
            </a:xfrm>
            <a:solidFill>
              <a:schemeClr val="bg1"/>
            </a:solidFill>
          </p:grpSpPr>
          <p:sp>
            <p:nvSpPr>
              <p:cNvPr id="1130" name="Freeform 1129">
                <a:extLst>
                  <a:ext uri="{FF2B5EF4-FFF2-40B4-BE49-F238E27FC236}">
                    <a16:creationId xmlns:a16="http://schemas.microsoft.com/office/drawing/2014/main" id="{AE7AFB56-98BD-04D0-E2BD-A97F21E78492}"/>
                  </a:ext>
                </a:extLst>
              </p:cNvPr>
              <p:cNvSpPr/>
              <p:nvPr/>
            </p:nvSpPr>
            <p:spPr>
              <a:xfrm>
                <a:off x="5644024" y="3391867"/>
                <a:ext cx="99090" cy="93412"/>
              </a:xfrm>
              <a:custGeom>
                <a:avLst/>
                <a:gdLst>
                  <a:gd name="connsiteX0" fmla="*/ 22095 w 99090"/>
                  <a:gd name="connsiteY0" fmla="*/ 72584 h 93412"/>
                  <a:gd name="connsiteX1" fmla="*/ 99126 w 99090"/>
                  <a:gd name="connsiteY1" fmla="*/ 72584 h 93412"/>
                  <a:gd name="connsiteX2" fmla="*/ 99126 w 99090"/>
                  <a:gd name="connsiteY2" fmla="*/ 93467 h 93412"/>
                  <a:gd name="connsiteX3" fmla="*/ 35 w 99090"/>
                  <a:gd name="connsiteY3" fmla="*/ 93467 h 93412"/>
                  <a:gd name="connsiteX4" fmla="*/ 35 w 99090"/>
                  <a:gd name="connsiteY4" fmla="*/ 54 h 93412"/>
                  <a:gd name="connsiteX5" fmla="*/ 96160 w 99090"/>
                  <a:gd name="connsiteY5" fmla="*/ 54 h 93412"/>
                  <a:gd name="connsiteX6" fmla="*/ 96160 w 99090"/>
                  <a:gd name="connsiteY6" fmla="*/ 20601 h 93412"/>
                  <a:gd name="connsiteX7" fmla="*/ 22095 w 99090"/>
                  <a:gd name="connsiteY7" fmla="*/ 20601 h 93412"/>
                  <a:gd name="connsiteX8" fmla="*/ 22095 w 99090"/>
                  <a:gd name="connsiteY8" fmla="*/ 34622 h 93412"/>
                  <a:gd name="connsiteX9" fmla="*/ 73548 w 99090"/>
                  <a:gd name="connsiteY9" fmla="*/ 34622 h 93412"/>
                  <a:gd name="connsiteX10" fmla="*/ 73548 w 99090"/>
                  <a:gd name="connsiteY10" fmla="*/ 55132 h 93412"/>
                  <a:gd name="connsiteX11" fmla="*/ 22095 w 99090"/>
                  <a:gd name="connsiteY11" fmla="*/ 55132 h 93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090" h="93412">
                    <a:moveTo>
                      <a:pt x="22095" y="72584"/>
                    </a:moveTo>
                    <a:lnTo>
                      <a:pt x="99126" y="72584"/>
                    </a:lnTo>
                    <a:lnTo>
                      <a:pt x="99126" y="93467"/>
                    </a:lnTo>
                    <a:lnTo>
                      <a:pt x="35" y="93467"/>
                    </a:lnTo>
                    <a:lnTo>
                      <a:pt x="35" y="54"/>
                    </a:lnTo>
                    <a:lnTo>
                      <a:pt x="96160" y="54"/>
                    </a:lnTo>
                    <a:lnTo>
                      <a:pt x="96160" y="20601"/>
                    </a:lnTo>
                    <a:lnTo>
                      <a:pt x="22095" y="20601"/>
                    </a:lnTo>
                    <a:lnTo>
                      <a:pt x="22095" y="34622"/>
                    </a:lnTo>
                    <a:lnTo>
                      <a:pt x="73548" y="34622"/>
                    </a:lnTo>
                    <a:lnTo>
                      <a:pt x="73548" y="55132"/>
                    </a:lnTo>
                    <a:lnTo>
                      <a:pt x="22095" y="55132"/>
                    </a:lnTo>
                    <a:close/>
                  </a:path>
                </a:pathLst>
              </a:custGeom>
              <a:solidFill>
                <a:schemeClr val="tx1"/>
              </a:solidFill>
              <a:ln w="74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1131" name="Freeform 1130">
                <a:extLst>
                  <a:ext uri="{FF2B5EF4-FFF2-40B4-BE49-F238E27FC236}">
                    <a16:creationId xmlns:a16="http://schemas.microsoft.com/office/drawing/2014/main" id="{EC8F17B0-723D-4B1A-A56F-104B63893205}"/>
                  </a:ext>
                </a:extLst>
              </p:cNvPr>
              <p:cNvSpPr/>
              <p:nvPr/>
            </p:nvSpPr>
            <p:spPr>
              <a:xfrm>
                <a:off x="5772770" y="3391867"/>
                <a:ext cx="107502" cy="93412"/>
              </a:xfrm>
              <a:custGeom>
                <a:avLst/>
                <a:gdLst>
                  <a:gd name="connsiteX0" fmla="*/ 31 w 107502"/>
                  <a:gd name="connsiteY0" fmla="*/ 54 h 93412"/>
                  <a:gd name="connsiteX1" fmla="*/ 31 w 107502"/>
                  <a:gd name="connsiteY1" fmla="*/ 93467 h 93412"/>
                  <a:gd name="connsiteX2" fmla="*/ 22273 w 107502"/>
                  <a:gd name="connsiteY2" fmla="*/ 93467 h 93412"/>
                  <a:gd name="connsiteX3" fmla="*/ 22273 w 107502"/>
                  <a:gd name="connsiteY3" fmla="*/ 24256 h 93412"/>
                  <a:gd name="connsiteX4" fmla="*/ 77878 w 107502"/>
                  <a:gd name="connsiteY4" fmla="*/ 93467 h 93412"/>
                  <a:gd name="connsiteX5" fmla="*/ 107534 w 107502"/>
                  <a:gd name="connsiteY5" fmla="*/ 93467 h 93412"/>
                  <a:gd name="connsiteX6" fmla="*/ 107534 w 107502"/>
                  <a:gd name="connsiteY6" fmla="*/ 54 h 93412"/>
                  <a:gd name="connsiteX7" fmla="*/ 85292 w 107502"/>
                  <a:gd name="connsiteY7" fmla="*/ 54 h 93412"/>
                  <a:gd name="connsiteX8" fmla="*/ 85292 w 107502"/>
                  <a:gd name="connsiteY8" fmla="*/ 69153 h 93412"/>
                  <a:gd name="connsiteX9" fmla="*/ 29687 w 107502"/>
                  <a:gd name="connsiteY9" fmla="*/ 54 h 93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502" h="93412">
                    <a:moveTo>
                      <a:pt x="31" y="54"/>
                    </a:moveTo>
                    <a:lnTo>
                      <a:pt x="31" y="93467"/>
                    </a:lnTo>
                    <a:lnTo>
                      <a:pt x="22273" y="93467"/>
                    </a:lnTo>
                    <a:lnTo>
                      <a:pt x="22273" y="24256"/>
                    </a:lnTo>
                    <a:lnTo>
                      <a:pt x="77878" y="93467"/>
                    </a:lnTo>
                    <a:lnTo>
                      <a:pt x="107534" y="93467"/>
                    </a:lnTo>
                    <a:lnTo>
                      <a:pt x="107534" y="54"/>
                    </a:lnTo>
                    <a:lnTo>
                      <a:pt x="85292" y="54"/>
                    </a:lnTo>
                    <a:lnTo>
                      <a:pt x="85292" y="69153"/>
                    </a:lnTo>
                    <a:lnTo>
                      <a:pt x="29687" y="54"/>
                    </a:lnTo>
                    <a:close/>
                  </a:path>
                </a:pathLst>
              </a:custGeom>
              <a:solidFill>
                <a:schemeClr val="tx1"/>
              </a:solidFill>
              <a:ln w="74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1132" name="Freeform 1131">
                <a:extLst>
                  <a:ext uri="{FF2B5EF4-FFF2-40B4-BE49-F238E27FC236}">
                    <a16:creationId xmlns:a16="http://schemas.microsoft.com/office/drawing/2014/main" id="{A497ED59-5D9A-599F-713D-17AB46C122D6}"/>
                  </a:ext>
                </a:extLst>
              </p:cNvPr>
              <p:cNvSpPr/>
              <p:nvPr/>
            </p:nvSpPr>
            <p:spPr>
              <a:xfrm>
                <a:off x="5906221" y="3391867"/>
                <a:ext cx="106019" cy="93412"/>
              </a:xfrm>
              <a:custGeom>
                <a:avLst/>
                <a:gdLst>
                  <a:gd name="connsiteX0" fmla="*/ 42287 w 106019"/>
                  <a:gd name="connsiteY0" fmla="*/ 20527 h 93412"/>
                  <a:gd name="connsiteX1" fmla="*/ 42287 w 106019"/>
                  <a:gd name="connsiteY1" fmla="*/ 93467 h 93412"/>
                  <a:gd name="connsiteX2" fmla="*/ 63787 w 106019"/>
                  <a:gd name="connsiteY2" fmla="*/ 93467 h 93412"/>
                  <a:gd name="connsiteX3" fmla="*/ 63787 w 106019"/>
                  <a:gd name="connsiteY3" fmla="*/ 20527 h 93412"/>
                  <a:gd name="connsiteX4" fmla="*/ 106047 w 106019"/>
                  <a:gd name="connsiteY4" fmla="*/ 20527 h 93412"/>
                  <a:gd name="connsiteX5" fmla="*/ 106047 w 106019"/>
                  <a:gd name="connsiteY5" fmla="*/ 54 h 93412"/>
                  <a:gd name="connsiteX6" fmla="*/ 28 w 106019"/>
                  <a:gd name="connsiteY6" fmla="*/ 54 h 93412"/>
                  <a:gd name="connsiteX7" fmla="*/ 28 w 106019"/>
                  <a:gd name="connsiteY7" fmla="*/ 20527 h 93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019" h="93412">
                    <a:moveTo>
                      <a:pt x="42287" y="20527"/>
                    </a:moveTo>
                    <a:lnTo>
                      <a:pt x="42287" y="93467"/>
                    </a:lnTo>
                    <a:lnTo>
                      <a:pt x="63787" y="93467"/>
                    </a:lnTo>
                    <a:lnTo>
                      <a:pt x="63787" y="20527"/>
                    </a:lnTo>
                    <a:lnTo>
                      <a:pt x="106047" y="20527"/>
                    </a:lnTo>
                    <a:lnTo>
                      <a:pt x="106047" y="54"/>
                    </a:lnTo>
                    <a:lnTo>
                      <a:pt x="28" y="54"/>
                    </a:lnTo>
                    <a:lnTo>
                      <a:pt x="28" y="20527"/>
                    </a:lnTo>
                    <a:close/>
                  </a:path>
                </a:pathLst>
              </a:custGeom>
              <a:solidFill>
                <a:schemeClr val="tx1"/>
              </a:solidFill>
              <a:ln w="74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1133" name="Freeform 1132">
                <a:extLst>
                  <a:ext uri="{FF2B5EF4-FFF2-40B4-BE49-F238E27FC236}">
                    <a16:creationId xmlns:a16="http://schemas.microsoft.com/office/drawing/2014/main" id="{07FD9DE2-90B5-1D12-3DD7-F05CE35E2ADA}"/>
                  </a:ext>
                </a:extLst>
              </p:cNvPr>
              <p:cNvSpPr/>
              <p:nvPr/>
            </p:nvSpPr>
            <p:spPr>
              <a:xfrm>
                <a:off x="6437060" y="3391867"/>
                <a:ext cx="111209" cy="93412"/>
              </a:xfrm>
              <a:custGeom>
                <a:avLst/>
                <a:gdLst>
                  <a:gd name="connsiteX0" fmla="*/ 44496 w 111209"/>
                  <a:gd name="connsiteY0" fmla="*/ 20527 h 93412"/>
                  <a:gd name="connsiteX1" fmla="*/ 44496 w 111209"/>
                  <a:gd name="connsiteY1" fmla="*/ 93467 h 93412"/>
                  <a:gd name="connsiteX2" fmla="*/ 66737 w 111209"/>
                  <a:gd name="connsiteY2" fmla="*/ 93467 h 93412"/>
                  <a:gd name="connsiteX3" fmla="*/ 66737 w 111209"/>
                  <a:gd name="connsiteY3" fmla="*/ 20527 h 93412"/>
                  <a:gd name="connsiteX4" fmla="*/ 111221 w 111209"/>
                  <a:gd name="connsiteY4" fmla="*/ 20527 h 93412"/>
                  <a:gd name="connsiteX5" fmla="*/ 111221 w 111209"/>
                  <a:gd name="connsiteY5" fmla="*/ 54 h 93412"/>
                  <a:gd name="connsiteX6" fmla="*/ 12 w 111209"/>
                  <a:gd name="connsiteY6" fmla="*/ 54 h 93412"/>
                  <a:gd name="connsiteX7" fmla="*/ 12 w 111209"/>
                  <a:gd name="connsiteY7" fmla="*/ 20527 h 93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209" h="93412">
                    <a:moveTo>
                      <a:pt x="44496" y="20527"/>
                    </a:moveTo>
                    <a:lnTo>
                      <a:pt x="44496" y="93467"/>
                    </a:lnTo>
                    <a:lnTo>
                      <a:pt x="66737" y="93467"/>
                    </a:lnTo>
                    <a:lnTo>
                      <a:pt x="66737" y="20527"/>
                    </a:lnTo>
                    <a:lnTo>
                      <a:pt x="111221" y="20527"/>
                    </a:lnTo>
                    <a:lnTo>
                      <a:pt x="111221" y="54"/>
                    </a:lnTo>
                    <a:lnTo>
                      <a:pt x="12" y="54"/>
                    </a:lnTo>
                    <a:lnTo>
                      <a:pt x="12" y="20527"/>
                    </a:lnTo>
                    <a:close/>
                  </a:path>
                </a:pathLst>
              </a:custGeom>
              <a:solidFill>
                <a:schemeClr val="tx1"/>
              </a:solidFill>
              <a:ln w="74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1134" name="Freeform 1133">
                <a:extLst>
                  <a:ext uri="{FF2B5EF4-FFF2-40B4-BE49-F238E27FC236}">
                    <a16:creationId xmlns:a16="http://schemas.microsoft.com/office/drawing/2014/main" id="{FDB1B5A6-38EA-5BF8-27BD-F7C606040AC5}"/>
                  </a:ext>
                </a:extLst>
              </p:cNvPr>
              <p:cNvSpPr/>
              <p:nvPr/>
            </p:nvSpPr>
            <p:spPr>
              <a:xfrm>
                <a:off x="6038116" y="3391844"/>
                <a:ext cx="110616" cy="93225"/>
              </a:xfrm>
              <a:custGeom>
                <a:avLst/>
                <a:gdLst>
                  <a:gd name="connsiteX0" fmla="*/ 73496 w 110616"/>
                  <a:gd name="connsiteY0" fmla="*/ 54 h 93225"/>
                  <a:gd name="connsiteX1" fmla="*/ 97517 w 110616"/>
                  <a:gd name="connsiteY1" fmla="*/ 8333 h 93225"/>
                  <a:gd name="connsiteX2" fmla="*/ 106414 w 110616"/>
                  <a:gd name="connsiteY2" fmla="*/ 30483 h 93225"/>
                  <a:gd name="connsiteX3" fmla="*/ 86174 w 110616"/>
                  <a:gd name="connsiteY3" fmla="*/ 58824 h 93225"/>
                  <a:gd name="connsiteX4" fmla="*/ 110640 w 110616"/>
                  <a:gd name="connsiteY4" fmla="*/ 93280 h 93225"/>
                  <a:gd name="connsiteX5" fmla="*/ 84913 w 110616"/>
                  <a:gd name="connsiteY5" fmla="*/ 93280 h 93225"/>
                  <a:gd name="connsiteX6" fmla="*/ 61930 w 110616"/>
                  <a:gd name="connsiteY6" fmla="*/ 60838 h 93225"/>
                  <a:gd name="connsiteX7" fmla="*/ 22117 w 110616"/>
                  <a:gd name="connsiteY7" fmla="*/ 60838 h 93225"/>
                  <a:gd name="connsiteX8" fmla="*/ 22117 w 110616"/>
                  <a:gd name="connsiteY8" fmla="*/ 93280 h 93225"/>
                  <a:gd name="connsiteX9" fmla="*/ 24 w 110616"/>
                  <a:gd name="connsiteY9" fmla="*/ 93280 h 93225"/>
                  <a:gd name="connsiteX10" fmla="*/ 24 w 110616"/>
                  <a:gd name="connsiteY10" fmla="*/ 54 h 93225"/>
                  <a:gd name="connsiteX11" fmla="*/ 73422 w 110616"/>
                  <a:gd name="connsiteY11" fmla="*/ 54 h 93225"/>
                  <a:gd name="connsiteX12" fmla="*/ 22191 w 110616"/>
                  <a:gd name="connsiteY12" fmla="*/ 20564 h 93225"/>
                  <a:gd name="connsiteX13" fmla="*/ 22191 w 110616"/>
                  <a:gd name="connsiteY13" fmla="*/ 40328 h 93225"/>
                  <a:gd name="connsiteX14" fmla="*/ 69641 w 110616"/>
                  <a:gd name="connsiteY14" fmla="*/ 40328 h 93225"/>
                  <a:gd name="connsiteX15" fmla="*/ 83949 w 110616"/>
                  <a:gd name="connsiteY15" fmla="*/ 30334 h 93225"/>
                  <a:gd name="connsiteX16" fmla="*/ 70308 w 110616"/>
                  <a:gd name="connsiteY16" fmla="*/ 20489 h 93225"/>
                  <a:gd name="connsiteX17" fmla="*/ 22191 w 110616"/>
                  <a:gd name="connsiteY17" fmla="*/ 20489 h 93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0616" h="93225">
                    <a:moveTo>
                      <a:pt x="73496" y="54"/>
                    </a:moveTo>
                    <a:cubicBezTo>
                      <a:pt x="83579" y="54"/>
                      <a:pt x="91512" y="2814"/>
                      <a:pt x="97517" y="8333"/>
                    </a:cubicBezTo>
                    <a:cubicBezTo>
                      <a:pt x="103463" y="13852"/>
                      <a:pt x="106414" y="21235"/>
                      <a:pt x="106414" y="30483"/>
                    </a:cubicBezTo>
                    <a:cubicBezTo>
                      <a:pt x="106414" y="45250"/>
                      <a:pt x="99660" y="54722"/>
                      <a:pt x="86174" y="58824"/>
                    </a:cubicBezTo>
                    <a:lnTo>
                      <a:pt x="110640" y="93280"/>
                    </a:lnTo>
                    <a:lnTo>
                      <a:pt x="84913" y="93280"/>
                    </a:lnTo>
                    <a:lnTo>
                      <a:pt x="61930" y="60838"/>
                    </a:lnTo>
                    <a:lnTo>
                      <a:pt x="22117" y="60838"/>
                    </a:lnTo>
                    <a:lnTo>
                      <a:pt x="22117" y="93280"/>
                    </a:lnTo>
                    <a:lnTo>
                      <a:pt x="24" y="93280"/>
                    </a:lnTo>
                    <a:lnTo>
                      <a:pt x="24" y="54"/>
                    </a:lnTo>
                    <a:lnTo>
                      <a:pt x="73422" y="54"/>
                    </a:lnTo>
                    <a:close/>
                    <a:moveTo>
                      <a:pt x="22191" y="20564"/>
                    </a:moveTo>
                    <a:lnTo>
                      <a:pt x="22191" y="40328"/>
                    </a:lnTo>
                    <a:lnTo>
                      <a:pt x="69641" y="40328"/>
                    </a:lnTo>
                    <a:cubicBezTo>
                      <a:pt x="82763" y="40328"/>
                      <a:pt x="83949" y="35637"/>
                      <a:pt x="83949" y="30334"/>
                    </a:cubicBezTo>
                    <a:cubicBezTo>
                      <a:pt x="83949" y="24368"/>
                      <a:pt x="80146" y="20489"/>
                      <a:pt x="70308" y="20489"/>
                    </a:cubicBezTo>
                    <a:lnTo>
                      <a:pt x="22191" y="20489"/>
                    </a:lnTo>
                    <a:close/>
                  </a:path>
                </a:pathLst>
              </a:custGeom>
              <a:solidFill>
                <a:schemeClr val="tx1"/>
              </a:solidFill>
              <a:ln w="74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1135" name="Freeform 1134">
                <a:extLst>
                  <a:ext uri="{FF2B5EF4-FFF2-40B4-BE49-F238E27FC236}">
                    <a16:creationId xmlns:a16="http://schemas.microsoft.com/office/drawing/2014/main" id="{7FA66FA5-0C1B-FDE2-C311-ADAF8A59D430}"/>
                  </a:ext>
                </a:extLst>
              </p:cNvPr>
              <p:cNvSpPr/>
              <p:nvPr/>
            </p:nvSpPr>
            <p:spPr>
              <a:xfrm>
                <a:off x="6177436" y="3392053"/>
                <a:ext cx="106896" cy="95761"/>
              </a:xfrm>
              <a:custGeom>
                <a:avLst/>
                <a:gdLst>
                  <a:gd name="connsiteX0" fmla="*/ 53536 w 106896"/>
                  <a:gd name="connsiteY0" fmla="*/ 75381 h 95761"/>
                  <a:gd name="connsiteX1" fmla="*/ 84897 w 106896"/>
                  <a:gd name="connsiteY1" fmla="*/ 56959 h 95761"/>
                  <a:gd name="connsiteX2" fmla="*/ 84897 w 106896"/>
                  <a:gd name="connsiteY2" fmla="*/ 54 h 95761"/>
                  <a:gd name="connsiteX3" fmla="*/ 106916 w 106896"/>
                  <a:gd name="connsiteY3" fmla="*/ 54 h 95761"/>
                  <a:gd name="connsiteX4" fmla="*/ 106916 w 106896"/>
                  <a:gd name="connsiteY4" fmla="*/ 61733 h 95761"/>
                  <a:gd name="connsiteX5" fmla="*/ 53462 w 106896"/>
                  <a:gd name="connsiteY5" fmla="*/ 95816 h 95761"/>
                  <a:gd name="connsiteX6" fmla="*/ 53474 w 106896"/>
                  <a:gd name="connsiteY6" fmla="*/ 95816 h 95761"/>
                  <a:gd name="connsiteX7" fmla="*/ 20 w 106896"/>
                  <a:gd name="connsiteY7" fmla="*/ 61733 h 95761"/>
                  <a:gd name="connsiteX8" fmla="*/ 20 w 106896"/>
                  <a:gd name="connsiteY8" fmla="*/ 54 h 95761"/>
                  <a:gd name="connsiteX9" fmla="*/ 22039 w 106896"/>
                  <a:gd name="connsiteY9" fmla="*/ 54 h 95761"/>
                  <a:gd name="connsiteX10" fmla="*/ 22039 w 106896"/>
                  <a:gd name="connsiteY10" fmla="*/ 56959 h 95761"/>
                  <a:gd name="connsiteX11" fmla="*/ 53400 w 106896"/>
                  <a:gd name="connsiteY11" fmla="*/ 75381 h 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6896" h="95761">
                    <a:moveTo>
                      <a:pt x="53536" y="75381"/>
                    </a:moveTo>
                    <a:cubicBezTo>
                      <a:pt x="82228" y="75381"/>
                      <a:pt x="84897" y="65536"/>
                      <a:pt x="84897" y="56959"/>
                    </a:cubicBezTo>
                    <a:lnTo>
                      <a:pt x="84897" y="54"/>
                    </a:lnTo>
                    <a:lnTo>
                      <a:pt x="106916" y="54"/>
                    </a:lnTo>
                    <a:lnTo>
                      <a:pt x="106916" y="61733"/>
                    </a:lnTo>
                    <a:cubicBezTo>
                      <a:pt x="106916" y="83808"/>
                      <a:pt x="83414" y="95816"/>
                      <a:pt x="53462" y="95816"/>
                    </a:cubicBezTo>
                    <a:lnTo>
                      <a:pt x="53474" y="95816"/>
                    </a:lnTo>
                    <a:cubicBezTo>
                      <a:pt x="23596" y="95816"/>
                      <a:pt x="20" y="83808"/>
                      <a:pt x="20" y="61733"/>
                    </a:cubicBezTo>
                    <a:lnTo>
                      <a:pt x="20" y="54"/>
                    </a:lnTo>
                    <a:lnTo>
                      <a:pt x="22039" y="54"/>
                    </a:lnTo>
                    <a:lnTo>
                      <a:pt x="22039" y="56959"/>
                    </a:lnTo>
                    <a:cubicBezTo>
                      <a:pt x="22000" y="65462"/>
                      <a:pt x="24693" y="75381"/>
                      <a:pt x="53400" y="75381"/>
                    </a:cubicBezTo>
                    <a:close/>
                  </a:path>
                </a:pathLst>
              </a:custGeom>
              <a:solidFill>
                <a:schemeClr val="tx1"/>
              </a:solidFill>
              <a:ln w="74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1136" name="Freeform 1135">
                <a:extLst>
                  <a:ext uri="{FF2B5EF4-FFF2-40B4-BE49-F238E27FC236}">
                    <a16:creationId xmlns:a16="http://schemas.microsoft.com/office/drawing/2014/main" id="{B22C4FCB-256C-1CA4-427E-44C48B78324A}"/>
                  </a:ext>
                </a:extLst>
              </p:cNvPr>
              <p:cNvSpPr/>
              <p:nvPr/>
            </p:nvSpPr>
            <p:spPr>
              <a:xfrm>
                <a:off x="6308280" y="3389395"/>
                <a:ext cx="108967" cy="97375"/>
              </a:xfrm>
              <a:custGeom>
                <a:avLst/>
                <a:gdLst>
                  <a:gd name="connsiteX0" fmla="*/ 91726 w 108967"/>
                  <a:gd name="connsiteY0" fmla="*/ 29710 h 97375"/>
                  <a:gd name="connsiteX1" fmla="*/ 105516 w 108967"/>
                  <a:gd name="connsiteY1" fmla="*/ 15092 h 97375"/>
                  <a:gd name="connsiteX2" fmla="*/ 56732 w 108967"/>
                  <a:gd name="connsiteY2" fmla="*/ 176 h 97375"/>
                  <a:gd name="connsiteX3" fmla="*/ 4538 w 108967"/>
                  <a:gd name="connsiteY3" fmla="*/ 28741 h 97375"/>
                  <a:gd name="connsiteX4" fmla="*/ 53396 w 108967"/>
                  <a:gd name="connsiteY4" fmla="*/ 56485 h 97375"/>
                  <a:gd name="connsiteX5" fmla="*/ 85647 w 108967"/>
                  <a:gd name="connsiteY5" fmla="*/ 66106 h 97375"/>
                  <a:gd name="connsiteX6" fmla="*/ 53989 w 108967"/>
                  <a:gd name="connsiteY6" fmla="*/ 77517 h 97375"/>
                  <a:gd name="connsiteX7" fmla="*/ 12323 w 108967"/>
                  <a:gd name="connsiteY7" fmla="*/ 63794 h 97375"/>
                  <a:gd name="connsiteX8" fmla="*/ 16 w 108967"/>
                  <a:gd name="connsiteY8" fmla="*/ 80052 h 97375"/>
                  <a:gd name="connsiteX9" fmla="*/ 56139 w 108967"/>
                  <a:gd name="connsiteY9" fmla="*/ 97430 h 97375"/>
                  <a:gd name="connsiteX10" fmla="*/ 108927 w 108967"/>
                  <a:gd name="connsiteY10" fmla="*/ 67374 h 97375"/>
                  <a:gd name="connsiteX11" fmla="*/ 58882 w 108967"/>
                  <a:gd name="connsiteY11" fmla="*/ 35677 h 97375"/>
                  <a:gd name="connsiteX12" fmla="*/ 27744 w 108967"/>
                  <a:gd name="connsiteY12" fmla="*/ 27175 h 97375"/>
                  <a:gd name="connsiteX13" fmla="*/ 58141 w 108967"/>
                  <a:gd name="connsiteY13" fmla="*/ 20500 h 97375"/>
                  <a:gd name="connsiteX14" fmla="*/ 91800 w 108967"/>
                  <a:gd name="connsiteY14" fmla="*/ 29748 h 97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8967" h="97375">
                    <a:moveTo>
                      <a:pt x="91726" y="29710"/>
                    </a:moveTo>
                    <a:lnTo>
                      <a:pt x="105516" y="15092"/>
                    </a:lnTo>
                    <a:cubicBezTo>
                      <a:pt x="86907" y="176"/>
                      <a:pt x="63257" y="624"/>
                      <a:pt x="56732" y="176"/>
                    </a:cubicBezTo>
                    <a:cubicBezTo>
                      <a:pt x="50208" y="-249"/>
                      <a:pt x="6466" y="-1166"/>
                      <a:pt x="4538" y="28741"/>
                    </a:cubicBezTo>
                    <a:cubicBezTo>
                      <a:pt x="3204" y="49027"/>
                      <a:pt x="22480" y="55664"/>
                      <a:pt x="53396" y="56485"/>
                    </a:cubicBezTo>
                    <a:cubicBezTo>
                      <a:pt x="84386" y="57260"/>
                      <a:pt x="85647" y="62668"/>
                      <a:pt x="85647" y="66106"/>
                    </a:cubicBezTo>
                    <a:cubicBezTo>
                      <a:pt x="85610" y="69775"/>
                      <a:pt x="81688" y="77964"/>
                      <a:pt x="53989" y="77517"/>
                    </a:cubicBezTo>
                    <a:cubicBezTo>
                      <a:pt x="36047" y="77221"/>
                      <a:pt x="20627" y="70894"/>
                      <a:pt x="12323" y="63794"/>
                    </a:cubicBezTo>
                    <a:lnTo>
                      <a:pt x="16" y="80052"/>
                    </a:lnTo>
                    <a:cubicBezTo>
                      <a:pt x="14547" y="91687"/>
                      <a:pt x="33082" y="97430"/>
                      <a:pt x="56139" y="97430"/>
                    </a:cubicBezTo>
                    <a:cubicBezTo>
                      <a:pt x="83867" y="97430"/>
                      <a:pt x="107740" y="90188"/>
                      <a:pt x="108927" y="67374"/>
                    </a:cubicBezTo>
                    <a:cubicBezTo>
                      <a:pt x="110387" y="40823"/>
                      <a:pt x="83423" y="37690"/>
                      <a:pt x="58882" y="35677"/>
                    </a:cubicBezTo>
                    <a:cubicBezTo>
                      <a:pt x="35158" y="33715"/>
                      <a:pt x="27670" y="33074"/>
                      <a:pt x="27744" y="27175"/>
                    </a:cubicBezTo>
                    <a:cubicBezTo>
                      <a:pt x="27821" y="20656"/>
                      <a:pt x="45760" y="19806"/>
                      <a:pt x="58141" y="20500"/>
                    </a:cubicBezTo>
                    <a:cubicBezTo>
                      <a:pt x="72598" y="21327"/>
                      <a:pt x="83497" y="24982"/>
                      <a:pt x="91800" y="29748"/>
                    </a:cubicBezTo>
                    <a:close/>
                  </a:path>
                </a:pathLst>
              </a:custGeom>
              <a:solidFill>
                <a:schemeClr val="tx1"/>
              </a:solidFill>
              <a:ln w="741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861"/>
                  </a:solidFill>
                  <a:effectLst/>
                  <a:uLnTx/>
                  <a:uFillTx/>
                  <a:latin typeface="ES Build Neutral"/>
                  <a:ea typeface="+mn-ea"/>
                  <a:cs typeface="+mn-cs"/>
                </a:endParaRPr>
              </a:p>
            </p:txBody>
          </p:sp>
        </p:grpSp>
      </p:grpSp>
      <p:grpSp>
        <p:nvGrpSpPr>
          <p:cNvPr id="2076" name="Graphic 1139">
            <a:extLst>
              <a:ext uri="{FF2B5EF4-FFF2-40B4-BE49-F238E27FC236}">
                <a16:creationId xmlns:a16="http://schemas.microsoft.com/office/drawing/2014/main" id="{03E4EEE4-1FD4-62E0-1273-BDBD131E92BC}"/>
              </a:ext>
            </a:extLst>
          </p:cNvPr>
          <p:cNvGrpSpPr/>
          <p:nvPr/>
        </p:nvGrpSpPr>
        <p:grpSpPr>
          <a:xfrm>
            <a:off x="3219337" y="3568326"/>
            <a:ext cx="886500" cy="105178"/>
            <a:chOff x="3790950" y="2914650"/>
            <a:chExt cx="4608194" cy="546735"/>
          </a:xfrm>
          <a:solidFill>
            <a:schemeClr val="tx1"/>
          </a:solidFill>
        </p:grpSpPr>
        <p:sp>
          <p:nvSpPr>
            <p:cNvPr id="2077" name="Freeform 2076">
              <a:extLst>
                <a:ext uri="{FF2B5EF4-FFF2-40B4-BE49-F238E27FC236}">
                  <a16:creationId xmlns:a16="http://schemas.microsoft.com/office/drawing/2014/main" id="{897F2771-47D0-A00F-46AE-9E09E7B7A66A}"/>
                </a:ext>
              </a:extLst>
            </p:cNvPr>
            <p:cNvSpPr/>
            <p:nvPr/>
          </p:nvSpPr>
          <p:spPr>
            <a:xfrm>
              <a:off x="7808594" y="2914650"/>
              <a:ext cx="590550" cy="546735"/>
            </a:xfrm>
            <a:custGeom>
              <a:avLst/>
              <a:gdLst>
                <a:gd name="connsiteX0" fmla="*/ 590550 w 590550"/>
                <a:gd name="connsiteY0" fmla="*/ 401003 h 546735"/>
                <a:gd name="connsiteX1" fmla="*/ 509588 w 590550"/>
                <a:gd name="connsiteY1" fmla="*/ 515303 h 546735"/>
                <a:gd name="connsiteX2" fmla="*/ 264795 w 590550"/>
                <a:gd name="connsiteY2" fmla="*/ 546735 h 546735"/>
                <a:gd name="connsiteX3" fmla="*/ 0 w 590550"/>
                <a:gd name="connsiteY3" fmla="*/ 521970 h 546735"/>
                <a:gd name="connsiteX4" fmla="*/ 0 w 590550"/>
                <a:gd name="connsiteY4" fmla="*/ 436245 h 546735"/>
                <a:gd name="connsiteX5" fmla="*/ 469583 w 590550"/>
                <a:gd name="connsiteY5" fmla="*/ 436245 h 546735"/>
                <a:gd name="connsiteX6" fmla="*/ 469583 w 590550"/>
                <a:gd name="connsiteY6" fmla="*/ 319088 h 546735"/>
                <a:gd name="connsiteX7" fmla="*/ 137160 w 590550"/>
                <a:gd name="connsiteY7" fmla="*/ 319088 h 546735"/>
                <a:gd name="connsiteX8" fmla="*/ 0 w 590550"/>
                <a:gd name="connsiteY8" fmla="*/ 194310 h 546735"/>
                <a:gd name="connsiteX9" fmla="*/ 0 w 590550"/>
                <a:gd name="connsiteY9" fmla="*/ 142875 h 546735"/>
                <a:gd name="connsiteX10" fmla="*/ 84773 w 590550"/>
                <a:gd name="connsiteY10" fmla="*/ 26670 h 546735"/>
                <a:gd name="connsiteX11" fmla="*/ 318135 w 590550"/>
                <a:gd name="connsiteY11" fmla="*/ 0 h 546735"/>
                <a:gd name="connsiteX12" fmla="*/ 582930 w 590550"/>
                <a:gd name="connsiteY12" fmla="*/ 25718 h 546735"/>
                <a:gd name="connsiteX13" fmla="*/ 582930 w 590550"/>
                <a:gd name="connsiteY13" fmla="*/ 111443 h 546735"/>
                <a:gd name="connsiteX14" fmla="*/ 120968 w 590550"/>
                <a:gd name="connsiteY14" fmla="*/ 111443 h 546735"/>
                <a:gd name="connsiteX15" fmla="*/ 120968 w 590550"/>
                <a:gd name="connsiteY15" fmla="*/ 209550 h 546735"/>
                <a:gd name="connsiteX16" fmla="*/ 453390 w 590550"/>
                <a:gd name="connsiteY16" fmla="*/ 209550 h 546735"/>
                <a:gd name="connsiteX17" fmla="*/ 590550 w 590550"/>
                <a:gd name="connsiteY17" fmla="*/ 334328 h 546735"/>
                <a:gd name="connsiteX18" fmla="*/ 590550 w 590550"/>
                <a:gd name="connsiteY18" fmla="*/ 401003 h 546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90550" h="546735">
                  <a:moveTo>
                    <a:pt x="590550" y="401003"/>
                  </a:moveTo>
                  <a:cubicBezTo>
                    <a:pt x="590550" y="475298"/>
                    <a:pt x="568643" y="497205"/>
                    <a:pt x="509588" y="515303"/>
                  </a:cubicBezTo>
                  <a:cubicBezTo>
                    <a:pt x="445770" y="534353"/>
                    <a:pt x="332423" y="546735"/>
                    <a:pt x="264795" y="546735"/>
                  </a:cubicBezTo>
                  <a:cubicBezTo>
                    <a:pt x="184785" y="546735"/>
                    <a:pt x="84773" y="541973"/>
                    <a:pt x="0" y="521970"/>
                  </a:cubicBezTo>
                  <a:lnTo>
                    <a:pt x="0" y="436245"/>
                  </a:lnTo>
                  <a:lnTo>
                    <a:pt x="469583" y="436245"/>
                  </a:lnTo>
                  <a:lnTo>
                    <a:pt x="469583" y="319088"/>
                  </a:lnTo>
                  <a:lnTo>
                    <a:pt x="137160" y="319088"/>
                  </a:lnTo>
                  <a:cubicBezTo>
                    <a:pt x="37148" y="319088"/>
                    <a:pt x="0" y="291465"/>
                    <a:pt x="0" y="194310"/>
                  </a:cubicBezTo>
                  <a:lnTo>
                    <a:pt x="0" y="142875"/>
                  </a:lnTo>
                  <a:cubicBezTo>
                    <a:pt x="0" y="65723"/>
                    <a:pt x="22860" y="42863"/>
                    <a:pt x="84773" y="26670"/>
                  </a:cubicBezTo>
                  <a:cubicBezTo>
                    <a:pt x="147638" y="10478"/>
                    <a:pt x="250508" y="0"/>
                    <a:pt x="318135" y="0"/>
                  </a:cubicBezTo>
                  <a:cubicBezTo>
                    <a:pt x="400050" y="0"/>
                    <a:pt x="498158" y="6668"/>
                    <a:pt x="582930" y="25718"/>
                  </a:cubicBezTo>
                  <a:lnTo>
                    <a:pt x="582930" y="111443"/>
                  </a:lnTo>
                  <a:lnTo>
                    <a:pt x="120968" y="111443"/>
                  </a:lnTo>
                  <a:lnTo>
                    <a:pt x="120968" y="209550"/>
                  </a:lnTo>
                  <a:lnTo>
                    <a:pt x="453390" y="209550"/>
                  </a:lnTo>
                  <a:cubicBezTo>
                    <a:pt x="553403" y="209550"/>
                    <a:pt x="590550" y="236220"/>
                    <a:pt x="590550" y="334328"/>
                  </a:cubicBezTo>
                  <a:lnTo>
                    <a:pt x="590550" y="40100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2078" name="Freeform 2077">
              <a:extLst>
                <a:ext uri="{FF2B5EF4-FFF2-40B4-BE49-F238E27FC236}">
                  <a16:creationId xmlns:a16="http://schemas.microsoft.com/office/drawing/2014/main" id="{397F344C-5339-8CB9-863F-5563B39E0DD0}"/>
                </a:ext>
              </a:extLst>
            </p:cNvPr>
            <p:cNvSpPr/>
            <p:nvPr/>
          </p:nvSpPr>
          <p:spPr>
            <a:xfrm>
              <a:off x="7015162" y="2914650"/>
              <a:ext cx="582930" cy="545782"/>
            </a:xfrm>
            <a:custGeom>
              <a:avLst/>
              <a:gdLst>
                <a:gd name="connsiteX0" fmla="*/ 582930 w 582930"/>
                <a:gd name="connsiteY0" fmla="*/ 521018 h 545782"/>
                <a:gd name="connsiteX1" fmla="*/ 292418 w 582930"/>
                <a:gd name="connsiteY1" fmla="*/ 545783 h 545782"/>
                <a:gd name="connsiteX2" fmla="*/ 0 w 582930"/>
                <a:gd name="connsiteY2" fmla="*/ 521018 h 545782"/>
                <a:gd name="connsiteX3" fmla="*/ 0 w 582930"/>
                <a:gd name="connsiteY3" fmla="*/ 25718 h 545782"/>
                <a:gd name="connsiteX4" fmla="*/ 290513 w 582930"/>
                <a:gd name="connsiteY4" fmla="*/ 0 h 545782"/>
                <a:gd name="connsiteX5" fmla="*/ 579120 w 582930"/>
                <a:gd name="connsiteY5" fmla="*/ 25718 h 545782"/>
                <a:gd name="connsiteX6" fmla="*/ 579120 w 582930"/>
                <a:gd name="connsiteY6" fmla="*/ 114300 h 545782"/>
                <a:gd name="connsiteX7" fmla="*/ 139065 w 582930"/>
                <a:gd name="connsiteY7" fmla="*/ 114300 h 545782"/>
                <a:gd name="connsiteX8" fmla="*/ 139065 w 582930"/>
                <a:gd name="connsiteY8" fmla="*/ 213360 h 545782"/>
                <a:gd name="connsiteX9" fmla="*/ 425768 w 582930"/>
                <a:gd name="connsiteY9" fmla="*/ 213360 h 545782"/>
                <a:gd name="connsiteX10" fmla="*/ 425768 w 582930"/>
                <a:gd name="connsiteY10" fmla="*/ 316230 h 545782"/>
                <a:gd name="connsiteX11" fmla="*/ 139065 w 582930"/>
                <a:gd name="connsiteY11" fmla="*/ 316230 h 545782"/>
                <a:gd name="connsiteX12" fmla="*/ 139065 w 582930"/>
                <a:gd name="connsiteY12" fmla="*/ 433388 h 545782"/>
                <a:gd name="connsiteX13" fmla="*/ 581025 w 582930"/>
                <a:gd name="connsiteY13" fmla="*/ 433388 h 545782"/>
                <a:gd name="connsiteX14" fmla="*/ 581025 w 582930"/>
                <a:gd name="connsiteY14" fmla="*/ 521018 h 545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2930" h="545782">
                  <a:moveTo>
                    <a:pt x="582930" y="521018"/>
                  </a:moveTo>
                  <a:cubicBezTo>
                    <a:pt x="485775" y="540068"/>
                    <a:pt x="387668" y="545783"/>
                    <a:pt x="292418" y="545783"/>
                  </a:cubicBezTo>
                  <a:cubicBezTo>
                    <a:pt x="197168" y="545783"/>
                    <a:pt x="98107" y="540068"/>
                    <a:pt x="0" y="521018"/>
                  </a:cubicBezTo>
                  <a:lnTo>
                    <a:pt x="0" y="25718"/>
                  </a:lnTo>
                  <a:cubicBezTo>
                    <a:pt x="97155" y="6668"/>
                    <a:pt x="196215" y="0"/>
                    <a:pt x="290513" y="0"/>
                  </a:cubicBezTo>
                  <a:cubicBezTo>
                    <a:pt x="385763" y="0"/>
                    <a:pt x="481965" y="5715"/>
                    <a:pt x="579120" y="25718"/>
                  </a:cubicBezTo>
                  <a:lnTo>
                    <a:pt x="579120" y="114300"/>
                  </a:lnTo>
                  <a:lnTo>
                    <a:pt x="139065" y="114300"/>
                  </a:lnTo>
                  <a:lnTo>
                    <a:pt x="139065" y="213360"/>
                  </a:lnTo>
                  <a:lnTo>
                    <a:pt x="425768" y="213360"/>
                  </a:lnTo>
                  <a:lnTo>
                    <a:pt x="425768" y="316230"/>
                  </a:lnTo>
                  <a:lnTo>
                    <a:pt x="139065" y="316230"/>
                  </a:lnTo>
                  <a:lnTo>
                    <a:pt x="139065" y="433388"/>
                  </a:lnTo>
                  <a:lnTo>
                    <a:pt x="581025" y="433388"/>
                  </a:lnTo>
                  <a:lnTo>
                    <a:pt x="581025" y="52101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2079" name="Freeform 2078">
              <a:extLst>
                <a:ext uri="{FF2B5EF4-FFF2-40B4-BE49-F238E27FC236}">
                  <a16:creationId xmlns:a16="http://schemas.microsoft.com/office/drawing/2014/main" id="{7B4485A0-E4D6-EDD6-36C3-D20E0B5326C3}"/>
                </a:ext>
              </a:extLst>
            </p:cNvPr>
            <p:cNvSpPr/>
            <p:nvPr/>
          </p:nvSpPr>
          <p:spPr>
            <a:xfrm>
              <a:off x="6326505" y="2927032"/>
              <a:ext cx="521969" cy="533399"/>
            </a:xfrm>
            <a:custGeom>
              <a:avLst/>
              <a:gdLst>
                <a:gd name="connsiteX0" fmla="*/ 521970 w 521969"/>
                <a:gd name="connsiteY0" fmla="*/ 508635 h 533399"/>
                <a:gd name="connsiteX1" fmla="*/ 261938 w 521969"/>
                <a:gd name="connsiteY1" fmla="*/ 533400 h 533399"/>
                <a:gd name="connsiteX2" fmla="*/ 0 w 521969"/>
                <a:gd name="connsiteY2" fmla="*/ 508635 h 533399"/>
                <a:gd name="connsiteX3" fmla="*/ 0 w 521969"/>
                <a:gd name="connsiteY3" fmla="*/ 0 h 533399"/>
                <a:gd name="connsiteX4" fmla="*/ 140017 w 521969"/>
                <a:gd name="connsiteY4" fmla="*/ 0 h 533399"/>
                <a:gd name="connsiteX5" fmla="*/ 140017 w 521969"/>
                <a:gd name="connsiteY5" fmla="*/ 414338 h 533399"/>
                <a:gd name="connsiteX6" fmla="*/ 521970 w 521969"/>
                <a:gd name="connsiteY6" fmla="*/ 414338 h 533399"/>
                <a:gd name="connsiteX7" fmla="*/ 521970 w 521969"/>
                <a:gd name="connsiteY7" fmla="*/ 508635 h 533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1969" h="533399">
                  <a:moveTo>
                    <a:pt x="521970" y="508635"/>
                  </a:moveTo>
                  <a:cubicBezTo>
                    <a:pt x="434340" y="527685"/>
                    <a:pt x="346710" y="533400"/>
                    <a:pt x="261938" y="533400"/>
                  </a:cubicBezTo>
                  <a:cubicBezTo>
                    <a:pt x="177165" y="533400"/>
                    <a:pt x="87630" y="528638"/>
                    <a:pt x="0" y="508635"/>
                  </a:cubicBezTo>
                  <a:lnTo>
                    <a:pt x="0" y="0"/>
                  </a:lnTo>
                  <a:lnTo>
                    <a:pt x="140017" y="0"/>
                  </a:lnTo>
                  <a:lnTo>
                    <a:pt x="140017" y="414338"/>
                  </a:lnTo>
                  <a:lnTo>
                    <a:pt x="521970" y="414338"/>
                  </a:lnTo>
                  <a:lnTo>
                    <a:pt x="521970" y="50863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2080" name="Freeform 2079">
              <a:extLst>
                <a:ext uri="{FF2B5EF4-FFF2-40B4-BE49-F238E27FC236}">
                  <a16:creationId xmlns:a16="http://schemas.microsoft.com/office/drawing/2014/main" id="{AE535B1E-E7AB-A66C-2E99-66EF81C403D8}"/>
                </a:ext>
              </a:extLst>
            </p:cNvPr>
            <p:cNvSpPr/>
            <p:nvPr/>
          </p:nvSpPr>
          <p:spPr>
            <a:xfrm>
              <a:off x="5414009" y="2927984"/>
              <a:ext cx="744855" cy="530542"/>
            </a:xfrm>
            <a:custGeom>
              <a:avLst/>
              <a:gdLst>
                <a:gd name="connsiteX0" fmla="*/ 744855 w 744855"/>
                <a:gd name="connsiteY0" fmla="*/ 511493 h 530542"/>
                <a:gd name="connsiteX1" fmla="*/ 590550 w 744855"/>
                <a:gd name="connsiteY1" fmla="*/ 530543 h 530542"/>
                <a:gd name="connsiteX2" fmla="*/ 374333 w 744855"/>
                <a:gd name="connsiteY2" fmla="*/ 94298 h 530542"/>
                <a:gd name="connsiteX3" fmla="*/ 361950 w 744855"/>
                <a:gd name="connsiteY3" fmla="*/ 94298 h 530542"/>
                <a:gd name="connsiteX4" fmla="*/ 146685 w 744855"/>
                <a:gd name="connsiteY4" fmla="*/ 530543 h 530542"/>
                <a:gd name="connsiteX5" fmla="*/ 0 w 744855"/>
                <a:gd name="connsiteY5" fmla="*/ 511493 h 530542"/>
                <a:gd name="connsiteX6" fmla="*/ 273368 w 744855"/>
                <a:gd name="connsiteY6" fmla="*/ 0 h 530542"/>
                <a:gd name="connsiteX7" fmla="*/ 468630 w 744855"/>
                <a:gd name="connsiteY7" fmla="*/ 0 h 530542"/>
                <a:gd name="connsiteX8" fmla="*/ 744855 w 744855"/>
                <a:gd name="connsiteY8" fmla="*/ 511493 h 530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4855" h="530542">
                  <a:moveTo>
                    <a:pt x="744855" y="511493"/>
                  </a:moveTo>
                  <a:cubicBezTo>
                    <a:pt x="698183" y="524828"/>
                    <a:pt x="636270" y="529590"/>
                    <a:pt x="590550" y="530543"/>
                  </a:cubicBezTo>
                  <a:lnTo>
                    <a:pt x="374333" y="94298"/>
                  </a:lnTo>
                  <a:lnTo>
                    <a:pt x="361950" y="94298"/>
                  </a:lnTo>
                  <a:lnTo>
                    <a:pt x="146685" y="530543"/>
                  </a:lnTo>
                  <a:cubicBezTo>
                    <a:pt x="100965" y="529590"/>
                    <a:pt x="46673" y="524828"/>
                    <a:pt x="0" y="511493"/>
                  </a:cubicBezTo>
                  <a:lnTo>
                    <a:pt x="273368" y="0"/>
                  </a:lnTo>
                  <a:lnTo>
                    <a:pt x="468630" y="0"/>
                  </a:lnTo>
                  <a:lnTo>
                    <a:pt x="744855" y="51149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2081" name="Freeform 2080">
              <a:extLst>
                <a:ext uri="{FF2B5EF4-FFF2-40B4-BE49-F238E27FC236}">
                  <a16:creationId xmlns:a16="http://schemas.microsoft.com/office/drawing/2014/main" id="{BD281DD6-896A-36F5-BFBC-1E828037B40B}"/>
                </a:ext>
              </a:extLst>
            </p:cNvPr>
            <p:cNvSpPr/>
            <p:nvPr/>
          </p:nvSpPr>
          <p:spPr>
            <a:xfrm>
              <a:off x="5692140" y="3218497"/>
              <a:ext cx="181927" cy="180975"/>
            </a:xfrm>
            <a:custGeom>
              <a:avLst/>
              <a:gdLst>
                <a:gd name="connsiteX0" fmla="*/ 181927 w 181927"/>
                <a:gd name="connsiteY0" fmla="*/ 90488 h 180975"/>
                <a:gd name="connsiteX1" fmla="*/ 90488 w 181927"/>
                <a:gd name="connsiteY1" fmla="*/ 180975 h 180975"/>
                <a:gd name="connsiteX2" fmla="*/ 0 w 181927"/>
                <a:gd name="connsiteY2" fmla="*/ 90488 h 180975"/>
                <a:gd name="connsiteX3" fmla="*/ 90488 w 181927"/>
                <a:gd name="connsiteY3" fmla="*/ 0 h 180975"/>
                <a:gd name="connsiteX4" fmla="*/ 181927 w 181927"/>
                <a:gd name="connsiteY4" fmla="*/ 90488 h 180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927" h="180975">
                  <a:moveTo>
                    <a:pt x="181927" y="90488"/>
                  </a:moveTo>
                  <a:cubicBezTo>
                    <a:pt x="181927" y="140970"/>
                    <a:pt x="140970" y="180975"/>
                    <a:pt x="90488" y="180975"/>
                  </a:cubicBezTo>
                  <a:cubicBezTo>
                    <a:pt x="40005" y="180975"/>
                    <a:pt x="0" y="140017"/>
                    <a:pt x="0" y="90488"/>
                  </a:cubicBezTo>
                  <a:cubicBezTo>
                    <a:pt x="0" y="40005"/>
                    <a:pt x="40957" y="0"/>
                    <a:pt x="90488" y="0"/>
                  </a:cubicBezTo>
                  <a:cubicBezTo>
                    <a:pt x="140970" y="0"/>
                    <a:pt x="181927" y="40005"/>
                    <a:pt x="181927" y="90488"/>
                  </a:cubicBezTo>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2082" name="Freeform 2081">
              <a:extLst>
                <a:ext uri="{FF2B5EF4-FFF2-40B4-BE49-F238E27FC236}">
                  <a16:creationId xmlns:a16="http://schemas.microsoft.com/office/drawing/2014/main" id="{C5EF3379-9623-30F0-2597-2F466899487A}"/>
                </a:ext>
              </a:extLst>
            </p:cNvPr>
            <p:cNvSpPr/>
            <p:nvPr/>
          </p:nvSpPr>
          <p:spPr>
            <a:xfrm>
              <a:off x="4617720" y="2918460"/>
              <a:ext cx="627697" cy="539114"/>
            </a:xfrm>
            <a:custGeom>
              <a:avLst/>
              <a:gdLst>
                <a:gd name="connsiteX0" fmla="*/ 627697 w 627697"/>
                <a:gd name="connsiteY0" fmla="*/ 521018 h 539114"/>
                <a:gd name="connsiteX1" fmla="*/ 487680 w 627697"/>
                <a:gd name="connsiteY1" fmla="*/ 539115 h 539114"/>
                <a:gd name="connsiteX2" fmla="*/ 487680 w 627697"/>
                <a:gd name="connsiteY2" fmla="*/ 317183 h 539114"/>
                <a:gd name="connsiteX3" fmla="*/ 140017 w 627697"/>
                <a:gd name="connsiteY3" fmla="*/ 317183 h 539114"/>
                <a:gd name="connsiteX4" fmla="*/ 140017 w 627697"/>
                <a:gd name="connsiteY4" fmla="*/ 539115 h 539114"/>
                <a:gd name="connsiteX5" fmla="*/ 0 w 627697"/>
                <a:gd name="connsiteY5" fmla="*/ 521018 h 539114"/>
                <a:gd name="connsiteX6" fmla="*/ 0 w 627697"/>
                <a:gd name="connsiteY6" fmla="*/ 18098 h 539114"/>
                <a:gd name="connsiteX7" fmla="*/ 140017 w 627697"/>
                <a:gd name="connsiteY7" fmla="*/ 0 h 539114"/>
                <a:gd name="connsiteX8" fmla="*/ 140017 w 627697"/>
                <a:gd name="connsiteY8" fmla="*/ 214313 h 539114"/>
                <a:gd name="connsiteX9" fmla="*/ 487680 w 627697"/>
                <a:gd name="connsiteY9" fmla="*/ 214313 h 539114"/>
                <a:gd name="connsiteX10" fmla="*/ 487680 w 627697"/>
                <a:gd name="connsiteY10" fmla="*/ 0 h 539114"/>
                <a:gd name="connsiteX11" fmla="*/ 627697 w 627697"/>
                <a:gd name="connsiteY11" fmla="*/ 18098 h 539114"/>
                <a:gd name="connsiteX12" fmla="*/ 627697 w 627697"/>
                <a:gd name="connsiteY12" fmla="*/ 521018 h 539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27697" h="539114">
                  <a:moveTo>
                    <a:pt x="627697" y="521018"/>
                  </a:moveTo>
                  <a:cubicBezTo>
                    <a:pt x="582930" y="534353"/>
                    <a:pt x="535305" y="538163"/>
                    <a:pt x="487680" y="539115"/>
                  </a:cubicBezTo>
                  <a:lnTo>
                    <a:pt x="487680" y="317183"/>
                  </a:lnTo>
                  <a:lnTo>
                    <a:pt x="140017" y="317183"/>
                  </a:lnTo>
                  <a:lnTo>
                    <a:pt x="140017" y="539115"/>
                  </a:lnTo>
                  <a:cubicBezTo>
                    <a:pt x="92392" y="538163"/>
                    <a:pt x="44767" y="533400"/>
                    <a:pt x="0" y="521018"/>
                  </a:cubicBezTo>
                  <a:lnTo>
                    <a:pt x="0" y="18098"/>
                  </a:lnTo>
                  <a:cubicBezTo>
                    <a:pt x="44767" y="4762"/>
                    <a:pt x="92392" y="952"/>
                    <a:pt x="140017" y="0"/>
                  </a:cubicBezTo>
                  <a:lnTo>
                    <a:pt x="140017" y="214313"/>
                  </a:lnTo>
                  <a:lnTo>
                    <a:pt x="487680" y="214313"/>
                  </a:lnTo>
                  <a:lnTo>
                    <a:pt x="487680" y="0"/>
                  </a:lnTo>
                  <a:cubicBezTo>
                    <a:pt x="535305" y="952"/>
                    <a:pt x="582930" y="5715"/>
                    <a:pt x="627697" y="18098"/>
                  </a:cubicBezTo>
                  <a:lnTo>
                    <a:pt x="627697" y="52101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2083" name="Freeform 2082">
              <a:extLst>
                <a:ext uri="{FF2B5EF4-FFF2-40B4-BE49-F238E27FC236}">
                  <a16:creationId xmlns:a16="http://schemas.microsoft.com/office/drawing/2014/main" id="{46722C7F-BDD4-25B8-6B4A-E415D23DD876}"/>
                </a:ext>
              </a:extLst>
            </p:cNvPr>
            <p:cNvSpPr/>
            <p:nvPr/>
          </p:nvSpPr>
          <p:spPr>
            <a:xfrm>
              <a:off x="3790950" y="2914650"/>
              <a:ext cx="630554" cy="534352"/>
            </a:xfrm>
            <a:custGeom>
              <a:avLst/>
              <a:gdLst>
                <a:gd name="connsiteX0" fmla="*/ 630555 w 630554"/>
                <a:gd name="connsiteY0" fmla="*/ 115253 h 534352"/>
                <a:gd name="connsiteX1" fmla="*/ 384810 w 630554"/>
                <a:gd name="connsiteY1" fmla="*/ 115253 h 534352"/>
                <a:gd name="connsiteX2" fmla="*/ 384810 w 630554"/>
                <a:gd name="connsiteY2" fmla="*/ 534353 h 534352"/>
                <a:gd name="connsiteX3" fmla="*/ 245745 w 630554"/>
                <a:gd name="connsiteY3" fmla="*/ 534353 h 534352"/>
                <a:gd name="connsiteX4" fmla="*/ 245745 w 630554"/>
                <a:gd name="connsiteY4" fmla="*/ 115253 h 534352"/>
                <a:gd name="connsiteX5" fmla="*/ 0 w 630554"/>
                <a:gd name="connsiteY5" fmla="*/ 115253 h 534352"/>
                <a:gd name="connsiteX6" fmla="*/ 0 w 630554"/>
                <a:gd name="connsiteY6" fmla="*/ 25718 h 534352"/>
                <a:gd name="connsiteX7" fmla="*/ 315278 w 630554"/>
                <a:gd name="connsiteY7" fmla="*/ 0 h 534352"/>
                <a:gd name="connsiteX8" fmla="*/ 630555 w 630554"/>
                <a:gd name="connsiteY8" fmla="*/ 25718 h 534352"/>
                <a:gd name="connsiteX9" fmla="*/ 630555 w 630554"/>
                <a:gd name="connsiteY9" fmla="*/ 115253 h 53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0554" h="534352">
                  <a:moveTo>
                    <a:pt x="630555" y="115253"/>
                  </a:moveTo>
                  <a:lnTo>
                    <a:pt x="384810" y="115253"/>
                  </a:lnTo>
                  <a:lnTo>
                    <a:pt x="384810" y="534353"/>
                  </a:lnTo>
                  <a:lnTo>
                    <a:pt x="245745" y="534353"/>
                  </a:lnTo>
                  <a:lnTo>
                    <a:pt x="245745" y="115253"/>
                  </a:lnTo>
                  <a:lnTo>
                    <a:pt x="0" y="115253"/>
                  </a:lnTo>
                  <a:lnTo>
                    <a:pt x="0" y="25718"/>
                  </a:lnTo>
                  <a:cubicBezTo>
                    <a:pt x="105728" y="6668"/>
                    <a:pt x="212408" y="0"/>
                    <a:pt x="315278" y="0"/>
                  </a:cubicBezTo>
                  <a:cubicBezTo>
                    <a:pt x="418148" y="0"/>
                    <a:pt x="524828" y="5715"/>
                    <a:pt x="630555" y="25718"/>
                  </a:cubicBezTo>
                  <a:lnTo>
                    <a:pt x="630555" y="11525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861"/>
                </a:solidFill>
                <a:effectLst/>
                <a:uLnTx/>
                <a:uFillTx/>
                <a:latin typeface="ES Build Neutral"/>
                <a:ea typeface="+mn-ea"/>
                <a:cs typeface="+mn-cs"/>
              </a:endParaRPr>
            </a:p>
          </p:txBody>
        </p:sp>
      </p:grpSp>
      <p:pic>
        <p:nvPicPr>
          <p:cNvPr id="2085" name="Graphic 2084">
            <a:extLst>
              <a:ext uri="{FF2B5EF4-FFF2-40B4-BE49-F238E27FC236}">
                <a16:creationId xmlns:a16="http://schemas.microsoft.com/office/drawing/2014/main" id="{734B74AA-93B6-A9C8-213A-171967655B9E}"/>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3216673" y="3180482"/>
            <a:ext cx="914400" cy="182880"/>
          </a:xfrm>
          <a:prstGeom prst="rect">
            <a:avLst/>
          </a:prstGeom>
        </p:spPr>
      </p:pic>
      <p:sp>
        <p:nvSpPr>
          <p:cNvPr id="2089" name="Freeform 2088">
            <a:extLst>
              <a:ext uri="{FF2B5EF4-FFF2-40B4-BE49-F238E27FC236}">
                <a16:creationId xmlns:a16="http://schemas.microsoft.com/office/drawing/2014/main" id="{D0BDFBC9-6A24-8ACE-6167-5EA00B855DBE}"/>
              </a:ext>
            </a:extLst>
          </p:cNvPr>
          <p:cNvSpPr/>
          <p:nvPr/>
        </p:nvSpPr>
        <p:spPr>
          <a:xfrm>
            <a:off x="3199221" y="2757984"/>
            <a:ext cx="186233" cy="248650"/>
          </a:xfrm>
          <a:custGeom>
            <a:avLst/>
            <a:gdLst>
              <a:gd name="connsiteX0" fmla="*/ 2571750 w 5143500"/>
              <a:gd name="connsiteY0" fmla="*/ 0 h 6867386"/>
              <a:gd name="connsiteX1" fmla="*/ 0 w 5143500"/>
              <a:gd name="connsiteY1" fmla="*/ 1281139 h 6867386"/>
              <a:gd name="connsiteX2" fmla="*/ 0 w 5143500"/>
              <a:gd name="connsiteY2" fmla="*/ 4295637 h 6867386"/>
              <a:gd name="connsiteX3" fmla="*/ 2571750 w 5143500"/>
              <a:gd name="connsiteY3" fmla="*/ 6867387 h 6867386"/>
              <a:gd name="connsiteX4" fmla="*/ 5143500 w 5143500"/>
              <a:gd name="connsiteY4" fmla="*/ 4295637 h 6867386"/>
              <a:gd name="connsiteX5" fmla="*/ 5143500 w 5143500"/>
              <a:gd name="connsiteY5" fmla="*/ 1281139 h 6867386"/>
              <a:gd name="connsiteX6" fmla="*/ 4035504 w 5143500"/>
              <a:gd name="connsiteY6" fmla="*/ 5853689 h 6867386"/>
              <a:gd name="connsiteX7" fmla="*/ 2571750 w 5143500"/>
              <a:gd name="connsiteY7" fmla="*/ 5124512 h 6867386"/>
              <a:gd name="connsiteX8" fmla="*/ 2571750 w 5143500"/>
              <a:gd name="connsiteY8" fmla="*/ 5602022 h 6867386"/>
              <a:gd name="connsiteX9" fmla="*/ 3651049 w 5143500"/>
              <a:gd name="connsiteY9" fmla="*/ 6139689 h 6867386"/>
              <a:gd name="connsiteX10" fmla="*/ 719835 w 5143500"/>
              <a:gd name="connsiteY10" fmla="*/ 5366042 h 6867386"/>
              <a:gd name="connsiteX11" fmla="*/ 428625 w 5143500"/>
              <a:gd name="connsiteY11" fmla="*/ 4295637 h 6867386"/>
              <a:gd name="connsiteX12" fmla="*/ 428625 w 5143500"/>
              <a:gd name="connsiteY12" fmla="*/ 1545086 h 6867386"/>
              <a:gd name="connsiteX13" fmla="*/ 2571750 w 5143500"/>
              <a:gd name="connsiteY13" fmla="*/ 477467 h 6867386"/>
              <a:gd name="connsiteX14" fmla="*/ 4714875 w 5143500"/>
              <a:gd name="connsiteY14" fmla="*/ 1545086 h 6867386"/>
              <a:gd name="connsiteX15" fmla="*/ 4714875 w 5143500"/>
              <a:gd name="connsiteY15" fmla="*/ 2348758 h 6867386"/>
              <a:gd name="connsiteX16" fmla="*/ 2571750 w 5143500"/>
              <a:gd name="connsiteY16" fmla="*/ 1281117 h 6867386"/>
              <a:gd name="connsiteX17" fmla="*/ 2571750 w 5143500"/>
              <a:gd name="connsiteY17" fmla="*/ 1758584 h 6867386"/>
              <a:gd name="connsiteX18" fmla="*/ 4714875 w 5143500"/>
              <a:gd name="connsiteY18" fmla="*/ 2826203 h 6867386"/>
              <a:gd name="connsiteX19" fmla="*/ 4714875 w 5143500"/>
              <a:gd name="connsiteY19" fmla="*/ 3629875 h 6867386"/>
              <a:gd name="connsiteX20" fmla="*/ 2571750 w 5143500"/>
              <a:gd name="connsiteY20" fmla="*/ 2562256 h 6867386"/>
              <a:gd name="connsiteX21" fmla="*/ 2571750 w 5143500"/>
              <a:gd name="connsiteY21" fmla="*/ 3039723 h 6867386"/>
              <a:gd name="connsiteX22" fmla="*/ 4714875 w 5143500"/>
              <a:gd name="connsiteY22" fmla="*/ 4107321 h 6867386"/>
              <a:gd name="connsiteX23" fmla="*/ 4714875 w 5143500"/>
              <a:gd name="connsiteY23" fmla="*/ 4295637 h 6867386"/>
              <a:gd name="connsiteX24" fmla="*/ 4635579 w 5143500"/>
              <a:gd name="connsiteY24" fmla="*/ 4871516 h 6867386"/>
              <a:gd name="connsiteX25" fmla="*/ 2571750 w 5143500"/>
              <a:gd name="connsiteY25" fmla="*/ 3843373 h 6867386"/>
              <a:gd name="connsiteX26" fmla="*/ 2571750 w 5143500"/>
              <a:gd name="connsiteY26" fmla="*/ 4320840 h 6867386"/>
              <a:gd name="connsiteX27" fmla="*/ 4478103 w 5143500"/>
              <a:gd name="connsiteY27" fmla="*/ 5270523 h 6867386"/>
              <a:gd name="connsiteX28" fmla="*/ 4035504 w 5143500"/>
              <a:gd name="connsiteY28" fmla="*/ 5853689 h 6867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43500" h="6867386">
                <a:moveTo>
                  <a:pt x="2571750" y="0"/>
                </a:moveTo>
                <a:lnTo>
                  <a:pt x="0" y="1281139"/>
                </a:lnTo>
                <a:lnTo>
                  <a:pt x="0" y="4295637"/>
                </a:lnTo>
                <a:cubicBezTo>
                  <a:pt x="0" y="5715972"/>
                  <a:pt x="1151411" y="6867387"/>
                  <a:pt x="2571750" y="6867387"/>
                </a:cubicBezTo>
                <a:cubicBezTo>
                  <a:pt x="3992085" y="6867387"/>
                  <a:pt x="5143500" y="5715972"/>
                  <a:pt x="5143500" y="4295637"/>
                </a:cubicBezTo>
                <a:lnTo>
                  <a:pt x="5143500" y="1281139"/>
                </a:lnTo>
                <a:close/>
                <a:moveTo>
                  <a:pt x="4035504" y="5853689"/>
                </a:moveTo>
                <a:lnTo>
                  <a:pt x="2571750" y="5124512"/>
                </a:lnTo>
                <a:lnTo>
                  <a:pt x="2571750" y="5602022"/>
                </a:lnTo>
                <a:lnTo>
                  <a:pt x="3651049" y="6139689"/>
                </a:lnTo>
                <a:cubicBezTo>
                  <a:pt x="2627986" y="6735478"/>
                  <a:pt x="1315622" y="6389106"/>
                  <a:pt x="719835" y="5366042"/>
                </a:cubicBezTo>
                <a:cubicBezTo>
                  <a:pt x="530529" y="5040973"/>
                  <a:pt x="430097" y="4671798"/>
                  <a:pt x="428625" y="4295637"/>
                </a:cubicBezTo>
                <a:lnTo>
                  <a:pt x="428625" y="1545086"/>
                </a:lnTo>
                <a:lnTo>
                  <a:pt x="2571750" y="477467"/>
                </a:lnTo>
                <a:lnTo>
                  <a:pt x="4714875" y="1545086"/>
                </a:lnTo>
                <a:lnTo>
                  <a:pt x="4714875" y="2348758"/>
                </a:lnTo>
                <a:lnTo>
                  <a:pt x="2571750" y="1281117"/>
                </a:lnTo>
                <a:lnTo>
                  <a:pt x="2571750" y="1758584"/>
                </a:lnTo>
                <a:lnTo>
                  <a:pt x="4714875" y="2826203"/>
                </a:lnTo>
                <a:lnTo>
                  <a:pt x="4714875" y="3629875"/>
                </a:lnTo>
                <a:lnTo>
                  <a:pt x="2571750" y="2562256"/>
                </a:lnTo>
                <a:lnTo>
                  <a:pt x="2571750" y="3039723"/>
                </a:lnTo>
                <a:lnTo>
                  <a:pt x="4714875" y="4107321"/>
                </a:lnTo>
                <a:lnTo>
                  <a:pt x="4714875" y="4295637"/>
                </a:lnTo>
                <a:cubicBezTo>
                  <a:pt x="4714982" y="4490319"/>
                  <a:pt x="4688300" y="4684100"/>
                  <a:pt x="4635579" y="4871516"/>
                </a:cubicBezTo>
                <a:lnTo>
                  <a:pt x="2571750" y="3843373"/>
                </a:lnTo>
                <a:lnTo>
                  <a:pt x="2571750" y="4320840"/>
                </a:lnTo>
                <a:lnTo>
                  <a:pt x="4478103" y="5270523"/>
                </a:lnTo>
                <a:cubicBezTo>
                  <a:pt x="4365010" y="5488801"/>
                  <a:pt x="4215313" y="5686054"/>
                  <a:pt x="4035504" y="5853689"/>
                </a:cubicBezTo>
                <a:close/>
              </a:path>
            </a:pathLst>
          </a:custGeom>
          <a:solidFill>
            <a:schemeClr val="tx1"/>
          </a:solidFill>
          <a:ln w="21431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2091" name="TextBox 2090">
            <a:extLst>
              <a:ext uri="{FF2B5EF4-FFF2-40B4-BE49-F238E27FC236}">
                <a16:creationId xmlns:a16="http://schemas.microsoft.com/office/drawing/2014/main" id="{E7F1FF16-BD0E-E06D-45D0-1B802D48F9AF}"/>
              </a:ext>
            </a:extLst>
          </p:cNvPr>
          <p:cNvSpPr txBox="1"/>
          <p:nvPr/>
        </p:nvSpPr>
        <p:spPr>
          <a:xfrm>
            <a:off x="3394862" y="2745121"/>
            <a:ext cx="1112471" cy="276999"/>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effectLst/>
                <a:uLnTx/>
                <a:uFillTx/>
                <a:latin typeface="ES Build Neutral"/>
                <a:ea typeface="+mn-ea"/>
                <a:cs typeface="+mn-cs"/>
              </a:rPr>
              <a:t>IBM Security</a:t>
            </a:r>
            <a:endParaRPr kumimoji="0" lang="en-US" sz="1200" b="0" i="0" u="none" strike="noStrike" kern="1200" cap="none" spc="0" normalizeH="0" baseline="0" noProof="0">
              <a:ln>
                <a:noFill/>
              </a:ln>
              <a:effectLst/>
              <a:uLnTx/>
              <a:uFillTx/>
              <a:latin typeface="ES Build Neutral"/>
              <a:ea typeface="+mn-ea"/>
              <a:cs typeface="+mn-cs"/>
            </a:endParaRPr>
          </a:p>
        </p:txBody>
      </p:sp>
      <p:graphicFrame>
        <p:nvGraphicFramePr>
          <p:cNvPr id="13" name="Table 12">
            <a:extLst>
              <a:ext uri="{FF2B5EF4-FFF2-40B4-BE49-F238E27FC236}">
                <a16:creationId xmlns:a16="http://schemas.microsoft.com/office/drawing/2014/main" id="{1B5B7054-4539-F8B4-9481-733B2692B653}"/>
              </a:ext>
            </a:extLst>
          </p:cNvPr>
          <p:cNvGraphicFramePr>
            <a:graphicFrameLocks/>
          </p:cNvGraphicFramePr>
          <p:nvPr/>
        </p:nvGraphicFramePr>
        <p:xfrm>
          <a:off x="899658" y="1900647"/>
          <a:ext cx="10466840" cy="685800"/>
        </p:xfrm>
        <a:graphic>
          <a:graphicData uri="http://schemas.openxmlformats.org/drawingml/2006/table">
            <a:tbl>
              <a:tblPr firstRow="1" bandRow="1">
                <a:tableStyleId>{2D5ABB26-0587-4C30-8999-92F81FD0307C}</a:tableStyleId>
              </a:tblPr>
              <a:tblGrid>
                <a:gridCol w="2093368">
                  <a:extLst>
                    <a:ext uri="{9D8B030D-6E8A-4147-A177-3AD203B41FA5}">
                      <a16:colId xmlns:a16="http://schemas.microsoft.com/office/drawing/2014/main" val="322139273"/>
                    </a:ext>
                  </a:extLst>
                </a:gridCol>
                <a:gridCol w="2093368">
                  <a:extLst>
                    <a:ext uri="{9D8B030D-6E8A-4147-A177-3AD203B41FA5}">
                      <a16:colId xmlns:a16="http://schemas.microsoft.com/office/drawing/2014/main" val="2631259312"/>
                    </a:ext>
                  </a:extLst>
                </a:gridCol>
                <a:gridCol w="2093368">
                  <a:extLst>
                    <a:ext uri="{9D8B030D-6E8A-4147-A177-3AD203B41FA5}">
                      <a16:colId xmlns:a16="http://schemas.microsoft.com/office/drawing/2014/main" val="1142201371"/>
                    </a:ext>
                  </a:extLst>
                </a:gridCol>
                <a:gridCol w="2093368">
                  <a:extLst>
                    <a:ext uri="{9D8B030D-6E8A-4147-A177-3AD203B41FA5}">
                      <a16:colId xmlns:a16="http://schemas.microsoft.com/office/drawing/2014/main" val="2622360176"/>
                    </a:ext>
                  </a:extLst>
                </a:gridCol>
                <a:gridCol w="2093368">
                  <a:extLst>
                    <a:ext uri="{9D8B030D-6E8A-4147-A177-3AD203B41FA5}">
                      <a16:colId xmlns:a16="http://schemas.microsoft.com/office/drawing/2014/main" val="3538402106"/>
                    </a:ext>
                  </a:extLst>
                </a:gridCol>
              </a:tblGrid>
              <a:tr h="561339">
                <a:tc>
                  <a:txBody>
                    <a:bodyPr/>
                    <a:lstStyle/>
                    <a:p>
                      <a:pPr defTabSz="914377">
                        <a:spcAft>
                          <a:spcPts val="800"/>
                        </a:spcAft>
                        <a:defRPr/>
                      </a:pPr>
                      <a:r>
                        <a:rPr lang="en-US" sz="1400">
                          <a:solidFill>
                            <a:schemeClr val="accent2"/>
                          </a:solidFill>
                          <a:latin typeface="+mn-lt"/>
                        </a:rPr>
                        <a:t>Malware Detection &amp;</a:t>
                      </a:r>
                      <a:br>
                        <a:rPr lang="en-US" sz="1400">
                          <a:solidFill>
                            <a:schemeClr val="accent2"/>
                          </a:solidFill>
                          <a:latin typeface="+mn-lt"/>
                        </a:rPr>
                      </a:br>
                      <a:r>
                        <a:rPr lang="en-US" sz="1400">
                          <a:solidFill>
                            <a:schemeClr val="accent2"/>
                          </a:solidFill>
                          <a:latin typeface="+mn-lt"/>
                        </a:rPr>
                        <a:t>Secure Restore</a:t>
                      </a:r>
                    </a:p>
                  </a:txBody>
                  <a:tcPr marL="0" marT="0">
                    <a:lnL>
                      <a:noFill/>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chemeClr val="accent2"/>
                          </a:solidFill>
                          <a:latin typeface="+mn-lt"/>
                        </a:rPr>
                        <a:t>Key Management Systems</a:t>
                      </a:r>
                    </a:p>
                  </a:txBody>
                  <a:tcPr marL="182880" marT="0">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chemeClr val="accent2"/>
                          </a:solidFill>
                          <a:latin typeface="+mn-lt"/>
                        </a:rPr>
                        <a:t>Security Incident and Event Management</a:t>
                      </a:r>
                    </a:p>
                  </a:txBody>
                  <a:tcPr marL="182880" marT="0">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chemeClr val="accent2"/>
                          </a:solidFill>
                          <a:latin typeface="+mn-lt"/>
                        </a:rPr>
                        <a:t>Security Orchestration, </a:t>
                      </a:r>
                      <a:br>
                        <a:rPr lang="en-US" sz="1400">
                          <a:solidFill>
                            <a:schemeClr val="accent2"/>
                          </a:solidFill>
                          <a:latin typeface="+mn-lt"/>
                        </a:rPr>
                      </a:br>
                      <a:r>
                        <a:rPr lang="en-US" sz="1400">
                          <a:solidFill>
                            <a:schemeClr val="accent2"/>
                          </a:solidFill>
                          <a:latin typeface="+mn-lt"/>
                        </a:rPr>
                        <a:t>Automation </a:t>
                      </a:r>
                      <a:br>
                        <a:rPr lang="ru-RU" sz="1400">
                          <a:solidFill>
                            <a:schemeClr val="accent2"/>
                          </a:solidFill>
                          <a:latin typeface="+mn-lt"/>
                        </a:rPr>
                      </a:br>
                      <a:r>
                        <a:rPr lang="en-US" sz="1400">
                          <a:solidFill>
                            <a:schemeClr val="accent2"/>
                          </a:solidFill>
                          <a:latin typeface="+mn-lt"/>
                        </a:rPr>
                        <a:t>&amp;  Response</a:t>
                      </a:r>
                    </a:p>
                  </a:txBody>
                  <a:tcPr marL="182880" marT="0">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chemeClr val="accent2"/>
                          </a:solidFill>
                          <a:latin typeface="+mn-lt"/>
                        </a:rPr>
                        <a:t>Others</a:t>
                      </a:r>
                    </a:p>
                  </a:txBody>
                  <a:tcPr marL="182880" marT="0">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340274495"/>
                  </a:ext>
                </a:extLst>
              </a:tr>
            </a:tbl>
          </a:graphicData>
        </a:graphic>
      </p:graphicFrame>
      <p:sp>
        <p:nvSpPr>
          <p:cNvPr id="16" name="TextBox 15">
            <a:extLst>
              <a:ext uri="{FF2B5EF4-FFF2-40B4-BE49-F238E27FC236}">
                <a16:creationId xmlns:a16="http://schemas.microsoft.com/office/drawing/2014/main" id="{7693DBB2-FDD1-CD82-0151-8AFCA20EF96B}"/>
              </a:ext>
            </a:extLst>
          </p:cNvPr>
          <p:cNvSpPr txBox="1"/>
          <p:nvPr/>
        </p:nvSpPr>
        <p:spPr>
          <a:xfrm>
            <a:off x="816428" y="1328450"/>
            <a:ext cx="6117770" cy="400110"/>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800"/>
              </a:spcAft>
              <a:buClrTx/>
              <a:buSzTx/>
              <a:buFontTx/>
              <a:buNone/>
              <a:tabLst/>
              <a:defRPr/>
            </a:pPr>
            <a:r>
              <a:rPr kumimoji="0" lang="en-US" sz="2000" b="0" i="0" u="none" strike="noStrike" kern="1200" cap="none" spc="0" normalizeH="0" baseline="0" noProof="0">
                <a:ln>
                  <a:noFill/>
                </a:ln>
                <a:effectLst/>
                <a:uLnTx/>
                <a:uFillTx/>
                <a:latin typeface="ES Build Neutral"/>
                <a:ea typeface="+mn-ea"/>
                <a:cs typeface="+mn-cs"/>
              </a:rPr>
              <a:t>Security</a:t>
            </a:r>
          </a:p>
        </p:txBody>
      </p:sp>
      <p:grpSp>
        <p:nvGrpSpPr>
          <p:cNvPr id="20" name="Graphic 3">
            <a:extLst>
              <a:ext uri="{FF2B5EF4-FFF2-40B4-BE49-F238E27FC236}">
                <a16:creationId xmlns:a16="http://schemas.microsoft.com/office/drawing/2014/main" id="{D17982AA-82BC-2624-8B85-605F93327ECE}"/>
              </a:ext>
            </a:extLst>
          </p:cNvPr>
          <p:cNvGrpSpPr>
            <a:grpSpLocks noChangeAspect="1"/>
          </p:cNvGrpSpPr>
          <p:nvPr/>
        </p:nvGrpSpPr>
        <p:grpSpPr>
          <a:xfrm>
            <a:off x="3203640" y="4247922"/>
            <a:ext cx="358279" cy="214490"/>
            <a:chOff x="5482225" y="4888484"/>
            <a:chExt cx="194354" cy="116353"/>
          </a:xfrm>
          <a:solidFill>
            <a:schemeClr val="tx1"/>
          </a:solidFill>
        </p:grpSpPr>
        <p:sp>
          <p:nvSpPr>
            <p:cNvPr id="21" name="Freeform 20">
              <a:extLst>
                <a:ext uri="{FF2B5EF4-FFF2-40B4-BE49-F238E27FC236}">
                  <a16:creationId xmlns:a16="http://schemas.microsoft.com/office/drawing/2014/main" id="{1E00D48E-6998-E35E-CC99-A3850E2F58FA}"/>
                </a:ext>
              </a:extLst>
            </p:cNvPr>
            <p:cNvSpPr/>
            <p:nvPr/>
          </p:nvSpPr>
          <p:spPr>
            <a:xfrm>
              <a:off x="5482225" y="4964643"/>
              <a:ext cx="176522" cy="40194"/>
            </a:xfrm>
            <a:custGeom>
              <a:avLst/>
              <a:gdLst>
                <a:gd name="connsiteX0" fmla="*/ 96158 w 176522"/>
                <a:gd name="connsiteY0" fmla="*/ 40115 h 40194"/>
                <a:gd name="connsiteX1" fmla="*/ 5972 w 176522"/>
                <a:gd name="connsiteY1" fmla="*/ 7444 h 40194"/>
                <a:gd name="connsiteX2" fmla="*/ 1260 w 176522"/>
                <a:gd name="connsiteY2" fmla="*/ 3283 h 40194"/>
                <a:gd name="connsiteX3" fmla="*/ 343 w 176522"/>
                <a:gd name="connsiteY3" fmla="*/ 591 h 40194"/>
                <a:gd name="connsiteX4" fmla="*/ 3218 w 176522"/>
                <a:gd name="connsiteY4" fmla="*/ 714 h 40194"/>
                <a:gd name="connsiteX5" fmla="*/ 41214 w 176522"/>
                <a:gd name="connsiteY5" fmla="*/ 17539 h 40194"/>
                <a:gd name="connsiteX6" fmla="*/ 72846 w 176522"/>
                <a:gd name="connsiteY6" fmla="*/ 24636 h 40194"/>
                <a:gd name="connsiteX7" fmla="*/ 101359 w 176522"/>
                <a:gd name="connsiteY7" fmla="*/ 26472 h 40194"/>
                <a:gd name="connsiteX8" fmla="*/ 170314 w 176522"/>
                <a:gd name="connsiteY8" fmla="*/ 11910 h 40194"/>
                <a:gd name="connsiteX9" fmla="*/ 172516 w 176522"/>
                <a:gd name="connsiteY9" fmla="*/ 10992 h 40194"/>
                <a:gd name="connsiteX10" fmla="*/ 174597 w 176522"/>
                <a:gd name="connsiteY10" fmla="*/ 10870 h 40194"/>
                <a:gd name="connsiteX11" fmla="*/ 176249 w 176522"/>
                <a:gd name="connsiteY11" fmla="*/ 12094 h 40194"/>
                <a:gd name="connsiteX12" fmla="*/ 176371 w 176522"/>
                <a:gd name="connsiteY12" fmla="*/ 14174 h 40194"/>
                <a:gd name="connsiteX13" fmla="*/ 175025 w 176522"/>
                <a:gd name="connsiteY13" fmla="*/ 15765 h 40194"/>
                <a:gd name="connsiteX14" fmla="*/ 159545 w 176522"/>
                <a:gd name="connsiteY14" fmla="*/ 25309 h 40194"/>
                <a:gd name="connsiteX15" fmla="*/ 117878 w 176522"/>
                <a:gd name="connsiteY15" fmla="*/ 38586 h 40194"/>
                <a:gd name="connsiteX16" fmla="*/ 96035 w 176522"/>
                <a:gd name="connsiteY16" fmla="*/ 40177 h 40194"/>
                <a:gd name="connsiteX17" fmla="*/ 96158 w 176522"/>
                <a:gd name="connsiteY17" fmla="*/ 40177 h 40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6522" h="40194">
                  <a:moveTo>
                    <a:pt x="96158" y="40115"/>
                  </a:moveTo>
                  <a:cubicBezTo>
                    <a:pt x="63179" y="40299"/>
                    <a:pt x="31180" y="28674"/>
                    <a:pt x="5972" y="7444"/>
                  </a:cubicBezTo>
                  <a:cubicBezTo>
                    <a:pt x="4381" y="6098"/>
                    <a:pt x="2851" y="4691"/>
                    <a:pt x="1260" y="3283"/>
                  </a:cubicBezTo>
                  <a:cubicBezTo>
                    <a:pt x="404" y="2549"/>
                    <a:pt x="-514" y="1632"/>
                    <a:pt x="343" y="591"/>
                  </a:cubicBezTo>
                  <a:cubicBezTo>
                    <a:pt x="1199" y="-510"/>
                    <a:pt x="2300" y="163"/>
                    <a:pt x="3218" y="714"/>
                  </a:cubicBezTo>
                  <a:cubicBezTo>
                    <a:pt x="15210" y="7750"/>
                    <a:pt x="27998" y="13440"/>
                    <a:pt x="41214" y="17539"/>
                  </a:cubicBezTo>
                  <a:cubicBezTo>
                    <a:pt x="51554" y="20782"/>
                    <a:pt x="62139" y="23168"/>
                    <a:pt x="72846" y="24636"/>
                  </a:cubicBezTo>
                  <a:cubicBezTo>
                    <a:pt x="82269" y="25982"/>
                    <a:pt x="91814" y="26594"/>
                    <a:pt x="101359" y="26472"/>
                  </a:cubicBezTo>
                  <a:cubicBezTo>
                    <a:pt x="125037" y="25982"/>
                    <a:pt x="148471" y="21026"/>
                    <a:pt x="170314" y="11910"/>
                  </a:cubicBezTo>
                  <a:cubicBezTo>
                    <a:pt x="171048" y="11604"/>
                    <a:pt x="171782" y="11298"/>
                    <a:pt x="172516" y="10992"/>
                  </a:cubicBezTo>
                  <a:cubicBezTo>
                    <a:pt x="173128" y="10687"/>
                    <a:pt x="173862" y="10625"/>
                    <a:pt x="174597" y="10870"/>
                  </a:cubicBezTo>
                  <a:cubicBezTo>
                    <a:pt x="175331" y="11115"/>
                    <a:pt x="175820" y="11482"/>
                    <a:pt x="176249" y="12094"/>
                  </a:cubicBezTo>
                  <a:cubicBezTo>
                    <a:pt x="176555" y="12767"/>
                    <a:pt x="176616" y="13501"/>
                    <a:pt x="176371" y="14174"/>
                  </a:cubicBezTo>
                  <a:cubicBezTo>
                    <a:pt x="176187" y="14847"/>
                    <a:pt x="175698" y="15398"/>
                    <a:pt x="175025" y="15765"/>
                  </a:cubicBezTo>
                  <a:cubicBezTo>
                    <a:pt x="169885" y="19007"/>
                    <a:pt x="164929" y="22495"/>
                    <a:pt x="159545" y="25309"/>
                  </a:cubicBezTo>
                  <a:cubicBezTo>
                    <a:pt x="146513" y="31978"/>
                    <a:pt x="132440" y="36506"/>
                    <a:pt x="117878" y="38586"/>
                  </a:cubicBezTo>
                  <a:cubicBezTo>
                    <a:pt x="110659" y="39810"/>
                    <a:pt x="103378" y="40299"/>
                    <a:pt x="96035" y="40177"/>
                  </a:cubicBezTo>
                  <a:lnTo>
                    <a:pt x="96158" y="40177"/>
                  </a:lnTo>
                  <a:close/>
                </a:path>
              </a:pathLst>
            </a:custGeom>
            <a:grpFill/>
            <a:ln w="0"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B394FBE3-96E1-E148-56DA-0090858C87F3}"/>
                </a:ext>
              </a:extLst>
            </p:cNvPr>
            <p:cNvSpPr/>
            <p:nvPr/>
          </p:nvSpPr>
          <p:spPr>
            <a:xfrm>
              <a:off x="5542786" y="4890286"/>
              <a:ext cx="78282" cy="57205"/>
            </a:xfrm>
            <a:custGeom>
              <a:avLst/>
              <a:gdLst>
                <a:gd name="connsiteX0" fmla="*/ 55910 w 78282"/>
                <a:gd name="connsiteY0" fmla="*/ 45704 h 57205"/>
                <a:gd name="connsiteX1" fmla="*/ 58297 w 78282"/>
                <a:gd name="connsiteY1" fmla="*/ 36771 h 57205"/>
                <a:gd name="connsiteX2" fmla="*/ 66740 w 78282"/>
                <a:gd name="connsiteY2" fmla="*/ 4100 h 57205"/>
                <a:gd name="connsiteX3" fmla="*/ 72063 w 78282"/>
                <a:gd name="connsiteY3" fmla="*/ 0 h 57205"/>
                <a:gd name="connsiteX4" fmla="*/ 76407 w 78282"/>
                <a:gd name="connsiteY4" fmla="*/ 0 h 57205"/>
                <a:gd name="connsiteX5" fmla="*/ 78243 w 78282"/>
                <a:gd name="connsiteY5" fmla="*/ 2142 h 57205"/>
                <a:gd name="connsiteX6" fmla="*/ 77815 w 78282"/>
                <a:gd name="connsiteY6" fmla="*/ 3855 h 57205"/>
                <a:gd name="connsiteX7" fmla="*/ 62212 w 78282"/>
                <a:gd name="connsiteY7" fmla="*/ 53719 h 57205"/>
                <a:gd name="connsiteX8" fmla="*/ 57624 w 78282"/>
                <a:gd name="connsiteY8" fmla="*/ 57145 h 57205"/>
                <a:gd name="connsiteX9" fmla="*/ 53096 w 78282"/>
                <a:gd name="connsiteY9" fmla="*/ 57145 h 57205"/>
                <a:gd name="connsiteX10" fmla="*/ 48997 w 78282"/>
                <a:gd name="connsiteY10" fmla="*/ 53841 h 57205"/>
                <a:gd name="connsiteX11" fmla="*/ 40002 w 78282"/>
                <a:gd name="connsiteY11" fmla="*/ 16825 h 57205"/>
                <a:gd name="connsiteX12" fmla="*/ 38718 w 78282"/>
                <a:gd name="connsiteY12" fmla="*/ 12849 h 57205"/>
                <a:gd name="connsiteX13" fmla="*/ 34802 w 78282"/>
                <a:gd name="connsiteY13" fmla="*/ 29123 h 57205"/>
                <a:gd name="connsiteX14" fmla="*/ 28928 w 78282"/>
                <a:gd name="connsiteY14" fmla="*/ 53657 h 57205"/>
                <a:gd name="connsiteX15" fmla="*/ 24461 w 78282"/>
                <a:gd name="connsiteY15" fmla="*/ 57206 h 57205"/>
                <a:gd name="connsiteX16" fmla="*/ 20423 w 78282"/>
                <a:gd name="connsiteY16" fmla="*/ 57206 h 57205"/>
                <a:gd name="connsiteX17" fmla="*/ 15529 w 78282"/>
                <a:gd name="connsiteY17" fmla="*/ 53535 h 57205"/>
                <a:gd name="connsiteX18" fmla="*/ 2313 w 78282"/>
                <a:gd name="connsiteY18" fmla="*/ 9973 h 57205"/>
                <a:gd name="connsiteX19" fmla="*/ 232 w 78282"/>
                <a:gd name="connsiteY19" fmla="*/ 2876 h 57205"/>
                <a:gd name="connsiteX20" fmla="*/ 2435 w 78282"/>
                <a:gd name="connsiteY20" fmla="*/ 0 h 57205"/>
                <a:gd name="connsiteX21" fmla="*/ 7085 w 78282"/>
                <a:gd name="connsiteY21" fmla="*/ 0 h 57205"/>
                <a:gd name="connsiteX22" fmla="*/ 11796 w 78282"/>
                <a:gd name="connsiteY22" fmla="*/ 3794 h 57205"/>
                <a:gd name="connsiteX23" fmla="*/ 16691 w 78282"/>
                <a:gd name="connsiteY23" fmla="*/ 23127 h 57205"/>
                <a:gd name="connsiteX24" fmla="*/ 22626 w 78282"/>
                <a:gd name="connsiteY24" fmla="*/ 45153 h 57205"/>
                <a:gd name="connsiteX25" fmla="*/ 23115 w 78282"/>
                <a:gd name="connsiteY25" fmla="*/ 43317 h 57205"/>
                <a:gd name="connsiteX26" fmla="*/ 32477 w 78282"/>
                <a:gd name="connsiteY26" fmla="*/ 3732 h 57205"/>
                <a:gd name="connsiteX27" fmla="*/ 37066 w 78282"/>
                <a:gd name="connsiteY27" fmla="*/ 61 h 57205"/>
                <a:gd name="connsiteX28" fmla="*/ 41716 w 78282"/>
                <a:gd name="connsiteY28" fmla="*/ 61 h 57205"/>
                <a:gd name="connsiteX29" fmla="*/ 45325 w 78282"/>
                <a:gd name="connsiteY29" fmla="*/ 2998 h 57205"/>
                <a:gd name="connsiteX30" fmla="*/ 48874 w 78282"/>
                <a:gd name="connsiteY30" fmla="*/ 17866 h 57205"/>
                <a:gd name="connsiteX31" fmla="*/ 55421 w 78282"/>
                <a:gd name="connsiteY31" fmla="*/ 45704 h 57205"/>
                <a:gd name="connsiteX32" fmla="*/ 55788 w 78282"/>
                <a:gd name="connsiteY32" fmla="*/ 45826 h 57205"/>
                <a:gd name="connsiteX33" fmla="*/ 55910 w 78282"/>
                <a:gd name="connsiteY33" fmla="*/ 45826 h 57205"/>
                <a:gd name="connsiteX34" fmla="*/ 55910 w 78282"/>
                <a:gd name="connsiteY34" fmla="*/ 45704 h 57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78282" h="57205">
                  <a:moveTo>
                    <a:pt x="55910" y="45704"/>
                  </a:moveTo>
                  <a:cubicBezTo>
                    <a:pt x="56706" y="42706"/>
                    <a:pt x="57501" y="39769"/>
                    <a:pt x="58297" y="36771"/>
                  </a:cubicBezTo>
                  <a:cubicBezTo>
                    <a:pt x="61111" y="25881"/>
                    <a:pt x="63926" y="14990"/>
                    <a:pt x="66740" y="4100"/>
                  </a:cubicBezTo>
                  <a:cubicBezTo>
                    <a:pt x="67719" y="428"/>
                    <a:pt x="68209" y="0"/>
                    <a:pt x="72063" y="0"/>
                  </a:cubicBezTo>
                  <a:lnTo>
                    <a:pt x="76407" y="0"/>
                  </a:lnTo>
                  <a:cubicBezTo>
                    <a:pt x="77998" y="0"/>
                    <a:pt x="78426" y="612"/>
                    <a:pt x="78243" y="2142"/>
                  </a:cubicBezTo>
                  <a:cubicBezTo>
                    <a:pt x="78182" y="2753"/>
                    <a:pt x="78059" y="3304"/>
                    <a:pt x="77815" y="3855"/>
                  </a:cubicBezTo>
                  <a:cubicBezTo>
                    <a:pt x="72614" y="20435"/>
                    <a:pt x="67413" y="37077"/>
                    <a:pt x="62212" y="53719"/>
                  </a:cubicBezTo>
                  <a:cubicBezTo>
                    <a:pt x="61295" y="56655"/>
                    <a:pt x="60683" y="57145"/>
                    <a:pt x="57624" y="57145"/>
                  </a:cubicBezTo>
                  <a:lnTo>
                    <a:pt x="53096" y="57145"/>
                  </a:lnTo>
                  <a:cubicBezTo>
                    <a:pt x="50343" y="57145"/>
                    <a:pt x="49670" y="56533"/>
                    <a:pt x="48997" y="53841"/>
                  </a:cubicBezTo>
                  <a:cubicBezTo>
                    <a:pt x="45937" y="41482"/>
                    <a:pt x="43000" y="29184"/>
                    <a:pt x="40002" y="16825"/>
                  </a:cubicBezTo>
                  <a:cubicBezTo>
                    <a:pt x="39696" y="15479"/>
                    <a:pt x="39268" y="14133"/>
                    <a:pt x="38718" y="12849"/>
                  </a:cubicBezTo>
                  <a:cubicBezTo>
                    <a:pt x="37433" y="18294"/>
                    <a:pt x="36087" y="23678"/>
                    <a:pt x="34802" y="29123"/>
                  </a:cubicBezTo>
                  <a:cubicBezTo>
                    <a:pt x="32844" y="37322"/>
                    <a:pt x="30886" y="45459"/>
                    <a:pt x="28928" y="53657"/>
                  </a:cubicBezTo>
                  <a:cubicBezTo>
                    <a:pt x="28255" y="56594"/>
                    <a:pt x="27521" y="57145"/>
                    <a:pt x="24461" y="57206"/>
                  </a:cubicBezTo>
                  <a:lnTo>
                    <a:pt x="20423" y="57206"/>
                  </a:lnTo>
                  <a:cubicBezTo>
                    <a:pt x="17058" y="57206"/>
                    <a:pt x="16507" y="56778"/>
                    <a:pt x="15529" y="53535"/>
                  </a:cubicBezTo>
                  <a:cubicBezTo>
                    <a:pt x="11123" y="39035"/>
                    <a:pt x="6718" y="24473"/>
                    <a:pt x="2313" y="9973"/>
                  </a:cubicBezTo>
                  <a:cubicBezTo>
                    <a:pt x="1578" y="7587"/>
                    <a:pt x="844" y="5262"/>
                    <a:pt x="232" y="2876"/>
                  </a:cubicBezTo>
                  <a:cubicBezTo>
                    <a:pt x="-380" y="673"/>
                    <a:pt x="171" y="0"/>
                    <a:pt x="2435" y="0"/>
                  </a:cubicBezTo>
                  <a:lnTo>
                    <a:pt x="7085" y="0"/>
                  </a:lnTo>
                  <a:cubicBezTo>
                    <a:pt x="10328" y="0"/>
                    <a:pt x="11001" y="551"/>
                    <a:pt x="11796" y="3794"/>
                  </a:cubicBezTo>
                  <a:cubicBezTo>
                    <a:pt x="13448" y="10218"/>
                    <a:pt x="15039" y="16703"/>
                    <a:pt x="16691" y="23127"/>
                  </a:cubicBezTo>
                  <a:cubicBezTo>
                    <a:pt x="18588" y="30408"/>
                    <a:pt x="20423" y="37750"/>
                    <a:pt x="22626" y="45153"/>
                  </a:cubicBezTo>
                  <a:cubicBezTo>
                    <a:pt x="22809" y="44541"/>
                    <a:pt x="22993" y="43929"/>
                    <a:pt x="23115" y="43317"/>
                  </a:cubicBezTo>
                  <a:cubicBezTo>
                    <a:pt x="26236" y="30102"/>
                    <a:pt x="29356" y="16948"/>
                    <a:pt x="32477" y="3732"/>
                  </a:cubicBezTo>
                  <a:cubicBezTo>
                    <a:pt x="33272" y="551"/>
                    <a:pt x="33823" y="61"/>
                    <a:pt x="37066" y="61"/>
                  </a:cubicBezTo>
                  <a:lnTo>
                    <a:pt x="41716" y="61"/>
                  </a:lnTo>
                  <a:cubicBezTo>
                    <a:pt x="44041" y="184"/>
                    <a:pt x="44775" y="673"/>
                    <a:pt x="45325" y="2998"/>
                  </a:cubicBezTo>
                  <a:cubicBezTo>
                    <a:pt x="46549" y="7954"/>
                    <a:pt x="47712" y="12910"/>
                    <a:pt x="48874" y="17866"/>
                  </a:cubicBezTo>
                  <a:cubicBezTo>
                    <a:pt x="51077" y="27104"/>
                    <a:pt x="53279" y="36404"/>
                    <a:pt x="55421" y="45704"/>
                  </a:cubicBezTo>
                  <a:lnTo>
                    <a:pt x="55788" y="45826"/>
                  </a:lnTo>
                  <a:lnTo>
                    <a:pt x="55910" y="45826"/>
                  </a:lnTo>
                  <a:lnTo>
                    <a:pt x="55910" y="45704"/>
                  </a:lnTo>
                  <a:close/>
                </a:path>
              </a:pathLst>
            </a:custGeom>
            <a:grpFill/>
            <a:ln w="0"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7878B56-A5D6-9B91-25CF-9F3EBD673D1D}"/>
                </a:ext>
              </a:extLst>
            </p:cNvPr>
            <p:cNvSpPr/>
            <p:nvPr/>
          </p:nvSpPr>
          <p:spPr>
            <a:xfrm>
              <a:off x="5489734" y="4888709"/>
              <a:ext cx="49966" cy="60229"/>
            </a:xfrm>
            <a:custGeom>
              <a:avLst/>
              <a:gdLst>
                <a:gd name="connsiteX0" fmla="*/ 36765 w 49966"/>
                <a:gd name="connsiteY0" fmla="*/ 51196 h 60229"/>
                <a:gd name="connsiteX1" fmla="*/ 34073 w 49966"/>
                <a:gd name="connsiteY1" fmla="*/ 54010 h 60229"/>
                <a:gd name="connsiteX2" fmla="*/ 24100 w 49966"/>
                <a:gd name="connsiteY2" fmla="*/ 59455 h 60229"/>
                <a:gd name="connsiteX3" fmla="*/ 12780 w 49966"/>
                <a:gd name="connsiteY3" fmla="*/ 59578 h 60229"/>
                <a:gd name="connsiteX4" fmla="*/ 7090 w 49966"/>
                <a:gd name="connsiteY4" fmla="*/ 57253 h 60229"/>
                <a:gd name="connsiteX5" fmla="*/ 2685 w 49966"/>
                <a:gd name="connsiteY5" fmla="*/ 52909 h 60229"/>
                <a:gd name="connsiteX6" fmla="*/ 299 w 49966"/>
                <a:gd name="connsiteY6" fmla="*/ 47219 h 60229"/>
                <a:gd name="connsiteX7" fmla="*/ 299 w 49966"/>
                <a:gd name="connsiteY7" fmla="*/ 41039 h 60229"/>
                <a:gd name="connsiteX8" fmla="*/ 5683 w 49966"/>
                <a:gd name="connsiteY8" fmla="*/ 30271 h 60229"/>
                <a:gd name="connsiteX9" fmla="*/ 16757 w 49966"/>
                <a:gd name="connsiteY9" fmla="*/ 25376 h 60229"/>
                <a:gd name="connsiteX10" fmla="*/ 34134 w 49966"/>
                <a:gd name="connsiteY10" fmla="*/ 26478 h 60229"/>
                <a:gd name="connsiteX11" fmla="*/ 36092 w 49966"/>
                <a:gd name="connsiteY11" fmla="*/ 26845 h 60229"/>
                <a:gd name="connsiteX12" fmla="*/ 34256 w 49966"/>
                <a:gd name="connsiteY12" fmla="*/ 13385 h 60229"/>
                <a:gd name="connsiteX13" fmla="*/ 30463 w 49966"/>
                <a:gd name="connsiteY13" fmla="*/ 9959 h 60229"/>
                <a:gd name="connsiteX14" fmla="*/ 25507 w 49966"/>
                <a:gd name="connsiteY14" fmla="*/ 8857 h 60229"/>
                <a:gd name="connsiteX15" fmla="*/ 8253 w 49966"/>
                <a:gd name="connsiteY15" fmla="*/ 11916 h 60229"/>
                <a:gd name="connsiteX16" fmla="*/ 3909 w 49966"/>
                <a:gd name="connsiteY16" fmla="*/ 9041 h 60229"/>
                <a:gd name="connsiteX17" fmla="*/ 4704 w 49966"/>
                <a:gd name="connsiteY17" fmla="*/ 5553 h 60229"/>
                <a:gd name="connsiteX18" fmla="*/ 7580 w 49966"/>
                <a:gd name="connsiteY18" fmla="*/ 3473 h 60229"/>
                <a:gd name="connsiteX19" fmla="*/ 31381 w 49966"/>
                <a:gd name="connsiteY19" fmla="*/ 536 h 60229"/>
                <a:gd name="connsiteX20" fmla="*/ 42088 w 49966"/>
                <a:gd name="connsiteY20" fmla="*/ 5982 h 60229"/>
                <a:gd name="connsiteX21" fmla="*/ 46432 w 49966"/>
                <a:gd name="connsiteY21" fmla="*/ 17178 h 60229"/>
                <a:gd name="connsiteX22" fmla="*/ 46677 w 49966"/>
                <a:gd name="connsiteY22" fmla="*/ 40550 h 60229"/>
                <a:gd name="connsiteX23" fmla="*/ 49430 w 49966"/>
                <a:gd name="connsiteY23" fmla="*/ 52297 h 60229"/>
                <a:gd name="connsiteX24" fmla="*/ 48573 w 49966"/>
                <a:gd name="connsiteY24" fmla="*/ 55846 h 60229"/>
                <a:gd name="connsiteX25" fmla="*/ 44719 w 49966"/>
                <a:gd name="connsiteY25" fmla="*/ 58415 h 60229"/>
                <a:gd name="connsiteX26" fmla="*/ 43801 w 49966"/>
                <a:gd name="connsiteY26" fmla="*/ 58905 h 60229"/>
                <a:gd name="connsiteX27" fmla="*/ 42761 w 49966"/>
                <a:gd name="connsiteY27" fmla="*/ 58966 h 60229"/>
                <a:gd name="connsiteX28" fmla="*/ 41782 w 49966"/>
                <a:gd name="connsiteY28" fmla="*/ 58599 h 60229"/>
                <a:gd name="connsiteX29" fmla="*/ 40987 w 49966"/>
                <a:gd name="connsiteY29" fmla="*/ 57926 h 60229"/>
                <a:gd name="connsiteX30" fmla="*/ 37805 w 49966"/>
                <a:gd name="connsiteY30" fmla="*/ 53276 h 60229"/>
                <a:gd name="connsiteX31" fmla="*/ 36642 w 49966"/>
                <a:gd name="connsiteY31" fmla="*/ 51318 h 60229"/>
                <a:gd name="connsiteX32" fmla="*/ 36765 w 49966"/>
                <a:gd name="connsiteY32" fmla="*/ 51196 h 60229"/>
                <a:gd name="connsiteX33" fmla="*/ 36765 w 49966"/>
                <a:gd name="connsiteY33" fmla="*/ 51196 h 60229"/>
                <a:gd name="connsiteX34" fmla="*/ 24956 w 49966"/>
                <a:gd name="connsiteY34" fmla="*/ 32290 h 60229"/>
                <a:gd name="connsiteX35" fmla="*/ 24956 w 49966"/>
                <a:gd name="connsiteY35" fmla="*/ 32413 h 60229"/>
                <a:gd name="connsiteX36" fmla="*/ 20734 w 49966"/>
                <a:gd name="connsiteY36" fmla="*/ 32718 h 60229"/>
                <a:gd name="connsiteX37" fmla="*/ 16329 w 49966"/>
                <a:gd name="connsiteY37" fmla="*/ 33881 h 60229"/>
                <a:gd name="connsiteX38" fmla="*/ 12903 w 49966"/>
                <a:gd name="connsiteY38" fmla="*/ 36940 h 60229"/>
                <a:gd name="connsiteX39" fmla="*/ 11251 w 49966"/>
                <a:gd name="connsiteY39" fmla="*/ 41223 h 60229"/>
                <a:gd name="connsiteX40" fmla="*/ 11679 w 49966"/>
                <a:gd name="connsiteY40" fmla="*/ 45812 h 60229"/>
                <a:gd name="connsiteX41" fmla="*/ 13637 w 49966"/>
                <a:gd name="connsiteY41" fmla="*/ 49544 h 60229"/>
                <a:gd name="connsiteX42" fmla="*/ 17369 w 49966"/>
                <a:gd name="connsiteY42" fmla="*/ 51440 h 60229"/>
                <a:gd name="connsiteX43" fmla="*/ 24773 w 49966"/>
                <a:gd name="connsiteY43" fmla="*/ 51440 h 60229"/>
                <a:gd name="connsiteX44" fmla="*/ 31503 w 49966"/>
                <a:gd name="connsiteY44" fmla="*/ 48259 h 60229"/>
                <a:gd name="connsiteX45" fmla="*/ 34501 w 49966"/>
                <a:gd name="connsiteY45" fmla="*/ 44894 h 60229"/>
                <a:gd name="connsiteX46" fmla="*/ 35847 w 49966"/>
                <a:gd name="connsiteY46" fmla="*/ 40611 h 60229"/>
                <a:gd name="connsiteX47" fmla="*/ 36214 w 49966"/>
                <a:gd name="connsiteY47" fmla="*/ 35472 h 60229"/>
                <a:gd name="connsiteX48" fmla="*/ 34746 w 49966"/>
                <a:gd name="connsiteY48" fmla="*/ 33697 h 60229"/>
                <a:gd name="connsiteX49" fmla="*/ 24895 w 49966"/>
                <a:gd name="connsiteY49" fmla="*/ 32351 h 60229"/>
                <a:gd name="connsiteX50" fmla="*/ 24895 w 49966"/>
                <a:gd name="connsiteY50" fmla="*/ 32351 h 60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9966" h="60229">
                  <a:moveTo>
                    <a:pt x="36765" y="51196"/>
                  </a:moveTo>
                  <a:cubicBezTo>
                    <a:pt x="35786" y="52236"/>
                    <a:pt x="34990" y="53154"/>
                    <a:pt x="34073" y="54010"/>
                  </a:cubicBezTo>
                  <a:cubicBezTo>
                    <a:pt x="31258" y="56641"/>
                    <a:pt x="27832" y="58476"/>
                    <a:pt x="24100" y="59455"/>
                  </a:cubicBezTo>
                  <a:cubicBezTo>
                    <a:pt x="20367" y="60434"/>
                    <a:pt x="16513" y="60495"/>
                    <a:pt x="12780" y="59578"/>
                  </a:cubicBezTo>
                  <a:cubicBezTo>
                    <a:pt x="10700" y="59211"/>
                    <a:pt x="8803" y="58415"/>
                    <a:pt x="7090" y="57253"/>
                  </a:cubicBezTo>
                  <a:cubicBezTo>
                    <a:pt x="5377" y="56090"/>
                    <a:pt x="3847" y="54622"/>
                    <a:pt x="2685" y="52909"/>
                  </a:cubicBezTo>
                  <a:cubicBezTo>
                    <a:pt x="1522" y="51196"/>
                    <a:pt x="727" y="49238"/>
                    <a:pt x="299" y="47219"/>
                  </a:cubicBezTo>
                  <a:cubicBezTo>
                    <a:pt x="-130" y="45139"/>
                    <a:pt x="-68" y="43058"/>
                    <a:pt x="299" y="41039"/>
                  </a:cubicBezTo>
                  <a:cubicBezTo>
                    <a:pt x="788" y="36940"/>
                    <a:pt x="2685" y="33086"/>
                    <a:pt x="5683" y="30271"/>
                  </a:cubicBezTo>
                  <a:cubicBezTo>
                    <a:pt x="8681" y="27396"/>
                    <a:pt x="12597" y="25682"/>
                    <a:pt x="16757" y="25376"/>
                  </a:cubicBezTo>
                  <a:cubicBezTo>
                    <a:pt x="22570" y="24765"/>
                    <a:pt x="28444" y="25132"/>
                    <a:pt x="34134" y="26478"/>
                  </a:cubicBezTo>
                  <a:lnTo>
                    <a:pt x="36092" y="26845"/>
                  </a:lnTo>
                  <a:cubicBezTo>
                    <a:pt x="36704" y="22256"/>
                    <a:pt x="36092" y="17667"/>
                    <a:pt x="34256" y="13385"/>
                  </a:cubicBezTo>
                  <a:cubicBezTo>
                    <a:pt x="33277" y="11977"/>
                    <a:pt x="31992" y="10754"/>
                    <a:pt x="30463" y="9959"/>
                  </a:cubicBezTo>
                  <a:cubicBezTo>
                    <a:pt x="28933" y="9163"/>
                    <a:pt x="27220" y="8796"/>
                    <a:pt x="25507" y="8857"/>
                  </a:cubicBezTo>
                  <a:cubicBezTo>
                    <a:pt x="19572" y="8429"/>
                    <a:pt x="13698" y="9469"/>
                    <a:pt x="8253" y="11916"/>
                  </a:cubicBezTo>
                  <a:cubicBezTo>
                    <a:pt x="4337" y="13507"/>
                    <a:pt x="4153" y="13201"/>
                    <a:pt x="3909" y="9041"/>
                  </a:cubicBezTo>
                  <a:cubicBezTo>
                    <a:pt x="3725" y="7817"/>
                    <a:pt x="4031" y="6593"/>
                    <a:pt x="4704" y="5553"/>
                  </a:cubicBezTo>
                  <a:cubicBezTo>
                    <a:pt x="5377" y="4513"/>
                    <a:pt x="6417" y="3779"/>
                    <a:pt x="7580" y="3473"/>
                  </a:cubicBezTo>
                  <a:cubicBezTo>
                    <a:pt x="15044" y="292"/>
                    <a:pt x="23304" y="-748"/>
                    <a:pt x="31381" y="536"/>
                  </a:cubicBezTo>
                  <a:cubicBezTo>
                    <a:pt x="35480" y="965"/>
                    <a:pt x="39335" y="2861"/>
                    <a:pt x="42088" y="5982"/>
                  </a:cubicBezTo>
                  <a:cubicBezTo>
                    <a:pt x="44902" y="9041"/>
                    <a:pt x="46432" y="13079"/>
                    <a:pt x="46432" y="17178"/>
                  </a:cubicBezTo>
                  <a:cubicBezTo>
                    <a:pt x="46799" y="24948"/>
                    <a:pt x="46738" y="32718"/>
                    <a:pt x="46677" y="40550"/>
                  </a:cubicBezTo>
                  <a:cubicBezTo>
                    <a:pt x="46493" y="44649"/>
                    <a:pt x="47472" y="48687"/>
                    <a:pt x="49430" y="52297"/>
                  </a:cubicBezTo>
                  <a:cubicBezTo>
                    <a:pt x="50348" y="53949"/>
                    <a:pt x="50103" y="54744"/>
                    <a:pt x="48573" y="55846"/>
                  </a:cubicBezTo>
                  <a:cubicBezTo>
                    <a:pt x="47289" y="56763"/>
                    <a:pt x="46004" y="57559"/>
                    <a:pt x="44719" y="58415"/>
                  </a:cubicBezTo>
                  <a:cubicBezTo>
                    <a:pt x="44413" y="58599"/>
                    <a:pt x="44107" y="58782"/>
                    <a:pt x="43801" y="58905"/>
                  </a:cubicBezTo>
                  <a:cubicBezTo>
                    <a:pt x="43434" y="59027"/>
                    <a:pt x="43128" y="59027"/>
                    <a:pt x="42761" y="58966"/>
                  </a:cubicBezTo>
                  <a:cubicBezTo>
                    <a:pt x="42394" y="58905"/>
                    <a:pt x="42088" y="58782"/>
                    <a:pt x="41782" y="58599"/>
                  </a:cubicBezTo>
                  <a:cubicBezTo>
                    <a:pt x="41476" y="58415"/>
                    <a:pt x="41231" y="58170"/>
                    <a:pt x="40987" y="57926"/>
                  </a:cubicBezTo>
                  <a:cubicBezTo>
                    <a:pt x="39824" y="56457"/>
                    <a:pt x="38845" y="54867"/>
                    <a:pt x="37805" y="53276"/>
                  </a:cubicBezTo>
                  <a:cubicBezTo>
                    <a:pt x="37438" y="52725"/>
                    <a:pt x="37132" y="52113"/>
                    <a:pt x="36642" y="51318"/>
                  </a:cubicBezTo>
                  <a:lnTo>
                    <a:pt x="36765" y="51196"/>
                  </a:lnTo>
                  <a:lnTo>
                    <a:pt x="36765" y="51196"/>
                  </a:lnTo>
                  <a:close/>
                  <a:moveTo>
                    <a:pt x="24956" y="32290"/>
                  </a:moveTo>
                  <a:lnTo>
                    <a:pt x="24956" y="32413"/>
                  </a:lnTo>
                  <a:cubicBezTo>
                    <a:pt x="23549" y="32535"/>
                    <a:pt x="22142" y="32535"/>
                    <a:pt x="20734" y="32718"/>
                  </a:cubicBezTo>
                  <a:cubicBezTo>
                    <a:pt x="19205" y="32718"/>
                    <a:pt x="17675" y="33147"/>
                    <a:pt x="16329" y="33881"/>
                  </a:cubicBezTo>
                  <a:cubicBezTo>
                    <a:pt x="14983" y="34615"/>
                    <a:pt x="13759" y="35655"/>
                    <a:pt x="12903" y="36940"/>
                  </a:cubicBezTo>
                  <a:cubicBezTo>
                    <a:pt x="12046" y="38225"/>
                    <a:pt x="11434" y="39693"/>
                    <a:pt x="11251" y="41223"/>
                  </a:cubicBezTo>
                  <a:cubicBezTo>
                    <a:pt x="11067" y="42753"/>
                    <a:pt x="11251" y="44343"/>
                    <a:pt x="11679" y="45812"/>
                  </a:cubicBezTo>
                  <a:cubicBezTo>
                    <a:pt x="11985" y="47219"/>
                    <a:pt x="12658" y="48504"/>
                    <a:pt x="13637" y="49544"/>
                  </a:cubicBezTo>
                  <a:cubicBezTo>
                    <a:pt x="14616" y="50584"/>
                    <a:pt x="15962" y="51196"/>
                    <a:pt x="17369" y="51440"/>
                  </a:cubicBezTo>
                  <a:cubicBezTo>
                    <a:pt x="19817" y="51991"/>
                    <a:pt x="22325" y="51991"/>
                    <a:pt x="24773" y="51440"/>
                  </a:cubicBezTo>
                  <a:cubicBezTo>
                    <a:pt x="27220" y="50890"/>
                    <a:pt x="29484" y="49788"/>
                    <a:pt x="31503" y="48259"/>
                  </a:cubicBezTo>
                  <a:cubicBezTo>
                    <a:pt x="32727" y="47341"/>
                    <a:pt x="33706" y="46240"/>
                    <a:pt x="34501" y="44894"/>
                  </a:cubicBezTo>
                  <a:cubicBezTo>
                    <a:pt x="35296" y="43548"/>
                    <a:pt x="35725" y="42140"/>
                    <a:pt x="35847" y="40611"/>
                  </a:cubicBezTo>
                  <a:cubicBezTo>
                    <a:pt x="36031" y="38898"/>
                    <a:pt x="36031" y="37185"/>
                    <a:pt x="36214" y="35472"/>
                  </a:cubicBezTo>
                  <a:cubicBezTo>
                    <a:pt x="36337" y="34309"/>
                    <a:pt x="35847" y="33820"/>
                    <a:pt x="34746" y="33697"/>
                  </a:cubicBezTo>
                  <a:cubicBezTo>
                    <a:pt x="31503" y="33269"/>
                    <a:pt x="28138" y="32780"/>
                    <a:pt x="24895" y="32351"/>
                  </a:cubicBezTo>
                  <a:lnTo>
                    <a:pt x="24895" y="32351"/>
                  </a:lnTo>
                  <a:close/>
                </a:path>
              </a:pathLst>
            </a:custGeom>
            <a:grpFill/>
            <a:ln w="0"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9A8DD82F-B437-CB33-A274-3BA97CD6C907}"/>
                </a:ext>
              </a:extLst>
            </p:cNvPr>
            <p:cNvSpPr/>
            <p:nvPr/>
          </p:nvSpPr>
          <p:spPr>
            <a:xfrm>
              <a:off x="5625251" y="4888484"/>
              <a:ext cx="43089" cy="60676"/>
            </a:xfrm>
            <a:custGeom>
              <a:avLst/>
              <a:gdLst>
                <a:gd name="connsiteX0" fmla="*/ 19946 w 43089"/>
                <a:gd name="connsiteY0" fmla="*/ 60598 h 60676"/>
                <a:gd name="connsiteX1" fmla="*/ 4222 w 43089"/>
                <a:gd name="connsiteY1" fmla="*/ 57539 h 60676"/>
                <a:gd name="connsiteX2" fmla="*/ 2019 w 43089"/>
                <a:gd name="connsiteY2" fmla="*/ 56193 h 60676"/>
                <a:gd name="connsiteX3" fmla="*/ 551 w 43089"/>
                <a:gd name="connsiteY3" fmla="*/ 54113 h 60676"/>
                <a:gd name="connsiteX4" fmla="*/ 0 w 43089"/>
                <a:gd name="connsiteY4" fmla="*/ 51604 h 60676"/>
                <a:gd name="connsiteX5" fmla="*/ 489 w 43089"/>
                <a:gd name="connsiteY5" fmla="*/ 49096 h 60676"/>
                <a:gd name="connsiteX6" fmla="*/ 795 w 43089"/>
                <a:gd name="connsiteY6" fmla="*/ 48545 h 60676"/>
                <a:gd name="connsiteX7" fmla="*/ 1346 w 43089"/>
                <a:gd name="connsiteY7" fmla="*/ 48178 h 60676"/>
                <a:gd name="connsiteX8" fmla="*/ 1958 w 43089"/>
                <a:gd name="connsiteY8" fmla="*/ 48055 h 60676"/>
                <a:gd name="connsiteX9" fmla="*/ 2570 w 43089"/>
                <a:gd name="connsiteY9" fmla="*/ 48178 h 60676"/>
                <a:gd name="connsiteX10" fmla="*/ 5874 w 43089"/>
                <a:gd name="connsiteY10" fmla="*/ 49463 h 60676"/>
                <a:gd name="connsiteX11" fmla="*/ 25453 w 43089"/>
                <a:gd name="connsiteY11" fmla="*/ 51298 h 60676"/>
                <a:gd name="connsiteX12" fmla="*/ 29613 w 43089"/>
                <a:gd name="connsiteY12" fmla="*/ 49463 h 60676"/>
                <a:gd name="connsiteX13" fmla="*/ 32061 w 43089"/>
                <a:gd name="connsiteY13" fmla="*/ 45608 h 60676"/>
                <a:gd name="connsiteX14" fmla="*/ 31938 w 43089"/>
                <a:gd name="connsiteY14" fmla="*/ 41325 h 60676"/>
                <a:gd name="connsiteX15" fmla="*/ 29124 w 43089"/>
                <a:gd name="connsiteY15" fmla="*/ 38083 h 60676"/>
                <a:gd name="connsiteX16" fmla="*/ 23128 w 43089"/>
                <a:gd name="connsiteY16" fmla="*/ 35452 h 60676"/>
                <a:gd name="connsiteX17" fmla="*/ 13032 w 43089"/>
                <a:gd name="connsiteY17" fmla="*/ 32209 h 60676"/>
                <a:gd name="connsiteX18" fmla="*/ 4161 w 43089"/>
                <a:gd name="connsiteY18" fmla="*/ 26091 h 60676"/>
                <a:gd name="connsiteX19" fmla="*/ 1530 w 43089"/>
                <a:gd name="connsiteY19" fmla="*/ 20585 h 60676"/>
                <a:gd name="connsiteX20" fmla="*/ 1285 w 43089"/>
                <a:gd name="connsiteY20" fmla="*/ 14466 h 60676"/>
                <a:gd name="connsiteX21" fmla="*/ 3488 w 43089"/>
                <a:gd name="connsiteY21" fmla="*/ 8776 h 60676"/>
                <a:gd name="connsiteX22" fmla="*/ 7770 w 43089"/>
                <a:gd name="connsiteY22" fmla="*/ 4371 h 60676"/>
                <a:gd name="connsiteX23" fmla="*/ 24780 w 43089"/>
                <a:gd name="connsiteY23" fmla="*/ 211 h 60676"/>
                <a:gd name="connsiteX24" fmla="*/ 36221 w 43089"/>
                <a:gd name="connsiteY24" fmla="*/ 2781 h 60676"/>
                <a:gd name="connsiteX25" fmla="*/ 38363 w 43089"/>
                <a:gd name="connsiteY25" fmla="*/ 4065 h 60676"/>
                <a:gd name="connsiteX26" fmla="*/ 39770 w 43089"/>
                <a:gd name="connsiteY26" fmla="*/ 6145 h 60676"/>
                <a:gd name="connsiteX27" fmla="*/ 40198 w 43089"/>
                <a:gd name="connsiteY27" fmla="*/ 8593 h 60676"/>
                <a:gd name="connsiteX28" fmla="*/ 39648 w 43089"/>
                <a:gd name="connsiteY28" fmla="*/ 10979 h 60676"/>
                <a:gd name="connsiteX29" fmla="*/ 37200 w 43089"/>
                <a:gd name="connsiteY29" fmla="*/ 11652 h 60676"/>
                <a:gd name="connsiteX30" fmla="*/ 29430 w 43089"/>
                <a:gd name="connsiteY30" fmla="*/ 9205 h 60676"/>
                <a:gd name="connsiteX31" fmla="*/ 17438 w 43089"/>
                <a:gd name="connsiteY31" fmla="*/ 9327 h 60676"/>
                <a:gd name="connsiteX32" fmla="*/ 13216 w 43089"/>
                <a:gd name="connsiteY32" fmla="*/ 11774 h 60676"/>
                <a:gd name="connsiteX33" fmla="*/ 11809 w 43089"/>
                <a:gd name="connsiteY33" fmla="*/ 16424 h 60676"/>
                <a:gd name="connsiteX34" fmla="*/ 12665 w 43089"/>
                <a:gd name="connsiteY34" fmla="*/ 19545 h 60676"/>
                <a:gd name="connsiteX35" fmla="*/ 14990 w 43089"/>
                <a:gd name="connsiteY35" fmla="*/ 21747 h 60676"/>
                <a:gd name="connsiteX36" fmla="*/ 21292 w 43089"/>
                <a:gd name="connsiteY36" fmla="*/ 24500 h 60676"/>
                <a:gd name="connsiteX37" fmla="*/ 32734 w 43089"/>
                <a:gd name="connsiteY37" fmla="*/ 28355 h 60676"/>
                <a:gd name="connsiteX38" fmla="*/ 39892 w 43089"/>
                <a:gd name="connsiteY38" fmla="*/ 33249 h 60676"/>
                <a:gd name="connsiteX39" fmla="*/ 43013 w 43089"/>
                <a:gd name="connsiteY39" fmla="*/ 41387 h 60676"/>
                <a:gd name="connsiteX40" fmla="*/ 41300 w 43089"/>
                <a:gd name="connsiteY40" fmla="*/ 50380 h 60676"/>
                <a:gd name="connsiteX41" fmla="*/ 34936 w 43089"/>
                <a:gd name="connsiteY41" fmla="*/ 56988 h 60676"/>
                <a:gd name="connsiteX42" fmla="*/ 20130 w 43089"/>
                <a:gd name="connsiteY42" fmla="*/ 60659 h 60676"/>
                <a:gd name="connsiteX43" fmla="*/ 19946 w 43089"/>
                <a:gd name="connsiteY43" fmla="*/ 60659 h 60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3089" h="60676">
                  <a:moveTo>
                    <a:pt x="19946" y="60598"/>
                  </a:moveTo>
                  <a:cubicBezTo>
                    <a:pt x="14562" y="60598"/>
                    <a:pt x="9239" y="59497"/>
                    <a:pt x="4222" y="57539"/>
                  </a:cubicBezTo>
                  <a:cubicBezTo>
                    <a:pt x="3426" y="57233"/>
                    <a:pt x="2631" y="56744"/>
                    <a:pt x="2019" y="56193"/>
                  </a:cubicBezTo>
                  <a:cubicBezTo>
                    <a:pt x="1407" y="55642"/>
                    <a:pt x="918" y="54908"/>
                    <a:pt x="551" y="54113"/>
                  </a:cubicBezTo>
                  <a:cubicBezTo>
                    <a:pt x="184" y="53317"/>
                    <a:pt x="0" y="52461"/>
                    <a:pt x="0" y="51604"/>
                  </a:cubicBezTo>
                  <a:cubicBezTo>
                    <a:pt x="0" y="50747"/>
                    <a:pt x="184" y="49891"/>
                    <a:pt x="489" y="49096"/>
                  </a:cubicBezTo>
                  <a:cubicBezTo>
                    <a:pt x="551" y="48912"/>
                    <a:pt x="673" y="48667"/>
                    <a:pt x="795" y="48545"/>
                  </a:cubicBezTo>
                  <a:cubicBezTo>
                    <a:pt x="918" y="48362"/>
                    <a:pt x="1101" y="48239"/>
                    <a:pt x="1346" y="48178"/>
                  </a:cubicBezTo>
                  <a:cubicBezTo>
                    <a:pt x="1530" y="48055"/>
                    <a:pt x="1774" y="48055"/>
                    <a:pt x="1958" y="48055"/>
                  </a:cubicBezTo>
                  <a:cubicBezTo>
                    <a:pt x="2141" y="48055"/>
                    <a:pt x="2386" y="48117"/>
                    <a:pt x="2570" y="48178"/>
                  </a:cubicBezTo>
                  <a:cubicBezTo>
                    <a:pt x="3671" y="48545"/>
                    <a:pt x="4772" y="49035"/>
                    <a:pt x="5874" y="49463"/>
                  </a:cubicBezTo>
                  <a:cubicBezTo>
                    <a:pt x="12053" y="52032"/>
                    <a:pt x="18906" y="52644"/>
                    <a:pt x="25453" y="51298"/>
                  </a:cubicBezTo>
                  <a:cubicBezTo>
                    <a:pt x="26982" y="51115"/>
                    <a:pt x="28451" y="50442"/>
                    <a:pt x="29613" y="49463"/>
                  </a:cubicBezTo>
                  <a:cubicBezTo>
                    <a:pt x="30776" y="48423"/>
                    <a:pt x="31633" y="47138"/>
                    <a:pt x="32061" y="45608"/>
                  </a:cubicBezTo>
                  <a:cubicBezTo>
                    <a:pt x="32489" y="44201"/>
                    <a:pt x="32489" y="42672"/>
                    <a:pt x="31938" y="41325"/>
                  </a:cubicBezTo>
                  <a:cubicBezTo>
                    <a:pt x="31388" y="39980"/>
                    <a:pt x="30409" y="38817"/>
                    <a:pt x="29124" y="38083"/>
                  </a:cubicBezTo>
                  <a:cubicBezTo>
                    <a:pt x="27227" y="37043"/>
                    <a:pt x="25208" y="36186"/>
                    <a:pt x="23128" y="35452"/>
                  </a:cubicBezTo>
                  <a:cubicBezTo>
                    <a:pt x="19763" y="34289"/>
                    <a:pt x="16398" y="33372"/>
                    <a:pt x="13032" y="32209"/>
                  </a:cubicBezTo>
                  <a:cubicBezTo>
                    <a:pt x="9545" y="31108"/>
                    <a:pt x="6424" y="28966"/>
                    <a:pt x="4161" y="26091"/>
                  </a:cubicBezTo>
                  <a:cubicBezTo>
                    <a:pt x="2937" y="24439"/>
                    <a:pt x="2019" y="22604"/>
                    <a:pt x="1530" y="20585"/>
                  </a:cubicBezTo>
                  <a:cubicBezTo>
                    <a:pt x="1040" y="18627"/>
                    <a:pt x="918" y="16485"/>
                    <a:pt x="1285" y="14466"/>
                  </a:cubicBezTo>
                  <a:cubicBezTo>
                    <a:pt x="1652" y="12447"/>
                    <a:pt x="2386" y="10490"/>
                    <a:pt x="3488" y="8776"/>
                  </a:cubicBezTo>
                  <a:cubicBezTo>
                    <a:pt x="4589" y="7063"/>
                    <a:pt x="6057" y="5534"/>
                    <a:pt x="7770" y="4371"/>
                  </a:cubicBezTo>
                  <a:cubicBezTo>
                    <a:pt x="12726" y="884"/>
                    <a:pt x="18784" y="-584"/>
                    <a:pt x="24780" y="211"/>
                  </a:cubicBezTo>
                  <a:cubicBezTo>
                    <a:pt x="28634" y="700"/>
                    <a:pt x="32489" y="1557"/>
                    <a:pt x="36221" y="2781"/>
                  </a:cubicBezTo>
                  <a:cubicBezTo>
                    <a:pt x="37017" y="3086"/>
                    <a:pt x="37690" y="3515"/>
                    <a:pt x="38363" y="4065"/>
                  </a:cubicBezTo>
                  <a:cubicBezTo>
                    <a:pt x="38975" y="4677"/>
                    <a:pt x="39464" y="5289"/>
                    <a:pt x="39770" y="6145"/>
                  </a:cubicBezTo>
                  <a:cubicBezTo>
                    <a:pt x="40076" y="6941"/>
                    <a:pt x="40260" y="7736"/>
                    <a:pt x="40198" y="8593"/>
                  </a:cubicBezTo>
                  <a:cubicBezTo>
                    <a:pt x="40198" y="9449"/>
                    <a:pt x="40015" y="10245"/>
                    <a:pt x="39648" y="10979"/>
                  </a:cubicBezTo>
                  <a:cubicBezTo>
                    <a:pt x="39158" y="12203"/>
                    <a:pt x="38240" y="12019"/>
                    <a:pt x="37200" y="11652"/>
                  </a:cubicBezTo>
                  <a:cubicBezTo>
                    <a:pt x="34631" y="10734"/>
                    <a:pt x="32061" y="9878"/>
                    <a:pt x="29430" y="9205"/>
                  </a:cubicBezTo>
                  <a:cubicBezTo>
                    <a:pt x="25514" y="8287"/>
                    <a:pt x="21415" y="8348"/>
                    <a:pt x="17438" y="9327"/>
                  </a:cubicBezTo>
                  <a:cubicBezTo>
                    <a:pt x="15786" y="9572"/>
                    <a:pt x="14256" y="10428"/>
                    <a:pt x="13216" y="11774"/>
                  </a:cubicBezTo>
                  <a:cubicBezTo>
                    <a:pt x="12176" y="13120"/>
                    <a:pt x="11625" y="14772"/>
                    <a:pt x="11809" y="16424"/>
                  </a:cubicBezTo>
                  <a:cubicBezTo>
                    <a:pt x="11809" y="17525"/>
                    <a:pt x="12115" y="18566"/>
                    <a:pt x="12665" y="19545"/>
                  </a:cubicBezTo>
                  <a:cubicBezTo>
                    <a:pt x="13216" y="20523"/>
                    <a:pt x="14011" y="21258"/>
                    <a:pt x="14990" y="21747"/>
                  </a:cubicBezTo>
                  <a:cubicBezTo>
                    <a:pt x="17009" y="22848"/>
                    <a:pt x="19151" y="23705"/>
                    <a:pt x="21292" y="24500"/>
                  </a:cubicBezTo>
                  <a:cubicBezTo>
                    <a:pt x="25086" y="25846"/>
                    <a:pt x="28940" y="26948"/>
                    <a:pt x="32734" y="28355"/>
                  </a:cubicBezTo>
                  <a:cubicBezTo>
                    <a:pt x="35548" y="29211"/>
                    <a:pt x="38057" y="30924"/>
                    <a:pt x="39892" y="33249"/>
                  </a:cubicBezTo>
                  <a:cubicBezTo>
                    <a:pt x="41728" y="35574"/>
                    <a:pt x="42829" y="38389"/>
                    <a:pt x="43013" y="41387"/>
                  </a:cubicBezTo>
                  <a:cubicBezTo>
                    <a:pt x="43319" y="44507"/>
                    <a:pt x="42707" y="47627"/>
                    <a:pt x="41300" y="50380"/>
                  </a:cubicBezTo>
                  <a:cubicBezTo>
                    <a:pt x="39892" y="53134"/>
                    <a:pt x="37629" y="55459"/>
                    <a:pt x="34936" y="56988"/>
                  </a:cubicBezTo>
                  <a:cubicBezTo>
                    <a:pt x="30470" y="59558"/>
                    <a:pt x="25330" y="60843"/>
                    <a:pt x="20130" y="60659"/>
                  </a:cubicBezTo>
                  <a:lnTo>
                    <a:pt x="19946" y="60659"/>
                  </a:lnTo>
                  <a:close/>
                </a:path>
              </a:pathLst>
            </a:custGeom>
            <a:grpFill/>
            <a:ln w="0"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5F87D0AF-9ED1-399B-CD1C-4158EC45E0ED}"/>
                </a:ext>
              </a:extLst>
            </p:cNvPr>
            <p:cNvSpPr/>
            <p:nvPr/>
          </p:nvSpPr>
          <p:spPr>
            <a:xfrm>
              <a:off x="5640669" y="4961616"/>
              <a:ext cx="35910" cy="35066"/>
            </a:xfrm>
            <a:custGeom>
              <a:avLst/>
              <a:gdLst>
                <a:gd name="connsiteX0" fmla="*/ 15969 w 35910"/>
                <a:gd name="connsiteY0" fmla="*/ 6861 h 35066"/>
                <a:gd name="connsiteX1" fmla="*/ 1897 w 35910"/>
                <a:gd name="connsiteY1" fmla="*/ 8146 h 35066"/>
                <a:gd name="connsiteX2" fmla="*/ 0 w 35910"/>
                <a:gd name="connsiteY2" fmla="*/ 7779 h 35066"/>
                <a:gd name="connsiteX3" fmla="*/ 918 w 35910"/>
                <a:gd name="connsiteY3" fmla="*/ 5943 h 35066"/>
                <a:gd name="connsiteX4" fmla="*/ 12726 w 35910"/>
                <a:gd name="connsiteY4" fmla="*/ 1049 h 35066"/>
                <a:gd name="connsiteX5" fmla="*/ 30959 w 35910"/>
                <a:gd name="connsiteY5" fmla="*/ 926 h 35066"/>
                <a:gd name="connsiteX6" fmla="*/ 35793 w 35910"/>
                <a:gd name="connsiteY6" fmla="*/ 8146 h 35066"/>
                <a:gd name="connsiteX7" fmla="*/ 28023 w 35910"/>
                <a:gd name="connsiteY7" fmla="*/ 29315 h 35066"/>
                <a:gd name="connsiteX8" fmla="*/ 23373 w 35910"/>
                <a:gd name="connsiteY8" fmla="*/ 34393 h 35066"/>
                <a:gd name="connsiteX9" fmla="*/ 21231 w 35910"/>
                <a:gd name="connsiteY9" fmla="*/ 35066 h 35066"/>
                <a:gd name="connsiteX10" fmla="*/ 21353 w 35910"/>
                <a:gd name="connsiteY10" fmla="*/ 32925 h 35066"/>
                <a:gd name="connsiteX11" fmla="*/ 26860 w 35910"/>
                <a:gd name="connsiteY11" fmla="*/ 16345 h 35066"/>
                <a:gd name="connsiteX12" fmla="*/ 27350 w 35910"/>
                <a:gd name="connsiteY12" fmla="*/ 13652 h 35066"/>
                <a:gd name="connsiteX13" fmla="*/ 22271 w 35910"/>
                <a:gd name="connsiteY13" fmla="*/ 7412 h 35066"/>
                <a:gd name="connsiteX14" fmla="*/ 16030 w 35910"/>
                <a:gd name="connsiteY14" fmla="*/ 6861 h 35066"/>
                <a:gd name="connsiteX15" fmla="*/ 15969 w 35910"/>
                <a:gd name="connsiteY15" fmla="*/ 6861 h 35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910" h="35066">
                  <a:moveTo>
                    <a:pt x="15969" y="6861"/>
                  </a:moveTo>
                  <a:cubicBezTo>
                    <a:pt x="11625" y="7290"/>
                    <a:pt x="6730" y="7718"/>
                    <a:pt x="1897" y="8146"/>
                  </a:cubicBezTo>
                  <a:cubicBezTo>
                    <a:pt x="1224" y="8146"/>
                    <a:pt x="612" y="7963"/>
                    <a:pt x="0" y="7779"/>
                  </a:cubicBezTo>
                  <a:cubicBezTo>
                    <a:pt x="306" y="7167"/>
                    <a:pt x="428" y="6310"/>
                    <a:pt x="918" y="5943"/>
                  </a:cubicBezTo>
                  <a:cubicBezTo>
                    <a:pt x="4466" y="3496"/>
                    <a:pt x="8505" y="1844"/>
                    <a:pt x="12726" y="1049"/>
                  </a:cubicBezTo>
                  <a:cubicBezTo>
                    <a:pt x="18723" y="-297"/>
                    <a:pt x="24902" y="-358"/>
                    <a:pt x="30959" y="926"/>
                  </a:cubicBezTo>
                  <a:cubicBezTo>
                    <a:pt x="34998" y="1844"/>
                    <a:pt x="36344" y="1844"/>
                    <a:pt x="35793" y="8146"/>
                  </a:cubicBezTo>
                  <a:cubicBezTo>
                    <a:pt x="35181" y="15794"/>
                    <a:pt x="32428" y="23075"/>
                    <a:pt x="28023" y="29315"/>
                  </a:cubicBezTo>
                  <a:cubicBezTo>
                    <a:pt x="26615" y="31151"/>
                    <a:pt x="25086" y="32803"/>
                    <a:pt x="23373" y="34393"/>
                  </a:cubicBezTo>
                  <a:cubicBezTo>
                    <a:pt x="22883" y="34822"/>
                    <a:pt x="21965" y="34822"/>
                    <a:pt x="21231" y="35066"/>
                  </a:cubicBezTo>
                  <a:cubicBezTo>
                    <a:pt x="21170" y="34393"/>
                    <a:pt x="21231" y="33659"/>
                    <a:pt x="21353" y="32925"/>
                  </a:cubicBezTo>
                  <a:cubicBezTo>
                    <a:pt x="23189" y="27419"/>
                    <a:pt x="25025" y="21851"/>
                    <a:pt x="26860" y="16345"/>
                  </a:cubicBezTo>
                  <a:cubicBezTo>
                    <a:pt x="27105" y="15488"/>
                    <a:pt x="27288" y="14570"/>
                    <a:pt x="27350" y="13652"/>
                  </a:cubicBezTo>
                  <a:cubicBezTo>
                    <a:pt x="27900" y="9798"/>
                    <a:pt x="26371" y="7901"/>
                    <a:pt x="22271" y="7412"/>
                  </a:cubicBezTo>
                  <a:cubicBezTo>
                    <a:pt x="20375" y="7167"/>
                    <a:pt x="18417" y="7045"/>
                    <a:pt x="16030" y="6861"/>
                  </a:cubicBezTo>
                  <a:lnTo>
                    <a:pt x="15969" y="6861"/>
                  </a:lnTo>
                  <a:close/>
                </a:path>
              </a:pathLst>
            </a:custGeom>
            <a:grpFill/>
            <a:ln w="0" cap="flat">
              <a:noFill/>
              <a:prstDash val="solid"/>
              <a:miter/>
            </a:ln>
          </p:spPr>
          <p:txBody>
            <a:bodyPr rtlCol="0" anchor="ctr"/>
            <a:lstStyle/>
            <a:p>
              <a:endParaRPr lang="en-US"/>
            </a:p>
          </p:txBody>
        </p:sp>
      </p:grpSp>
      <p:pic>
        <p:nvPicPr>
          <p:cNvPr id="14" name="Graphic 13">
            <a:extLst>
              <a:ext uri="{FF2B5EF4-FFF2-40B4-BE49-F238E27FC236}">
                <a16:creationId xmlns:a16="http://schemas.microsoft.com/office/drawing/2014/main" id="{7F8542C5-774E-D8DB-E1FB-A7F272F4541A}"/>
              </a:ext>
            </a:extLst>
          </p:cNvPr>
          <p:cNvPicPr>
            <a:picLocks noChangeAspect="1"/>
          </p:cNvPicPr>
          <p:nvPr/>
        </p:nvPicPr>
        <p:blipFill rotWithShape="1">
          <a:blip r:embed="rId31">
            <a:extLst>
              <a:ext uri="{96DAC541-7B7A-43D3-8B79-37D633B846F1}">
                <asvg:svgBlip xmlns:asvg="http://schemas.microsoft.com/office/drawing/2016/SVG/main" r:embed="rId32"/>
              </a:ext>
            </a:extLst>
          </a:blip>
          <a:srcRect t="69973"/>
          <a:stretch/>
        </p:blipFill>
        <p:spPr>
          <a:xfrm>
            <a:off x="3528820" y="5039632"/>
            <a:ext cx="1020675" cy="192674"/>
          </a:xfrm>
          <a:prstGeom prst="rect">
            <a:avLst/>
          </a:prstGeom>
        </p:spPr>
      </p:pic>
      <p:grpSp>
        <p:nvGrpSpPr>
          <p:cNvPr id="27" name="Group 26">
            <a:extLst>
              <a:ext uri="{FF2B5EF4-FFF2-40B4-BE49-F238E27FC236}">
                <a16:creationId xmlns:a16="http://schemas.microsoft.com/office/drawing/2014/main" id="{BDD3BE00-D79C-6F10-77DC-9C7B5273E07E}"/>
              </a:ext>
            </a:extLst>
          </p:cNvPr>
          <p:cNvGrpSpPr/>
          <p:nvPr/>
        </p:nvGrpSpPr>
        <p:grpSpPr>
          <a:xfrm>
            <a:off x="3233900" y="4608428"/>
            <a:ext cx="1181135" cy="338554"/>
            <a:chOff x="3238465" y="4613474"/>
            <a:chExt cx="1181135" cy="338554"/>
          </a:xfrm>
        </p:grpSpPr>
        <p:pic>
          <p:nvPicPr>
            <p:cNvPr id="8" name="Graphic 7">
              <a:extLst>
                <a:ext uri="{FF2B5EF4-FFF2-40B4-BE49-F238E27FC236}">
                  <a16:creationId xmlns:a16="http://schemas.microsoft.com/office/drawing/2014/main" id="{75C1FD40-03FE-BECD-7095-5C400695ECE9}"/>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3238465" y="4628358"/>
              <a:ext cx="229954" cy="210789"/>
            </a:xfrm>
            <a:prstGeom prst="rect">
              <a:avLst/>
            </a:prstGeom>
          </p:spPr>
        </p:pic>
        <p:sp>
          <p:nvSpPr>
            <p:cNvPr id="19" name="TextBox 18">
              <a:extLst>
                <a:ext uri="{FF2B5EF4-FFF2-40B4-BE49-F238E27FC236}">
                  <a16:creationId xmlns:a16="http://schemas.microsoft.com/office/drawing/2014/main" id="{D90A3B8F-8F35-FF17-6258-134E97030B75}"/>
                </a:ext>
              </a:extLst>
            </p:cNvPr>
            <p:cNvSpPr txBox="1"/>
            <p:nvPr/>
          </p:nvSpPr>
          <p:spPr>
            <a:xfrm>
              <a:off x="3467299" y="4613474"/>
              <a:ext cx="952301" cy="338554"/>
            </a:xfrm>
            <a:prstGeom prst="rect">
              <a:avLst/>
            </a:prstGeom>
            <a:noFill/>
          </p:spPr>
          <p:txBody>
            <a:bodyPr wrap="square" rtlCol="0">
              <a:spAutoFit/>
            </a:bodyPr>
            <a:lstStyle/>
            <a:p>
              <a:r>
                <a:rPr lang="en-US" sz="1600"/>
                <a:t>Azure</a:t>
              </a:r>
            </a:p>
          </p:txBody>
        </p:sp>
      </p:grpSp>
      <p:pic>
        <p:nvPicPr>
          <p:cNvPr id="29" name="Graphic 28">
            <a:extLst>
              <a:ext uri="{FF2B5EF4-FFF2-40B4-BE49-F238E27FC236}">
                <a16:creationId xmlns:a16="http://schemas.microsoft.com/office/drawing/2014/main" id="{F5C67CAB-0EA2-8CE7-ECDB-62B921686FD7}"/>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5329214" y="3183004"/>
            <a:ext cx="730250" cy="216668"/>
          </a:xfrm>
          <a:prstGeom prst="rect">
            <a:avLst/>
          </a:prstGeom>
        </p:spPr>
      </p:pic>
      <p:pic>
        <p:nvPicPr>
          <p:cNvPr id="3" name="Picture 2" descr="A blue shield with a key&#10;&#10;Description automatically generated">
            <a:extLst>
              <a:ext uri="{FF2B5EF4-FFF2-40B4-BE49-F238E27FC236}">
                <a16:creationId xmlns:a16="http://schemas.microsoft.com/office/drawing/2014/main" id="{CA812239-C55F-CFB7-7BEC-56BF12220C71}"/>
              </a:ext>
            </a:extLst>
          </p:cNvPr>
          <p:cNvPicPr>
            <a:picLocks noChangeAspect="1"/>
          </p:cNvPicPr>
          <p:nvPr/>
        </p:nvPicPr>
        <p:blipFill>
          <a:blip r:embed="rId37" cstate="print">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4580830" y="5047740"/>
            <a:ext cx="174153" cy="174153"/>
          </a:xfrm>
          <a:prstGeom prst="rect">
            <a:avLst/>
          </a:prstGeom>
        </p:spPr>
      </p:pic>
      <p:pic>
        <p:nvPicPr>
          <p:cNvPr id="4" name="Picture 2" descr="Key Vault | Microsoft Azure Color">
            <a:extLst>
              <a:ext uri="{FF2B5EF4-FFF2-40B4-BE49-F238E27FC236}">
                <a16:creationId xmlns:a16="http://schemas.microsoft.com/office/drawing/2014/main" id="{52BDA16C-4AE9-3E31-2BB5-BF3ADCB9A178}"/>
              </a:ext>
            </a:extLst>
          </p:cNvPr>
          <p:cNvPicPr>
            <a:picLocks noChangeAspect="1" noChangeArrowheads="1"/>
          </p:cNvPicPr>
          <p:nvPr/>
        </p:nvPicPr>
        <p:blipFill>
          <a:blip r:embed="rId38" cstate="print">
            <a:duotone>
              <a:prstClr val="black"/>
              <a:schemeClr val="accent1">
                <a:tint val="45000"/>
                <a:satMod val="400000"/>
              </a:schemeClr>
            </a:duotone>
            <a:extLst>
              <a:ext uri="{28A0092B-C50C-407E-A947-70E740481C1C}">
                <a14:useLocalDpi xmlns:a14="http://schemas.microsoft.com/office/drawing/2010/main"/>
              </a:ext>
            </a:extLst>
          </a:blip>
          <a:srcRect/>
          <a:stretch>
            <a:fillRect/>
          </a:stretch>
        </p:blipFill>
        <p:spPr bwMode="auto">
          <a:xfrm>
            <a:off x="4115820" y="4673600"/>
            <a:ext cx="171899" cy="171899"/>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089600EA-8050-4223-41C0-73799B06C0AB}"/>
              </a:ext>
            </a:extLst>
          </p:cNvPr>
          <p:cNvGrpSpPr/>
          <p:nvPr/>
        </p:nvGrpSpPr>
        <p:grpSpPr>
          <a:xfrm>
            <a:off x="3658047" y="4222660"/>
            <a:ext cx="175765" cy="213704"/>
            <a:chOff x="3392500" y="2100475"/>
            <a:chExt cx="1507680" cy="1833112"/>
          </a:xfrm>
        </p:grpSpPr>
        <p:pic>
          <p:nvPicPr>
            <p:cNvPr id="7" name="Picture 30" descr="Security Identity Compliance AWS KMS&quot; Icon - Download for ...">
              <a:extLst>
                <a:ext uri="{FF2B5EF4-FFF2-40B4-BE49-F238E27FC236}">
                  <a16:creationId xmlns:a16="http://schemas.microsoft.com/office/drawing/2014/main" id="{6A25DD8B-9954-F989-1925-99BC332A9006}"/>
                </a:ext>
              </a:extLst>
            </p:cNvPr>
            <p:cNvPicPr>
              <a:picLocks noChangeAspect="1" noChangeArrowheads="1"/>
            </p:cNvPicPr>
            <p:nvPr/>
          </p:nvPicPr>
          <p:blipFill rotWithShape="1">
            <a:blip r:embed="rId39" cstate="print">
              <a:duotone>
                <a:prstClr val="black"/>
                <a:schemeClr val="accent1">
                  <a:tint val="45000"/>
                  <a:satMod val="400000"/>
                </a:schemeClr>
              </a:duotone>
              <a:extLst>
                <a:ext uri="{BEBA8EAE-BF5A-486C-A8C5-ECC9F3942E4B}">
                  <a14:imgProps xmlns:a14="http://schemas.microsoft.com/office/drawing/2010/main">
                    <a14:imgLayer r:embed="rId40">
                      <a14:imgEffect>
                        <a14:saturation sat="338000"/>
                      </a14:imgEffect>
                      <a14:imgEffect>
                        <a14:brightnessContrast bright="100000" contrast="48000"/>
                      </a14:imgEffect>
                    </a14:imgLayer>
                  </a14:imgProps>
                </a:ext>
                <a:ext uri="{28A0092B-C50C-407E-A947-70E740481C1C}">
                  <a14:useLocalDpi xmlns:a14="http://schemas.microsoft.com/office/drawing/2010/main"/>
                </a:ext>
              </a:extLst>
            </a:blip>
            <a:srcRect l="49550" r="-1"/>
            <a:stretch/>
          </p:blipFill>
          <p:spPr bwMode="auto">
            <a:xfrm>
              <a:off x="4132708" y="2100634"/>
              <a:ext cx="767472" cy="183295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30" descr="Security Identity Compliance AWS KMS&quot; Icon - Download for ...">
              <a:extLst>
                <a:ext uri="{FF2B5EF4-FFF2-40B4-BE49-F238E27FC236}">
                  <a16:creationId xmlns:a16="http://schemas.microsoft.com/office/drawing/2014/main" id="{53C1A181-B490-81D4-93C3-20DF826210A6}"/>
                </a:ext>
              </a:extLst>
            </p:cNvPr>
            <p:cNvPicPr>
              <a:picLocks noChangeAspect="1" noChangeArrowheads="1"/>
            </p:cNvPicPr>
            <p:nvPr/>
          </p:nvPicPr>
          <p:blipFill rotWithShape="1">
            <a:blip r:embed="rId41" cstate="print">
              <a:duotone>
                <a:prstClr val="black"/>
                <a:schemeClr val="accent1">
                  <a:tint val="45000"/>
                  <a:satMod val="400000"/>
                </a:schemeClr>
              </a:duotone>
              <a:extLst>
                <a:ext uri="{BEBA8EAE-BF5A-486C-A8C5-ECC9F3942E4B}">
                  <a14:imgProps xmlns:a14="http://schemas.microsoft.com/office/drawing/2010/main">
                    <a14:imgLayer r:embed="rId42">
                      <a14:imgEffect>
                        <a14:brightnessContrast bright="45000"/>
                      </a14:imgEffect>
                    </a14:imgLayer>
                  </a14:imgProps>
                </a:ext>
                <a:ext uri="{28A0092B-C50C-407E-A947-70E740481C1C}">
                  <a14:useLocalDpi xmlns:a14="http://schemas.microsoft.com/office/drawing/2010/main"/>
                </a:ext>
              </a:extLst>
            </a:blip>
            <a:srcRect l="-301" r="51750"/>
            <a:stretch/>
          </p:blipFill>
          <p:spPr bwMode="auto">
            <a:xfrm>
              <a:off x="3392500" y="2100475"/>
              <a:ext cx="738573" cy="1832953"/>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115979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a:extLst>
              <a:ext uri="{FF2B5EF4-FFF2-40B4-BE49-F238E27FC236}">
                <a16:creationId xmlns:a16="http://schemas.microsoft.com/office/drawing/2014/main" id="{8D95F84A-31A4-A672-2F87-163D31633FC1}"/>
              </a:ext>
            </a:extLst>
          </p:cNvPr>
          <p:cNvSpPr>
            <a:spLocks noGrp="1"/>
          </p:cNvSpPr>
          <p:nvPr>
            <p:ph type="title"/>
          </p:nvPr>
        </p:nvSpPr>
        <p:spPr>
          <a:xfrm>
            <a:off x="493712" y="342900"/>
            <a:ext cx="11202987" cy="682625"/>
          </a:xfrm>
        </p:spPr>
        <p:txBody>
          <a:bodyPr/>
          <a:lstStyle/>
          <a:p>
            <a:pPr marL="0" marR="0" algn="ctr">
              <a:lnSpc>
                <a:spcPct val="107000"/>
              </a:lnSpc>
              <a:spcBef>
                <a:spcPts val="0"/>
              </a:spcBef>
              <a:spcAft>
                <a:spcPts val="800"/>
              </a:spcAft>
            </a:pPr>
            <a:r>
              <a:rPr lang="en-GB" kern="100">
                <a:effectLst/>
                <a:latin typeface="+mj-lt"/>
                <a:ea typeface="Calibri" panose="020F0502020204030204" pitchFamily="34" charset="0"/>
                <a:cs typeface="Arial" panose="020B0604020202020204" pitchFamily="34" charset="0"/>
              </a:rPr>
              <a:t>The perfect storm of complexity and threats:</a:t>
            </a:r>
            <a:endParaRPr lang="en-US" kern="100">
              <a:effectLst/>
              <a:latin typeface="+mj-lt"/>
              <a:ea typeface="Calibri" panose="020F0502020204030204" pitchFamily="34" charset="0"/>
              <a:cs typeface="Arial" panose="020B0604020202020204" pitchFamily="34" charset="0"/>
            </a:endParaRPr>
          </a:p>
        </p:txBody>
      </p:sp>
      <p:grpSp>
        <p:nvGrpSpPr>
          <p:cNvPr id="12" name="Group 11">
            <a:extLst>
              <a:ext uri="{FF2B5EF4-FFF2-40B4-BE49-F238E27FC236}">
                <a16:creationId xmlns:a16="http://schemas.microsoft.com/office/drawing/2014/main" id="{85B6B188-67A2-EE8B-7195-52E50C18E912}"/>
              </a:ext>
            </a:extLst>
          </p:cNvPr>
          <p:cNvGrpSpPr/>
          <p:nvPr/>
        </p:nvGrpSpPr>
        <p:grpSpPr>
          <a:xfrm>
            <a:off x="9039805" y="6053304"/>
            <a:ext cx="2662821" cy="205998"/>
            <a:chOff x="9039805" y="5336370"/>
            <a:chExt cx="2662821" cy="205998"/>
          </a:xfrm>
        </p:grpSpPr>
        <p:sp>
          <p:nvSpPr>
            <p:cNvPr id="13" name="Left Bracket 12">
              <a:extLst>
                <a:ext uri="{FF2B5EF4-FFF2-40B4-BE49-F238E27FC236}">
                  <a16:creationId xmlns:a16="http://schemas.microsoft.com/office/drawing/2014/main" id="{CCFF7711-B46E-C2F4-FF90-8ABA134CFF07}"/>
                </a:ext>
              </a:extLst>
            </p:cNvPr>
            <p:cNvSpPr/>
            <p:nvPr/>
          </p:nvSpPr>
          <p:spPr>
            <a:xfrm rot="16200000">
              <a:off x="10302550" y="4073625"/>
              <a:ext cx="137332" cy="2662821"/>
            </a:xfrm>
            <a:prstGeom prst="leftBracket">
              <a:avLst>
                <a:gd name="adj" fmla="val 92384"/>
              </a:avLst>
            </a:prstGeom>
            <a:ln w="12700" cap="rnd">
              <a:solidFill>
                <a:srgbClr val="ED2B3D"/>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Up Arrow 13">
              <a:extLst>
                <a:ext uri="{FF2B5EF4-FFF2-40B4-BE49-F238E27FC236}">
                  <a16:creationId xmlns:a16="http://schemas.microsoft.com/office/drawing/2014/main" id="{C99C7940-D9BC-4E5B-9910-575B9BE7F2F6}"/>
                </a:ext>
              </a:extLst>
            </p:cNvPr>
            <p:cNvSpPr/>
            <p:nvPr/>
          </p:nvSpPr>
          <p:spPr>
            <a:xfrm rot="5400000">
              <a:off x="10296923" y="5138964"/>
              <a:ext cx="137332" cy="669476"/>
            </a:xfrm>
            <a:prstGeom prst="upArrow">
              <a:avLst>
                <a:gd name="adj1" fmla="val 10000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ED2B3D"/>
                  </a:solidFill>
                  <a:effectLst/>
                  <a:uLnTx/>
                  <a:uFillTx/>
                  <a:latin typeface="ES Build" pitchFamily="50" charset="0"/>
                  <a:ea typeface="+mn-ea"/>
                  <a:cs typeface="Microsoft Sans Serif" panose="020B0604020202020204" pitchFamily="34" charset="0"/>
                </a:rPr>
                <a:t>Threats</a:t>
              </a:r>
            </a:p>
          </p:txBody>
        </p:sp>
      </p:grpSp>
      <p:grpSp>
        <p:nvGrpSpPr>
          <p:cNvPr id="15" name="Group 14">
            <a:extLst>
              <a:ext uri="{FF2B5EF4-FFF2-40B4-BE49-F238E27FC236}">
                <a16:creationId xmlns:a16="http://schemas.microsoft.com/office/drawing/2014/main" id="{A830EA3E-F853-9AEA-6E41-64E0B83CB7CE}"/>
              </a:ext>
            </a:extLst>
          </p:cNvPr>
          <p:cNvGrpSpPr/>
          <p:nvPr/>
        </p:nvGrpSpPr>
        <p:grpSpPr>
          <a:xfrm>
            <a:off x="489375" y="6055883"/>
            <a:ext cx="8353597" cy="205997"/>
            <a:chOff x="489375" y="5336370"/>
            <a:chExt cx="8353597" cy="205997"/>
          </a:xfrm>
        </p:grpSpPr>
        <p:sp>
          <p:nvSpPr>
            <p:cNvPr id="16" name="Left Bracket 15">
              <a:extLst>
                <a:ext uri="{FF2B5EF4-FFF2-40B4-BE49-F238E27FC236}">
                  <a16:creationId xmlns:a16="http://schemas.microsoft.com/office/drawing/2014/main" id="{13D01641-3552-1B5A-75A5-BAC62880901C}"/>
                </a:ext>
              </a:extLst>
            </p:cNvPr>
            <p:cNvSpPr/>
            <p:nvPr/>
          </p:nvSpPr>
          <p:spPr>
            <a:xfrm rot="16200000">
              <a:off x="4597508" y="1228237"/>
              <a:ext cx="137332" cy="8353597"/>
            </a:xfrm>
            <a:prstGeom prst="leftBracket">
              <a:avLst>
                <a:gd name="adj" fmla="val 92384"/>
              </a:avLst>
            </a:prstGeom>
            <a:ln w="12700" cap="rnd">
              <a:solidFill>
                <a:schemeClr val="accent6"/>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 name="Up Arrow 16">
              <a:extLst>
                <a:ext uri="{FF2B5EF4-FFF2-40B4-BE49-F238E27FC236}">
                  <a16:creationId xmlns:a16="http://schemas.microsoft.com/office/drawing/2014/main" id="{6A912643-3F31-33D8-44E7-B7A0D2769BF1}"/>
                </a:ext>
              </a:extLst>
            </p:cNvPr>
            <p:cNvSpPr/>
            <p:nvPr/>
          </p:nvSpPr>
          <p:spPr>
            <a:xfrm rot="5400000">
              <a:off x="4597509" y="4882815"/>
              <a:ext cx="137331" cy="1181774"/>
            </a:xfrm>
            <a:prstGeom prst="upArrow">
              <a:avLst>
                <a:gd name="adj1" fmla="val 10000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accent6"/>
                  </a:solidFill>
                  <a:effectLst/>
                  <a:uLnTx/>
                  <a:uFillTx/>
                  <a:latin typeface="ES Build" pitchFamily="50" charset="0"/>
                  <a:ea typeface="+mn-ea"/>
                  <a:cs typeface="Microsoft Sans Serif" panose="020B0604020202020204" pitchFamily="34" charset="0"/>
                </a:rPr>
                <a:t>Complexity</a:t>
              </a:r>
            </a:p>
          </p:txBody>
        </p:sp>
      </p:grpSp>
      <p:grpSp>
        <p:nvGrpSpPr>
          <p:cNvPr id="18" name="Group 17">
            <a:extLst>
              <a:ext uri="{FF2B5EF4-FFF2-40B4-BE49-F238E27FC236}">
                <a16:creationId xmlns:a16="http://schemas.microsoft.com/office/drawing/2014/main" id="{790B7938-4437-F822-1497-058E940F9B3B}"/>
              </a:ext>
            </a:extLst>
          </p:cNvPr>
          <p:cNvGrpSpPr/>
          <p:nvPr/>
        </p:nvGrpSpPr>
        <p:grpSpPr>
          <a:xfrm>
            <a:off x="497710" y="1323739"/>
            <a:ext cx="2654234" cy="4148664"/>
            <a:chOff x="493712" y="1655322"/>
            <a:chExt cx="2654234" cy="4148664"/>
          </a:xfrm>
        </p:grpSpPr>
        <p:grpSp>
          <p:nvGrpSpPr>
            <p:cNvPr id="19" name="Group 18">
              <a:extLst>
                <a:ext uri="{FF2B5EF4-FFF2-40B4-BE49-F238E27FC236}">
                  <a16:creationId xmlns:a16="http://schemas.microsoft.com/office/drawing/2014/main" id="{F79EE2B5-2F90-E112-3AC9-C573652AC497}"/>
                </a:ext>
              </a:extLst>
            </p:cNvPr>
            <p:cNvGrpSpPr/>
            <p:nvPr/>
          </p:nvGrpSpPr>
          <p:grpSpPr>
            <a:xfrm>
              <a:off x="493712" y="1655322"/>
              <a:ext cx="2654234" cy="4148664"/>
              <a:chOff x="3339744" y="1878359"/>
              <a:chExt cx="2654234" cy="4148664"/>
            </a:xfrm>
          </p:grpSpPr>
          <p:grpSp>
            <p:nvGrpSpPr>
              <p:cNvPr id="23" name="Group 22">
                <a:extLst>
                  <a:ext uri="{FF2B5EF4-FFF2-40B4-BE49-F238E27FC236}">
                    <a16:creationId xmlns:a16="http://schemas.microsoft.com/office/drawing/2014/main" id="{3BA6DFA7-3E59-31D3-89CA-A084F31DB827}"/>
                  </a:ext>
                </a:extLst>
              </p:cNvPr>
              <p:cNvGrpSpPr/>
              <p:nvPr/>
            </p:nvGrpSpPr>
            <p:grpSpPr>
              <a:xfrm>
                <a:off x="3339744" y="1878359"/>
                <a:ext cx="2651568" cy="4148664"/>
                <a:chOff x="489714" y="1878359"/>
                <a:chExt cx="2651568" cy="4148664"/>
              </a:xfrm>
            </p:grpSpPr>
            <p:sp>
              <p:nvSpPr>
                <p:cNvPr id="29" name="Freeform 28">
                  <a:extLst>
                    <a:ext uri="{FF2B5EF4-FFF2-40B4-BE49-F238E27FC236}">
                      <a16:creationId xmlns:a16="http://schemas.microsoft.com/office/drawing/2014/main" id="{893208E0-FDA6-8CA5-D118-5F91705B59CB}"/>
                    </a:ext>
                  </a:extLst>
                </p:cNvPr>
                <p:cNvSpPr/>
                <p:nvPr/>
              </p:nvSpPr>
              <p:spPr>
                <a:xfrm>
                  <a:off x="489714" y="1878359"/>
                  <a:ext cx="2651568" cy="234834"/>
                </a:xfrm>
                <a:custGeom>
                  <a:avLst/>
                  <a:gdLst>
                    <a:gd name="connsiteX0" fmla="*/ 82808 w 2651568"/>
                    <a:gd name="connsiteY0" fmla="*/ 0 h 234834"/>
                    <a:gd name="connsiteX1" fmla="*/ 2568760 w 2651568"/>
                    <a:gd name="connsiteY1" fmla="*/ 0 h 234834"/>
                    <a:gd name="connsiteX2" fmla="*/ 2651568 w 2651568"/>
                    <a:gd name="connsiteY2" fmla="*/ 82808 h 234834"/>
                    <a:gd name="connsiteX3" fmla="*/ 2651568 w 2651568"/>
                    <a:gd name="connsiteY3" fmla="*/ 234834 h 234834"/>
                    <a:gd name="connsiteX4" fmla="*/ 2568760 w 2651568"/>
                    <a:gd name="connsiteY4" fmla="*/ 152026 h 234834"/>
                    <a:gd name="connsiteX5" fmla="*/ 82808 w 2651568"/>
                    <a:gd name="connsiteY5" fmla="*/ 152026 h 234834"/>
                    <a:gd name="connsiteX6" fmla="*/ 0 w 2651568"/>
                    <a:gd name="connsiteY6" fmla="*/ 234834 h 234834"/>
                    <a:gd name="connsiteX7" fmla="*/ 0 w 2651568"/>
                    <a:gd name="connsiteY7" fmla="*/ 82808 h 234834"/>
                    <a:gd name="connsiteX8" fmla="*/ 82808 w 2651568"/>
                    <a:gd name="connsiteY8" fmla="*/ 0 h 234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51568" h="234834">
                      <a:moveTo>
                        <a:pt x="82808" y="0"/>
                      </a:moveTo>
                      <a:lnTo>
                        <a:pt x="2568760" y="0"/>
                      </a:lnTo>
                      <a:cubicBezTo>
                        <a:pt x="2614494" y="0"/>
                        <a:pt x="2651568" y="37074"/>
                        <a:pt x="2651568" y="82808"/>
                      </a:cubicBezTo>
                      <a:lnTo>
                        <a:pt x="2651568" y="234834"/>
                      </a:lnTo>
                      <a:cubicBezTo>
                        <a:pt x="2651568" y="189100"/>
                        <a:pt x="2614494" y="152026"/>
                        <a:pt x="2568760" y="152026"/>
                      </a:cubicBezTo>
                      <a:lnTo>
                        <a:pt x="82808" y="152026"/>
                      </a:lnTo>
                      <a:cubicBezTo>
                        <a:pt x="37074" y="152026"/>
                        <a:pt x="0" y="189100"/>
                        <a:pt x="0" y="234834"/>
                      </a:cubicBezTo>
                      <a:lnTo>
                        <a:pt x="0" y="82808"/>
                      </a:lnTo>
                      <a:cubicBezTo>
                        <a:pt x="0" y="37074"/>
                        <a:pt x="37074" y="0"/>
                        <a:pt x="82808" y="0"/>
                      </a:cubicBezTo>
                      <a:close/>
                    </a:path>
                  </a:pathLst>
                </a:custGeom>
                <a:solidFill>
                  <a:schemeClr val="accent6"/>
                </a:solidFill>
                <a:ln w="12700">
                  <a:noFill/>
                  <a:headEnd type="none" w="med" len="med"/>
                  <a:tailEnd type="none" w="med" len="med"/>
                </a:ln>
                <a:effectLst>
                  <a:outerShdw blurRad="381000" algn="ctr" rotWithShape="0">
                    <a:schemeClr val="accent1">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74320" rIns="731520" bIns="2743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6000"/>
                    </a:lnSpc>
                  </a:pPr>
                  <a:endParaRPr kumimoji="0" lang="en-US" sz="1200" b="1" i="0" u="none" strike="noStrike" kern="1200" cap="none" spc="0" normalizeH="0" baseline="0" noProof="0">
                    <a:ln>
                      <a:noFill/>
                    </a:ln>
                    <a:solidFill>
                      <a:schemeClr val="tx1"/>
                    </a:solidFill>
                    <a:effectLst/>
                    <a:uLnTx/>
                    <a:uFillTx/>
                    <a:latin typeface="ES Build Neutral"/>
                    <a:ea typeface="+mn-ea"/>
                    <a:cs typeface="+mn-cs"/>
                  </a:endParaRPr>
                </a:p>
              </p:txBody>
            </p:sp>
            <p:sp>
              <p:nvSpPr>
                <p:cNvPr id="31" name="!!1">
                  <a:extLst>
                    <a:ext uri="{FF2B5EF4-FFF2-40B4-BE49-F238E27FC236}">
                      <a16:creationId xmlns:a16="http://schemas.microsoft.com/office/drawing/2014/main" id="{2A98D4F3-5D95-F1EF-AF8B-9E87A98E3441}"/>
                    </a:ext>
                  </a:extLst>
                </p:cNvPr>
                <p:cNvSpPr/>
                <p:nvPr/>
              </p:nvSpPr>
              <p:spPr>
                <a:xfrm>
                  <a:off x="489714" y="2030384"/>
                  <a:ext cx="2651568" cy="3996639"/>
                </a:xfrm>
                <a:prstGeom prst="roundRect">
                  <a:avLst>
                    <a:gd name="adj" fmla="val 3123"/>
                  </a:avLst>
                </a:prstGeom>
                <a:solidFill>
                  <a:schemeClr val="bg1"/>
                </a:solidFill>
                <a:ln w="12700">
                  <a:noFill/>
                  <a:headEnd type="none" w="med" len="med"/>
                  <a:tailEnd type="none" w="med" len="med"/>
                </a:ln>
                <a:effectLst>
                  <a:outerShdw blurRad="381000" algn="ctr" rotWithShape="0">
                    <a:schemeClr val="accent1">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74320" rIns="731520" bIns="2743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6000"/>
                    </a:lnSpc>
                  </a:pPr>
                  <a:endParaRPr kumimoji="0" lang="en-US" sz="1200" b="1" i="0" u="none" strike="noStrike" kern="1200" cap="none" spc="0" normalizeH="0" baseline="0" noProof="0">
                    <a:ln>
                      <a:noFill/>
                    </a:ln>
                    <a:solidFill>
                      <a:schemeClr val="tx1"/>
                    </a:solidFill>
                    <a:effectLst/>
                    <a:uLnTx/>
                    <a:uFillTx/>
                    <a:latin typeface="ES Build Neutral"/>
                    <a:ea typeface="+mn-ea"/>
                    <a:cs typeface="+mn-cs"/>
                  </a:endParaRPr>
                </a:p>
              </p:txBody>
            </p:sp>
          </p:grpSp>
          <p:sp>
            <p:nvSpPr>
              <p:cNvPr id="24" name="!!2">
                <a:extLst>
                  <a:ext uri="{FF2B5EF4-FFF2-40B4-BE49-F238E27FC236}">
                    <a16:creationId xmlns:a16="http://schemas.microsoft.com/office/drawing/2014/main" id="{C7F01850-0804-F6B7-4E23-5496DD5E2104}"/>
                  </a:ext>
                </a:extLst>
              </p:cNvPr>
              <p:cNvSpPr txBox="1"/>
              <p:nvPr/>
            </p:nvSpPr>
            <p:spPr>
              <a:xfrm>
                <a:off x="3342409" y="3654482"/>
                <a:ext cx="2651569" cy="646331"/>
              </a:xfrm>
              <a:prstGeom prst="rect">
                <a:avLst/>
              </a:prstGeom>
              <a:noFill/>
            </p:spPr>
            <p:txBody>
              <a:bodyPr wrap="square" rtlCol="0">
                <a:spAutoFit/>
              </a:bodyPr>
              <a:lstStyle/>
              <a:p>
                <a:pPr algn="ctr"/>
                <a:r>
                  <a:rPr lang="en-US" b="1">
                    <a:solidFill>
                      <a:schemeClr val="tx1"/>
                    </a:solidFill>
                    <a:latin typeface="ES Build Neutral"/>
                    <a:cs typeface="Microsoft Sans Serif" panose="020B0604020202020204" pitchFamily="34" charset="0"/>
                  </a:rPr>
                  <a:t>Data </a:t>
                </a:r>
              </a:p>
              <a:p>
                <a:pPr algn="ctr"/>
                <a:r>
                  <a:rPr lang="en-US" b="1">
                    <a:solidFill>
                      <a:schemeClr val="tx1"/>
                    </a:solidFill>
                    <a:latin typeface="ES Build Neutral"/>
                    <a:cs typeface="Microsoft Sans Serif" panose="020B0604020202020204" pitchFamily="34" charset="0"/>
                  </a:rPr>
                  <a:t>Explosion</a:t>
                </a:r>
              </a:p>
            </p:txBody>
          </p:sp>
          <p:pic>
            <p:nvPicPr>
              <p:cNvPr id="26" name="Graphic 23">
                <a:extLst>
                  <a:ext uri="{FF2B5EF4-FFF2-40B4-BE49-F238E27FC236}">
                    <a16:creationId xmlns:a16="http://schemas.microsoft.com/office/drawing/2014/main" id="{203EA58A-1AF5-64F7-6F20-EC479B12FCDE}"/>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4116419" y="2323944"/>
                <a:ext cx="1176067" cy="1176067"/>
              </a:xfrm>
              <a:prstGeom prst="rect">
                <a:avLst/>
              </a:prstGeom>
            </p:spPr>
          </p:pic>
        </p:grpSp>
        <p:sp>
          <p:nvSpPr>
            <p:cNvPr id="20" name="!!3">
              <a:extLst>
                <a:ext uri="{FF2B5EF4-FFF2-40B4-BE49-F238E27FC236}">
                  <a16:creationId xmlns:a16="http://schemas.microsoft.com/office/drawing/2014/main" id="{06AC4C45-E9F1-0DD9-B184-2C5D0D625B08}"/>
                </a:ext>
              </a:extLst>
            </p:cNvPr>
            <p:cNvSpPr txBox="1"/>
            <p:nvPr/>
          </p:nvSpPr>
          <p:spPr>
            <a:xfrm>
              <a:off x="496377" y="4523436"/>
              <a:ext cx="2644903" cy="911788"/>
            </a:xfrm>
            <a:prstGeom prst="rect">
              <a:avLst/>
            </a:prstGeom>
            <a:noFill/>
          </p:spPr>
          <p:txBody>
            <a:bodyPr wrap="square" lIns="0" tIns="0" rIns="0" bIns="0">
              <a:spAutoFit/>
            </a:bodyPr>
            <a:lstStyle/>
            <a:p>
              <a:pPr marL="0" marR="0" lvl="0" indent="0" algn="ctr" defTabSz="914400" rtl="0" eaLnBrk="1" fontAlgn="auto" latinLnBrk="0" hangingPunct="1">
                <a:lnSpc>
                  <a:spcPct val="80000"/>
                </a:lnSpc>
                <a:spcBef>
                  <a:spcPts val="0"/>
                </a:spcBef>
                <a:buClrTx/>
                <a:buSzTx/>
                <a:buFontTx/>
                <a:buNone/>
                <a:tabLst/>
                <a:defRPr/>
              </a:pPr>
              <a:r>
                <a:rPr kumimoji="0" lang="en-US" sz="3600" b="1" i="0" u="none" strike="noStrike" kern="1200" cap="none" spc="0" normalizeH="0" baseline="0" noProof="0">
                  <a:ln>
                    <a:noFill/>
                  </a:ln>
                  <a:solidFill>
                    <a:srgbClr val="FE8A25"/>
                  </a:solidFill>
                  <a:effectLst/>
                  <a:uLnTx/>
                  <a:uFillTx/>
                  <a:latin typeface="ES Build Neutral"/>
                  <a:ea typeface="+mn-ea"/>
                  <a:cs typeface="+mn-cs"/>
                </a:rPr>
                <a:t>150</a:t>
              </a:r>
              <a:r>
                <a:rPr kumimoji="0" lang="en-US" sz="3600" b="0" i="0" u="none" strike="noStrike" kern="1200" cap="none" spc="0" normalizeH="0" baseline="30000" noProof="0">
                  <a:ln>
                    <a:noFill/>
                  </a:ln>
                  <a:solidFill>
                    <a:srgbClr val="FE8A25"/>
                  </a:solidFill>
                  <a:effectLst/>
                  <a:uLnTx/>
                  <a:uFillTx/>
                  <a:latin typeface="ES Build Neutral"/>
                  <a:ea typeface="+mn-ea"/>
                  <a:cs typeface="+mn-cs"/>
                </a:rPr>
                <a:t>+</a:t>
              </a:r>
              <a:r>
                <a:rPr kumimoji="0" lang="en-US" sz="4400" b="0" i="0" u="none" strike="noStrike" kern="1200" cap="none" spc="0" normalizeH="0" baseline="30000" noProof="0">
                  <a:ln>
                    <a:noFill/>
                  </a:ln>
                  <a:solidFill>
                    <a:srgbClr val="FE8A25"/>
                  </a:solidFill>
                  <a:effectLst/>
                  <a:uLnTx/>
                  <a:uFillTx/>
                  <a:latin typeface="ES Build Neutral"/>
                  <a:ea typeface="+mn-ea"/>
                  <a:cs typeface="+mn-cs"/>
                </a:rPr>
                <a:t> </a:t>
              </a:r>
              <a:r>
                <a:rPr kumimoji="0" lang="en-US" sz="3600" b="1" i="0" u="none" strike="noStrike" kern="1200" cap="none" spc="0" normalizeH="0" baseline="0" noProof="0">
                  <a:ln>
                    <a:noFill/>
                  </a:ln>
                  <a:solidFill>
                    <a:srgbClr val="FE8A25"/>
                  </a:solidFill>
                  <a:effectLst/>
                  <a:uLnTx/>
                  <a:uFillTx/>
                  <a:latin typeface="ES Build Neutral"/>
                  <a:ea typeface="+mn-ea"/>
                  <a:cs typeface="+mn-cs"/>
                </a:rPr>
                <a:t>ZB</a:t>
              </a:r>
            </a:p>
            <a:p>
              <a:pPr marL="0" marR="0" lvl="0" indent="0" algn="ctr" defTabSz="914400" rtl="0" eaLnBrk="1" fontAlgn="auto" latinLnBrk="0" hangingPunct="1">
                <a:lnSpc>
                  <a:spcPct val="98000"/>
                </a:lnSpc>
                <a:spcBef>
                  <a:spcPts val="0"/>
                </a:spcBef>
                <a:buClrTx/>
                <a:buSzTx/>
                <a:buFontTx/>
                <a:buNone/>
                <a:tabLst/>
                <a:defRPr/>
              </a:pPr>
              <a:endParaRPr kumimoji="0" lang="en-US" sz="300" b="0" i="0" u="none" strike="noStrike" kern="1200" cap="none" spc="0" normalizeH="0" baseline="0" noProof="0">
                <a:ln>
                  <a:noFill/>
                </a:ln>
                <a:solidFill>
                  <a:srgbClr val="505861"/>
                </a:solidFill>
                <a:effectLst/>
                <a:uLnTx/>
                <a:uFillTx/>
                <a:latin typeface="ES Build Neutral"/>
                <a:ea typeface="+mn-ea"/>
                <a:cs typeface="+mn-cs"/>
              </a:endParaRPr>
            </a:p>
            <a:p>
              <a:pPr marL="0" marR="0" lvl="0" indent="0" algn="ctr" defTabSz="914400" rtl="0" eaLnBrk="1" fontAlgn="auto" latinLnBrk="0" hangingPunct="1">
                <a:lnSpc>
                  <a:spcPct val="98000"/>
                </a:lnSpc>
                <a:spcBef>
                  <a:spcPts val="0"/>
                </a:spcBef>
                <a:buClrTx/>
                <a:buSzTx/>
                <a:buFontTx/>
                <a:buNone/>
                <a:tabLst/>
                <a:defRPr/>
              </a:pPr>
              <a:r>
                <a:rPr kumimoji="0" lang="en-US" sz="1400" b="0" i="0" u="none" strike="noStrike" kern="1200" cap="none" spc="0" normalizeH="0" baseline="0" noProof="0">
                  <a:ln>
                    <a:noFill/>
                  </a:ln>
                  <a:solidFill>
                    <a:srgbClr val="505861"/>
                  </a:solidFill>
                  <a:effectLst/>
                  <a:uLnTx/>
                  <a:uFillTx/>
                  <a:latin typeface="ES Build Neutral"/>
                  <a:ea typeface="+mn-ea"/>
                  <a:cs typeface="+mn-cs"/>
                </a:rPr>
                <a:t>created in 2024 </a:t>
              </a:r>
            </a:p>
            <a:p>
              <a:pPr marL="0" marR="0" lvl="0" indent="0" algn="ctr" defTabSz="914400" rtl="0" eaLnBrk="1" fontAlgn="auto" latinLnBrk="0" hangingPunct="1">
                <a:lnSpc>
                  <a:spcPct val="98000"/>
                </a:lnSpc>
                <a:spcBef>
                  <a:spcPts val="0"/>
                </a:spcBef>
                <a:buClrTx/>
                <a:buSzTx/>
                <a:buFontTx/>
                <a:buNone/>
                <a:tabLst/>
                <a:defRPr/>
              </a:pPr>
              <a:r>
                <a:rPr kumimoji="0" lang="en-US" sz="1400" b="1" i="0" u="none" strike="noStrike" kern="1200" cap="none" spc="0" normalizeH="0" baseline="0" noProof="0">
                  <a:ln>
                    <a:noFill/>
                  </a:ln>
                  <a:solidFill>
                    <a:srgbClr val="505861"/>
                  </a:solidFill>
                  <a:effectLst/>
                  <a:uLnTx/>
                  <a:uFillTx/>
                  <a:latin typeface="ES Build Neutral"/>
                  <a:ea typeface="+mn-ea"/>
                  <a:cs typeface="+mn-cs"/>
                </a:rPr>
                <a:t>doubling every year…</a:t>
              </a:r>
            </a:p>
          </p:txBody>
        </p:sp>
        <p:cxnSp>
          <p:nvCxnSpPr>
            <p:cNvPr id="22" name="Straight Connector 21">
              <a:extLst>
                <a:ext uri="{FF2B5EF4-FFF2-40B4-BE49-F238E27FC236}">
                  <a16:creationId xmlns:a16="http://schemas.microsoft.com/office/drawing/2014/main" id="{7F3C61FC-693D-17A5-B812-F45534752E8C}"/>
                </a:ext>
              </a:extLst>
            </p:cNvPr>
            <p:cNvCxnSpPr>
              <a:cxnSpLocks/>
            </p:cNvCxnSpPr>
            <p:nvPr/>
          </p:nvCxnSpPr>
          <p:spPr>
            <a:xfrm>
              <a:off x="496377" y="4240696"/>
              <a:ext cx="2651569" cy="0"/>
            </a:xfrm>
            <a:prstGeom prst="line">
              <a:avLst/>
            </a:prstGeom>
            <a:ln w="12700" cap="rnd">
              <a:solidFill>
                <a:schemeClr val="bg2"/>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488A859B-F0F5-39D6-DA1F-31F903B97F92}"/>
              </a:ext>
            </a:extLst>
          </p:cNvPr>
          <p:cNvGrpSpPr/>
          <p:nvPr/>
        </p:nvGrpSpPr>
        <p:grpSpPr>
          <a:xfrm>
            <a:off x="3330489" y="1328400"/>
            <a:ext cx="2667487" cy="4144002"/>
            <a:chOff x="3326491" y="1659983"/>
            <a:chExt cx="2667487" cy="4144002"/>
          </a:xfrm>
        </p:grpSpPr>
        <p:grpSp>
          <p:nvGrpSpPr>
            <p:cNvPr id="33" name="Group 32">
              <a:extLst>
                <a:ext uri="{FF2B5EF4-FFF2-40B4-BE49-F238E27FC236}">
                  <a16:creationId xmlns:a16="http://schemas.microsoft.com/office/drawing/2014/main" id="{869F60DE-F4DE-335B-FC35-8BE9211CBE14}"/>
                </a:ext>
              </a:extLst>
            </p:cNvPr>
            <p:cNvGrpSpPr/>
            <p:nvPr/>
          </p:nvGrpSpPr>
          <p:grpSpPr>
            <a:xfrm>
              <a:off x="3339744" y="1659983"/>
              <a:ext cx="2654234" cy="4144002"/>
              <a:chOff x="3339744" y="1878359"/>
              <a:chExt cx="2654234" cy="4144002"/>
            </a:xfrm>
          </p:grpSpPr>
          <p:grpSp>
            <p:nvGrpSpPr>
              <p:cNvPr id="48" name="Group 47">
                <a:extLst>
                  <a:ext uri="{FF2B5EF4-FFF2-40B4-BE49-F238E27FC236}">
                    <a16:creationId xmlns:a16="http://schemas.microsoft.com/office/drawing/2014/main" id="{7FDEA4E4-9A17-F7EE-6077-66458692EF24}"/>
                  </a:ext>
                </a:extLst>
              </p:cNvPr>
              <p:cNvGrpSpPr/>
              <p:nvPr/>
            </p:nvGrpSpPr>
            <p:grpSpPr>
              <a:xfrm>
                <a:off x="3339744" y="1878359"/>
                <a:ext cx="2651568" cy="4144002"/>
                <a:chOff x="489714" y="1878359"/>
                <a:chExt cx="2651568" cy="4144002"/>
              </a:xfrm>
            </p:grpSpPr>
            <p:sp>
              <p:nvSpPr>
                <p:cNvPr id="62" name="Freeform 61">
                  <a:extLst>
                    <a:ext uri="{FF2B5EF4-FFF2-40B4-BE49-F238E27FC236}">
                      <a16:creationId xmlns:a16="http://schemas.microsoft.com/office/drawing/2014/main" id="{2AD5AD95-187C-02BC-022D-D86170B0FA8B}"/>
                    </a:ext>
                  </a:extLst>
                </p:cNvPr>
                <p:cNvSpPr/>
                <p:nvPr/>
              </p:nvSpPr>
              <p:spPr>
                <a:xfrm>
                  <a:off x="489714" y="1878359"/>
                  <a:ext cx="2651568" cy="234834"/>
                </a:xfrm>
                <a:custGeom>
                  <a:avLst/>
                  <a:gdLst>
                    <a:gd name="connsiteX0" fmla="*/ 82808 w 2651568"/>
                    <a:gd name="connsiteY0" fmla="*/ 0 h 234834"/>
                    <a:gd name="connsiteX1" fmla="*/ 2568760 w 2651568"/>
                    <a:gd name="connsiteY1" fmla="*/ 0 h 234834"/>
                    <a:gd name="connsiteX2" fmla="*/ 2651568 w 2651568"/>
                    <a:gd name="connsiteY2" fmla="*/ 82808 h 234834"/>
                    <a:gd name="connsiteX3" fmla="*/ 2651568 w 2651568"/>
                    <a:gd name="connsiteY3" fmla="*/ 234834 h 234834"/>
                    <a:gd name="connsiteX4" fmla="*/ 2568760 w 2651568"/>
                    <a:gd name="connsiteY4" fmla="*/ 152026 h 234834"/>
                    <a:gd name="connsiteX5" fmla="*/ 82808 w 2651568"/>
                    <a:gd name="connsiteY5" fmla="*/ 152026 h 234834"/>
                    <a:gd name="connsiteX6" fmla="*/ 0 w 2651568"/>
                    <a:gd name="connsiteY6" fmla="*/ 234834 h 234834"/>
                    <a:gd name="connsiteX7" fmla="*/ 0 w 2651568"/>
                    <a:gd name="connsiteY7" fmla="*/ 82808 h 234834"/>
                    <a:gd name="connsiteX8" fmla="*/ 82808 w 2651568"/>
                    <a:gd name="connsiteY8" fmla="*/ 0 h 234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51568" h="234834">
                      <a:moveTo>
                        <a:pt x="82808" y="0"/>
                      </a:moveTo>
                      <a:lnTo>
                        <a:pt x="2568760" y="0"/>
                      </a:lnTo>
                      <a:cubicBezTo>
                        <a:pt x="2614494" y="0"/>
                        <a:pt x="2651568" y="37074"/>
                        <a:pt x="2651568" y="82808"/>
                      </a:cubicBezTo>
                      <a:lnTo>
                        <a:pt x="2651568" y="234834"/>
                      </a:lnTo>
                      <a:cubicBezTo>
                        <a:pt x="2651568" y="189100"/>
                        <a:pt x="2614494" y="152026"/>
                        <a:pt x="2568760" y="152026"/>
                      </a:cubicBezTo>
                      <a:lnTo>
                        <a:pt x="82808" y="152026"/>
                      </a:lnTo>
                      <a:cubicBezTo>
                        <a:pt x="37074" y="152026"/>
                        <a:pt x="0" y="189100"/>
                        <a:pt x="0" y="234834"/>
                      </a:cubicBezTo>
                      <a:lnTo>
                        <a:pt x="0" y="82808"/>
                      </a:lnTo>
                      <a:cubicBezTo>
                        <a:pt x="0" y="37074"/>
                        <a:pt x="37074" y="0"/>
                        <a:pt x="82808" y="0"/>
                      </a:cubicBezTo>
                      <a:close/>
                    </a:path>
                  </a:pathLst>
                </a:custGeom>
                <a:solidFill>
                  <a:schemeClr val="accent6"/>
                </a:solidFill>
                <a:ln w="12700">
                  <a:noFill/>
                  <a:headEnd type="none" w="med" len="med"/>
                  <a:tailEnd type="none" w="med" len="med"/>
                </a:ln>
                <a:effectLst>
                  <a:outerShdw blurRad="381000" algn="ctr" rotWithShape="0">
                    <a:schemeClr val="accent1">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74320" rIns="731520" bIns="2743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6000"/>
                    </a:lnSpc>
                  </a:pPr>
                  <a:endParaRPr kumimoji="0" lang="en-US" sz="1200" b="1" i="0" u="none" strike="noStrike" kern="1200" cap="none" spc="0" normalizeH="0" baseline="0" noProof="0">
                    <a:ln>
                      <a:noFill/>
                    </a:ln>
                    <a:solidFill>
                      <a:schemeClr val="tx1"/>
                    </a:solidFill>
                    <a:effectLst/>
                    <a:uLnTx/>
                    <a:uFillTx/>
                    <a:latin typeface="ES Build Neutral"/>
                    <a:ea typeface="+mn-ea"/>
                    <a:cs typeface="+mn-cs"/>
                  </a:endParaRPr>
                </a:p>
              </p:txBody>
            </p:sp>
            <p:sp>
              <p:nvSpPr>
                <p:cNvPr id="63" name="!!1">
                  <a:extLst>
                    <a:ext uri="{FF2B5EF4-FFF2-40B4-BE49-F238E27FC236}">
                      <a16:creationId xmlns:a16="http://schemas.microsoft.com/office/drawing/2014/main" id="{EDAF9274-3950-97A3-AFC7-DABE26BC11B6}"/>
                    </a:ext>
                  </a:extLst>
                </p:cNvPr>
                <p:cNvSpPr/>
                <p:nvPr/>
              </p:nvSpPr>
              <p:spPr>
                <a:xfrm>
                  <a:off x="489714" y="2030384"/>
                  <a:ext cx="2651568" cy="3991977"/>
                </a:xfrm>
                <a:prstGeom prst="roundRect">
                  <a:avLst>
                    <a:gd name="adj" fmla="val 3123"/>
                  </a:avLst>
                </a:prstGeom>
                <a:solidFill>
                  <a:schemeClr val="bg1"/>
                </a:solidFill>
                <a:ln w="12700">
                  <a:noFill/>
                  <a:headEnd type="none" w="med" len="med"/>
                  <a:tailEnd type="none" w="med" len="med"/>
                </a:ln>
                <a:effectLst>
                  <a:outerShdw blurRad="381000" algn="ctr" rotWithShape="0">
                    <a:schemeClr val="accent1">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74320" rIns="731520" bIns="2743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6000"/>
                    </a:lnSpc>
                  </a:pPr>
                  <a:endParaRPr kumimoji="0" lang="en-US" sz="1200" b="1" i="0" u="none" strike="noStrike" kern="1200" cap="none" spc="0" normalizeH="0" baseline="0" noProof="0">
                    <a:ln>
                      <a:noFill/>
                    </a:ln>
                    <a:solidFill>
                      <a:schemeClr val="tx1"/>
                    </a:solidFill>
                    <a:effectLst/>
                    <a:uLnTx/>
                    <a:uFillTx/>
                    <a:latin typeface="ES Build Neutral"/>
                    <a:ea typeface="+mn-ea"/>
                    <a:cs typeface="+mn-cs"/>
                  </a:endParaRPr>
                </a:p>
              </p:txBody>
            </p:sp>
          </p:grpSp>
          <p:sp>
            <p:nvSpPr>
              <p:cNvPr id="58" name="!!2">
                <a:extLst>
                  <a:ext uri="{FF2B5EF4-FFF2-40B4-BE49-F238E27FC236}">
                    <a16:creationId xmlns:a16="http://schemas.microsoft.com/office/drawing/2014/main" id="{7CF5893A-ED66-19BA-EDAA-725661692E9E}"/>
                  </a:ext>
                </a:extLst>
              </p:cNvPr>
              <p:cNvSpPr txBox="1"/>
              <p:nvPr/>
            </p:nvSpPr>
            <p:spPr>
              <a:xfrm>
                <a:off x="3342409" y="3655683"/>
                <a:ext cx="2651569" cy="626903"/>
              </a:xfrm>
              <a:prstGeom prst="rect">
                <a:avLst/>
              </a:prstGeom>
              <a:noFill/>
            </p:spPr>
            <p:txBody>
              <a:bodyPr wrap="square" rtlCol="0">
                <a:spAutoFit/>
              </a:bodyPr>
              <a:lstStyle/>
              <a:p>
                <a:pPr algn="ctr">
                  <a:lnSpc>
                    <a:spcPct val="96000"/>
                  </a:lnSpc>
                </a:pPr>
                <a:r>
                  <a:rPr lang="en-US" b="1">
                    <a:solidFill>
                      <a:schemeClr val="tx1"/>
                    </a:solidFill>
                    <a:latin typeface="ES Build Neutral"/>
                    <a:cs typeface="Microsoft Sans Serif" panose="020B0604020202020204" pitchFamily="34" charset="0"/>
                  </a:rPr>
                  <a:t>Infrastructure Complexity</a:t>
                </a:r>
              </a:p>
            </p:txBody>
          </p:sp>
          <p:pic>
            <p:nvPicPr>
              <p:cNvPr id="59" name="Graphic 23">
                <a:extLst>
                  <a:ext uri="{FF2B5EF4-FFF2-40B4-BE49-F238E27FC236}">
                    <a16:creationId xmlns:a16="http://schemas.microsoft.com/office/drawing/2014/main" id="{509B4438-439C-2EE6-C8FB-81374EAF665A}"/>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4075287" y="2320652"/>
                <a:ext cx="1181775" cy="1181775"/>
              </a:xfrm>
              <a:prstGeom prst="rect">
                <a:avLst/>
              </a:prstGeom>
            </p:spPr>
          </p:pic>
        </p:grpSp>
        <p:sp>
          <p:nvSpPr>
            <p:cNvPr id="38" name="TextBox 37">
              <a:extLst>
                <a:ext uri="{FF2B5EF4-FFF2-40B4-BE49-F238E27FC236}">
                  <a16:creationId xmlns:a16="http://schemas.microsoft.com/office/drawing/2014/main" id="{51514B2A-2718-06A8-36B9-F8BBBA758778}"/>
                </a:ext>
              </a:extLst>
            </p:cNvPr>
            <p:cNvSpPr txBox="1"/>
            <p:nvPr/>
          </p:nvSpPr>
          <p:spPr>
            <a:xfrm>
              <a:off x="3654826" y="4468613"/>
              <a:ext cx="2021403" cy="965008"/>
            </a:xfrm>
            <a:prstGeom prst="rect">
              <a:avLst/>
            </a:prstGeom>
            <a:noFill/>
          </p:spPr>
          <p:txBody>
            <a:bodyPr wrap="square" lIns="0" tIns="0" rIns="0" bIns="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3600" b="1" i="0" u="none" strike="noStrike" kern="1200" cap="none" spc="0" normalizeH="0" baseline="0" noProof="0">
                  <a:ln>
                    <a:noFill/>
                  </a:ln>
                  <a:solidFill>
                    <a:srgbClr val="FE8A25"/>
                  </a:solidFill>
                  <a:effectLst/>
                  <a:uLnTx/>
                  <a:uFillTx/>
                  <a:latin typeface="ES Build Neutral"/>
                  <a:ea typeface="+mn-ea"/>
                  <a:cs typeface="+mn-cs"/>
                </a:rPr>
                <a:t>92</a:t>
              </a:r>
              <a:r>
                <a:rPr kumimoji="0" lang="en-US" sz="3600" b="0" i="0" u="none" strike="noStrike" kern="1200" cap="none" spc="0" normalizeH="0" baseline="30000" noProof="0">
                  <a:ln>
                    <a:noFill/>
                  </a:ln>
                  <a:solidFill>
                    <a:srgbClr val="FE8A25"/>
                  </a:solidFill>
                  <a:effectLst/>
                  <a:uLnTx/>
                  <a:uFillTx/>
                  <a:latin typeface="ES Build Neutral"/>
                  <a:ea typeface="+mn-ea"/>
                  <a:cs typeface="+mn-cs"/>
                </a:rPr>
                <a:t>%</a:t>
              </a:r>
              <a:r>
                <a:rPr kumimoji="0" lang="en-US" sz="4400" b="1" i="0" u="none" strike="noStrike" kern="1200" cap="none" spc="0" normalizeH="0" baseline="0" noProof="0">
                  <a:ln>
                    <a:noFill/>
                  </a:ln>
                  <a:solidFill>
                    <a:srgbClr val="FE8A25"/>
                  </a:solidFill>
                  <a:effectLst/>
                  <a:uLnTx/>
                  <a:uFillTx/>
                  <a:latin typeface="ES Build Neutral"/>
                  <a:ea typeface="+mn-ea"/>
                  <a:cs typeface="+mn-cs"/>
                </a:rPr>
                <a:t> </a:t>
              </a:r>
            </a:p>
            <a:p>
              <a:pPr marL="0" marR="0" lvl="0" indent="0" algn="ctr" defTabSz="914400" rtl="0" eaLnBrk="1" fontAlgn="auto" latinLnBrk="0" hangingPunct="1">
                <a:lnSpc>
                  <a:spcPct val="98000"/>
                </a:lnSpc>
                <a:spcBef>
                  <a:spcPts val="0"/>
                </a:spcBef>
                <a:spcAft>
                  <a:spcPts val="0"/>
                </a:spcAft>
                <a:buClrTx/>
                <a:buSzTx/>
                <a:buFontTx/>
                <a:buNone/>
                <a:tabLst/>
                <a:defRPr/>
              </a:pPr>
              <a:r>
                <a:rPr kumimoji="0" lang="en-US" sz="1400" b="0" i="0" u="none" strike="noStrike" kern="1200" cap="none" spc="0" normalizeH="0" baseline="0" noProof="0">
                  <a:ln>
                    <a:noFill/>
                  </a:ln>
                  <a:solidFill>
                    <a:srgbClr val="505861"/>
                  </a:solidFill>
                  <a:effectLst/>
                  <a:uLnTx/>
                  <a:uFillTx/>
                  <a:latin typeface="ES Build Neutral"/>
                  <a:ea typeface="+mn-ea"/>
                  <a:cs typeface="+mn-cs"/>
                </a:rPr>
                <a:t>Enterprises have a multi-cloud strategy</a:t>
              </a:r>
              <a:endParaRPr kumimoji="0" lang="en-US" sz="1400" b="0" i="0" u="none" strike="noStrike" kern="1200" cap="none" spc="0" normalizeH="0" baseline="30000" noProof="0">
                <a:ln>
                  <a:noFill/>
                </a:ln>
                <a:solidFill>
                  <a:srgbClr val="505861"/>
                </a:solidFill>
                <a:effectLst/>
                <a:uLnTx/>
                <a:uFillTx/>
                <a:latin typeface="ES Build Neutral"/>
                <a:ea typeface="+mn-ea"/>
                <a:cs typeface="+mn-cs"/>
              </a:endParaRPr>
            </a:p>
          </p:txBody>
        </p:sp>
        <p:cxnSp>
          <p:nvCxnSpPr>
            <p:cNvPr id="42" name="Straight Connector 41">
              <a:extLst>
                <a:ext uri="{FF2B5EF4-FFF2-40B4-BE49-F238E27FC236}">
                  <a16:creationId xmlns:a16="http://schemas.microsoft.com/office/drawing/2014/main" id="{86DC61C4-1966-4E2A-0CD1-C0A1760C8006}"/>
                </a:ext>
              </a:extLst>
            </p:cNvPr>
            <p:cNvCxnSpPr>
              <a:cxnSpLocks/>
            </p:cNvCxnSpPr>
            <p:nvPr/>
          </p:nvCxnSpPr>
          <p:spPr>
            <a:xfrm>
              <a:off x="3326491" y="4240696"/>
              <a:ext cx="2651569" cy="0"/>
            </a:xfrm>
            <a:prstGeom prst="line">
              <a:avLst/>
            </a:prstGeom>
            <a:ln w="12700" cap="rnd">
              <a:solidFill>
                <a:schemeClr val="bg2"/>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grpSp>
      <p:grpSp>
        <p:nvGrpSpPr>
          <p:cNvPr id="64" name="Group 63">
            <a:extLst>
              <a:ext uri="{FF2B5EF4-FFF2-40B4-BE49-F238E27FC236}">
                <a16:creationId xmlns:a16="http://schemas.microsoft.com/office/drawing/2014/main" id="{9A96F727-7D20-73D8-E80F-7AA4EEF7B8BA}"/>
              </a:ext>
            </a:extLst>
          </p:cNvPr>
          <p:cNvGrpSpPr/>
          <p:nvPr/>
        </p:nvGrpSpPr>
        <p:grpSpPr>
          <a:xfrm>
            <a:off x="6125057" y="1328400"/>
            <a:ext cx="2716285" cy="4144002"/>
            <a:chOff x="6121059" y="1659983"/>
            <a:chExt cx="2716285" cy="4144002"/>
          </a:xfrm>
        </p:grpSpPr>
        <p:grpSp>
          <p:nvGrpSpPr>
            <p:cNvPr id="65" name="Group 64">
              <a:extLst>
                <a:ext uri="{FF2B5EF4-FFF2-40B4-BE49-F238E27FC236}">
                  <a16:creationId xmlns:a16="http://schemas.microsoft.com/office/drawing/2014/main" id="{886118E3-CB60-E08A-A6BF-336DF8BA2379}"/>
                </a:ext>
              </a:extLst>
            </p:cNvPr>
            <p:cNvGrpSpPr/>
            <p:nvPr/>
          </p:nvGrpSpPr>
          <p:grpSpPr>
            <a:xfrm>
              <a:off x="6121059" y="1659983"/>
              <a:ext cx="2716285" cy="4144002"/>
              <a:chOff x="3275027" y="1878359"/>
              <a:chExt cx="2716285" cy="4144002"/>
            </a:xfrm>
          </p:grpSpPr>
          <p:grpSp>
            <p:nvGrpSpPr>
              <p:cNvPr id="68" name="Group 67">
                <a:extLst>
                  <a:ext uri="{FF2B5EF4-FFF2-40B4-BE49-F238E27FC236}">
                    <a16:creationId xmlns:a16="http://schemas.microsoft.com/office/drawing/2014/main" id="{158E50EB-70E1-34C7-A330-E15869F9951B}"/>
                  </a:ext>
                </a:extLst>
              </p:cNvPr>
              <p:cNvGrpSpPr/>
              <p:nvPr/>
            </p:nvGrpSpPr>
            <p:grpSpPr>
              <a:xfrm>
                <a:off x="3339744" y="1878359"/>
                <a:ext cx="2651568" cy="4144002"/>
                <a:chOff x="489714" y="1878359"/>
                <a:chExt cx="2651568" cy="4144002"/>
              </a:xfrm>
            </p:grpSpPr>
            <p:sp>
              <p:nvSpPr>
                <p:cNvPr id="71" name="Freeform 70">
                  <a:extLst>
                    <a:ext uri="{FF2B5EF4-FFF2-40B4-BE49-F238E27FC236}">
                      <a16:creationId xmlns:a16="http://schemas.microsoft.com/office/drawing/2014/main" id="{C3B873C7-46BA-5180-548C-78A767460BCA}"/>
                    </a:ext>
                  </a:extLst>
                </p:cNvPr>
                <p:cNvSpPr/>
                <p:nvPr/>
              </p:nvSpPr>
              <p:spPr>
                <a:xfrm>
                  <a:off x="489714" y="1878359"/>
                  <a:ext cx="2651568" cy="234834"/>
                </a:xfrm>
                <a:custGeom>
                  <a:avLst/>
                  <a:gdLst>
                    <a:gd name="connsiteX0" fmla="*/ 82808 w 2651568"/>
                    <a:gd name="connsiteY0" fmla="*/ 0 h 234834"/>
                    <a:gd name="connsiteX1" fmla="*/ 2568760 w 2651568"/>
                    <a:gd name="connsiteY1" fmla="*/ 0 h 234834"/>
                    <a:gd name="connsiteX2" fmla="*/ 2651568 w 2651568"/>
                    <a:gd name="connsiteY2" fmla="*/ 82808 h 234834"/>
                    <a:gd name="connsiteX3" fmla="*/ 2651568 w 2651568"/>
                    <a:gd name="connsiteY3" fmla="*/ 234834 h 234834"/>
                    <a:gd name="connsiteX4" fmla="*/ 2568760 w 2651568"/>
                    <a:gd name="connsiteY4" fmla="*/ 152026 h 234834"/>
                    <a:gd name="connsiteX5" fmla="*/ 82808 w 2651568"/>
                    <a:gd name="connsiteY5" fmla="*/ 152026 h 234834"/>
                    <a:gd name="connsiteX6" fmla="*/ 0 w 2651568"/>
                    <a:gd name="connsiteY6" fmla="*/ 234834 h 234834"/>
                    <a:gd name="connsiteX7" fmla="*/ 0 w 2651568"/>
                    <a:gd name="connsiteY7" fmla="*/ 82808 h 234834"/>
                    <a:gd name="connsiteX8" fmla="*/ 82808 w 2651568"/>
                    <a:gd name="connsiteY8" fmla="*/ 0 h 234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51568" h="234834">
                      <a:moveTo>
                        <a:pt x="82808" y="0"/>
                      </a:moveTo>
                      <a:lnTo>
                        <a:pt x="2568760" y="0"/>
                      </a:lnTo>
                      <a:cubicBezTo>
                        <a:pt x="2614494" y="0"/>
                        <a:pt x="2651568" y="37074"/>
                        <a:pt x="2651568" y="82808"/>
                      </a:cubicBezTo>
                      <a:lnTo>
                        <a:pt x="2651568" y="234834"/>
                      </a:lnTo>
                      <a:cubicBezTo>
                        <a:pt x="2651568" y="189100"/>
                        <a:pt x="2614494" y="152026"/>
                        <a:pt x="2568760" y="152026"/>
                      </a:cubicBezTo>
                      <a:lnTo>
                        <a:pt x="82808" y="152026"/>
                      </a:lnTo>
                      <a:cubicBezTo>
                        <a:pt x="37074" y="152026"/>
                        <a:pt x="0" y="189100"/>
                        <a:pt x="0" y="234834"/>
                      </a:cubicBezTo>
                      <a:lnTo>
                        <a:pt x="0" y="82808"/>
                      </a:lnTo>
                      <a:cubicBezTo>
                        <a:pt x="0" y="37074"/>
                        <a:pt x="37074" y="0"/>
                        <a:pt x="82808" y="0"/>
                      </a:cubicBezTo>
                      <a:close/>
                    </a:path>
                  </a:pathLst>
                </a:custGeom>
                <a:solidFill>
                  <a:schemeClr val="accent6"/>
                </a:solidFill>
                <a:ln w="12700">
                  <a:noFill/>
                  <a:headEnd type="none" w="med" len="med"/>
                  <a:tailEnd type="none" w="med" len="med"/>
                </a:ln>
                <a:effectLst>
                  <a:outerShdw blurRad="381000" algn="ctr" rotWithShape="0">
                    <a:schemeClr val="accent1">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74320" rIns="731520" bIns="2743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6000"/>
                    </a:lnSpc>
                  </a:pPr>
                  <a:endParaRPr kumimoji="0" lang="en-US" sz="1200" b="1" i="0" u="none" strike="noStrike" kern="1200" cap="none" spc="0" normalizeH="0" baseline="0" noProof="0">
                    <a:ln>
                      <a:noFill/>
                    </a:ln>
                    <a:solidFill>
                      <a:schemeClr val="tx1"/>
                    </a:solidFill>
                    <a:effectLst/>
                    <a:uLnTx/>
                    <a:uFillTx/>
                    <a:latin typeface="ES Build Neutral"/>
                    <a:ea typeface="+mn-ea"/>
                    <a:cs typeface="+mn-cs"/>
                  </a:endParaRPr>
                </a:p>
              </p:txBody>
            </p:sp>
            <p:sp>
              <p:nvSpPr>
                <p:cNvPr id="72" name="!!1">
                  <a:extLst>
                    <a:ext uri="{FF2B5EF4-FFF2-40B4-BE49-F238E27FC236}">
                      <a16:creationId xmlns:a16="http://schemas.microsoft.com/office/drawing/2014/main" id="{12343E36-527A-A634-7822-0DF3292B02EA}"/>
                    </a:ext>
                  </a:extLst>
                </p:cNvPr>
                <p:cNvSpPr/>
                <p:nvPr/>
              </p:nvSpPr>
              <p:spPr>
                <a:xfrm>
                  <a:off x="489714" y="2030385"/>
                  <a:ext cx="2651568" cy="3991976"/>
                </a:xfrm>
                <a:prstGeom prst="roundRect">
                  <a:avLst>
                    <a:gd name="adj" fmla="val 3123"/>
                  </a:avLst>
                </a:prstGeom>
                <a:solidFill>
                  <a:schemeClr val="bg1"/>
                </a:solidFill>
                <a:ln w="12700">
                  <a:noFill/>
                  <a:headEnd type="none" w="med" len="med"/>
                  <a:tailEnd type="none" w="med" len="med"/>
                </a:ln>
                <a:effectLst>
                  <a:outerShdw blurRad="381000" algn="ctr" rotWithShape="0">
                    <a:schemeClr val="accent1">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74320" rIns="731520" bIns="2743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6000"/>
                    </a:lnSpc>
                  </a:pPr>
                  <a:endParaRPr kumimoji="0" lang="en-US" sz="1200" b="1" i="0" u="none" strike="noStrike" kern="1200" cap="none" spc="0" normalizeH="0" baseline="0" noProof="0">
                    <a:ln>
                      <a:noFill/>
                    </a:ln>
                    <a:solidFill>
                      <a:schemeClr val="tx1"/>
                    </a:solidFill>
                    <a:effectLst/>
                    <a:uLnTx/>
                    <a:uFillTx/>
                    <a:latin typeface="ES Build Neutral"/>
                    <a:ea typeface="+mn-ea"/>
                    <a:cs typeface="+mn-cs"/>
                  </a:endParaRPr>
                </a:p>
              </p:txBody>
            </p:sp>
          </p:grpSp>
          <p:sp>
            <p:nvSpPr>
              <p:cNvPr id="69" name="!!2">
                <a:extLst>
                  <a:ext uri="{FF2B5EF4-FFF2-40B4-BE49-F238E27FC236}">
                    <a16:creationId xmlns:a16="http://schemas.microsoft.com/office/drawing/2014/main" id="{93AC8967-8123-654E-F1AE-9B7AB3289F45}"/>
                  </a:ext>
                </a:extLst>
              </p:cNvPr>
              <p:cNvSpPr txBox="1"/>
              <p:nvPr/>
            </p:nvSpPr>
            <p:spPr>
              <a:xfrm>
                <a:off x="3275027" y="3655683"/>
                <a:ext cx="2651569" cy="626903"/>
              </a:xfrm>
              <a:prstGeom prst="rect">
                <a:avLst/>
              </a:prstGeom>
              <a:noFill/>
            </p:spPr>
            <p:txBody>
              <a:bodyPr wrap="square" rtlCol="0">
                <a:spAutoFit/>
              </a:bodyPr>
              <a:lstStyle/>
              <a:p>
                <a:pPr algn="ctr">
                  <a:lnSpc>
                    <a:spcPct val="96000"/>
                  </a:lnSpc>
                </a:pPr>
                <a:r>
                  <a:rPr lang="en-US" b="1">
                    <a:solidFill>
                      <a:schemeClr val="tx1"/>
                    </a:solidFill>
                    <a:latin typeface="ES Build Neutral"/>
                    <a:cs typeface="Microsoft Sans Serif" panose="020B0604020202020204" pitchFamily="34" charset="0"/>
                  </a:rPr>
                  <a:t>Vendor </a:t>
                </a:r>
              </a:p>
              <a:p>
                <a:pPr algn="ctr">
                  <a:lnSpc>
                    <a:spcPct val="96000"/>
                  </a:lnSpc>
                </a:pPr>
                <a:r>
                  <a:rPr lang="en-US" b="1">
                    <a:solidFill>
                      <a:schemeClr val="tx1"/>
                    </a:solidFill>
                    <a:latin typeface="ES Build Neutral"/>
                    <a:cs typeface="Microsoft Sans Serif" panose="020B0604020202020204" pitchFamily="34" charset="0"/>
                  </a:rPr>
                  <a:t>Lock-In</a:t>
                </a:r>
              </a:p>
            </p:txBody>
          </p:sp>
          <p:pic>
            <p:nvPicPr>
              <p:cNvPr id="70" name="Graphic 23">
                <a:extLst>
                  <a:ext uri="{FF2B5EF4-FFF2-40B4-BE49-F238E27FC236}">
                    <a16:creationId xmlns:a16="http://schemas.microsoft.com/office/drawing/2014/main" id="{61F18CAE-54EE-CDD6-8B39-9D22409DAE74}"/>
                  </a:ext>
                </a:extLst>
              </p:cNvPr>
              <p:cNvPicPr preferRelativeResize="0">
                <a:picLocks noChangeAspect="1"/>
              </p:cNvPicPr>
              <p:nvPr/>
            </p:nvPicPr>
            <p:blipFill>
              <a:blip r:embed="rId7">
                <a:extLst>
                  <a:ext uri="{96DAC541-7B7A-43D3-8B79-37D633B846F1}">
                    <asvg:svgBlip xmlns:asvg="http://schemas.microsoft.com/office/drawing/2016/SVG/main" r:embed="rId8"/>
                  </a:ext>
                </a:extLst>
              </a:blip>
              <a:srcRect/>
              <a:stretch/>
            </p:blipFill>
            <p:spPr>
              <a:xfrm>
                <a:off x="4088168" y="2320653"/>
                <a:ext cx="1176068" cy="1176068"/>
              </a:xfrm>
              <a:prstGeom prst="rect">
                <a:avLst/>
              </a:prstGeom>
            </p:spPr>
          </p:pic>
        </p:grpSp>
        <p:sp>
          <p:nvSpPr>
            <p:cNvPr id="66" name="TextBox 65">
              <a:extLst>
                <a:ext uri="{FF2B5EF4-FFF2-40B4-BE49-F238E27FC236}">
                  <a16:creationId xmlns:a16="http://schemas.microsoft.com/office/drawing/2014/main" id="{9A758CC1-D52E-F9C4-5928-5C7C485AC0AE}"/>
                </a:ext>
              </a:extLst>
            </p:cNvPr>
            <p:cNvSpPr txBox="1"/>
            <p:nvPr/>
          </p:nvSpPr>
          <p:spPr>
            <a:xfrm>
              <a:off x="6185776" y="4534129"/>
              <a:ext cx="2651568" cy="658642"/>
            </a:xfrm>
            <a:prstGeom prst="rect">
              <a:avLst/>
            </a:prstGeom>
            <a:noFill/>
          </p:spPr>
          <p:txBody>
            <a:bodyPr wrap="square" lIns="0" tIns="0" rIns="0" bIns="0">
              <a:spAutoFit/>
            </a:bodyPr>
            <a:lstStyle/>
            <a:p>
              <a:pPr marL="0" marR="0" lvl="0" indent="0" algn="ctr" defTabSz="914400" rtl="0" eaLnBrk="1" fontAlgn="auto" latinLnBrk="0" hangingPunct="1">
                <a:lnSpc>
                  <a:spcPct val="80000"/>
                </a:lnSpc>
                <a:buClrTx/>
                <a:buSzTx/>
                <a:buFontTx/>
                <a:buNone/>
                <a:tabLst/>
                <a:defRPr/>
              </a:pPr>
              <a:r>
                <a:rPr kumimoji="0" lang="en-US" sz="1400" i="0" u="none" strike="noStrike" kern="1200" cap="none" spc="0" normalizeH="0" baseline="0" noProof="0">
                  <a:ln>
                    <a:noFill/>
                  </a:ln>
                  <a:effectLst/>
                  <a:uLnTx/>
                  <a:uFillTx/>
                  <a:latin typeface="ES Build Neutral"/>
                  <a:ea typeface="+mn-ea"/>
                  <a:cs typeface="+mn-cs"/>
                </a:rPr>
                <a:t>Every</a:t>
              </a:r>
              <a:r>
                <a:rPr kumimoji="0" lang="en-US" sz="3600" b="1" i="0" u="none" strike="noStrike" kern="1200" cap="none" spc="0" normalizeH="0" baseline="0" noProof="0">
                  <a:ln>
                    <a:noFill/>
                  </a:ln>
                  <a:solidFill>
                    <a:srgbClr val="FE8A25"/>
                  </a:solidFill>
                  <a:effectLst/>
                  <a:uLnTx/>
                  <a:uFillTx/>
                  <a:latin typeface="ES Build Neutral"/>
                  <a:ea typeface="+mn-ea"/>
                  <a:cs typeface="+mn-cs"/>
                </a:rPr>
                <a:t> 3 Years</a:t>
              </a:r>
            </a:p>
            <a:p>
              <a:pPr algn="ctr"/>
              <a:r>
                <a:rPr lang="en-US" sz="1400">
                  <a:effectLst/>
                  <a:latin typeface="Helvetica Neue" panose="02000503000000020004" pitchFamily="2" charset="0"/>
                </a:rPr>
                <a:t>IT Hardware Refresh </a:t>
              </a:r>
            </a:p>
          </p:txBody>
        </p:sp>
        <p:cxnSp>
          <p:nvCxnSpPr>
            <p:cNvPr id="67" name="Straight Connector 66">
              <a:extLst>
                <a:ext uri="{FF2B5EF4-FFF2-40B4-BE49-F238E27FC236}">
                  <a16:creationId xmlns:a16="http://schemas.microsoft.com/office/drawing/2014/main" id="{1ED933C9-DEB6-29EB-9041-25929C2E372F}"/>
                </a:ext>
              </a:extLst>
            </p:cNvPr>
            <p:cNvCxnSpPr>
              <a:cxnSpLocks/>
            </p:cNvCxnSpPr>
            <p:nvPr/>
          </p:nvCxnSpPr>
          <p:spPr>
            <a:xfrm>
              <a:off x="6185775" y="4240696"/>
              <a:ext cx="2651569" cy="0"/>
            </a:xfrm>
            <a:prstGeom prst="line">
              <a:avLst/>
            </a:prstGeom>
            <a:ln w="12700" cap="rnd">
              <a:solidFill>
                <a:schemeClr val="bg2"/>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0677B16A-38E8-56F1-0855-32A6C8A8F42B}"/>
              </a:ext>
            </a:extLst>
          </p:cNvPr>
          <p:cNvGrpSpPr/>
          <p:nvPr/>
        </p:nvGrpSpPr>
        <p:grpSpPr>
          <a:xfrm>
            <a:off x="9039805" y="1328130"/>
            <a:ext cx="2666820" cy="4144000"/>
            <a:chOff x="9035807" y="1659713"/>
            <a:chExt cx="2666820" cy="4144000"/>
          </a:xfrm>
        </p:grpSpPr>
        <p:grpSp>
          <p:nvGrpSpPr>
            <p:cNvPr id="74" name="Group 73">
              <a:extLst>
                <a:ext uri="{FF2B5EF4-FFF2-40B4-BE49-F238E27FC236}">
                  <a16:creationId xmlns:a16="http://schemas.microsoft.com/office/drawing/2014/main" id="{26DB4F50-B9BC-7218-8078-FF5CAFF4D3AB}"/>
                </a:ext>
              </a:extLst>
            </p:cNvPr>
            <p:cNvGrpSpPr/>
            <p:nvPr/>
          </p:nvGrpSpPr>
          <p:grpSpPr>
            <a:xfrm>
              <a:off x="9035807" y="1659713"/>
              <a:ext cx="2666820" cy="4144000"/>
              <a:chOff x="3339744" y="1878359"/>
              <a:chExt cx="2666820" cy="4144000"/>
            </a:xfrm>
          </p:grpSpPr>
          <p:grpSp>
            <p:nvGrpSpPr>
              <p:cNvPr id="77" name="Group 76">
                <a:extLst>
                  <a:ext uri="{FF2B5EF4-FFF2-40B4-BE49-F238E27FC236}">
                    <a16:creationId xmlns:a16="http://schemas.microsoft.com/office/drawing/2014/main" id="{0170E8A9-A479-0E5E-62DF-BE02DC3D118F}"/>
                  </a:ext>
                </a:extLst>
              </p:cNvPr>
              <p:cNvGrpSpPr/>
              <p:nvPr/>
            </p:nvGrpSpPr>
            <p:grpSpPr>
              <a:xfrm>
                <a:off x="3339744" y="1878359"/>
                <a:ext cx="2651568" cy="4144000"/>
                <a:chOff x="489714" y="1878359"/>
                <a:chExt cx="2651568" cy="4144000"/>
              </a:xfrm>
            </p:grpSpPr>
            <p:sp>
              <p:nvSpPr>
                <p:cNvPr id="80" name="Freeform 79">
                  <a:extLst>
                    <a:ext uri="{FF2B5EF4-FFF2-40B4-BE49-F238E27FC236}">
                      <a16:creationId xmlns:a16="http://schemas.microsoft.com/office/drawing/2014/main" id="{7C37C441-1BF8-39CD-66B4-95D43D9056FF}"/>
                    </a:ext>
                  </a:extLst>
                </p:cNvPr>
                <p:cNvSpPr/>
                <p:nvPr/>
              </p:nvSpPr>
              <p:spPr>
                <a:xfrm>
                  <a:off x="489714" y="1878359"/>
                  <a:ext cx="2651568" cy="234834"/>
                </a:xfrm>
                <a:custGeom>
                  <a:avLst/>
                  <a:gdLst>
                    <a:gd name="connsiteX0" fmla="*/ 82808 w 2651568"/>
                    <a:gd name="connsiteY0" fmla="*/ 0 h 234834"/>
                    <a:gd name="connsiteX1" fmla="*/ 2568760 w 2651568"/>
                    <a:gd name="connsiteY1" fmla="*/ 0 h 234834"/>
                    <a:gd name="connsiteX2" fmla="*/ 2651568 w 2651568"/>
                    <a:gd name="connsiteY2" fmla="*/ 82808 h 234834"/>
                    <a:gd name="connsiteX3" fmla="*/ 2651568 w 2651568"/>
                    <a:gd name="connsiteY3" fmla="*/ 234834 h 234834"/>
                    <a:gd name="connsiteX4" fmla="*/ 2568760 w 2651568"/>
                    <a:gd name="connsiteY4" fmla="*/ 152026 h 234834"/>
                    <a:gd name="connsiteX5" fmla="*/ 82808 w 2651568"/>
                    <a:gd name="connsiteY5" fmla="*/ 152026 h 234834"/>
                    <a:gd name="connsiteX6" fmla="*/ 0 w 2651568"/>
                    <a:gd name="connsiteY6" fmla="*/ 234834 h 234834"/>
                    <a:gd name="connsiteX7" fmla="*/ 0 w 2651568"/>
                    <a:gd name="connsiteY7" fmla="*/ 82808 h 234834"/>
                    <a:gd name="connsiteX8" fmla="*/ 82808 w 2651568"/>
                    <a:gd name="connsiteY8" fmla="*/ 0 h 234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51568" h="234834">
                      <a:moveTo>
                        <a:pt x="82808" y="0"/>
                      </a:moveTo>
                      <a:lnTo>
                        <a:pt x="2568760" y="0"/>
                      </a:lnTo>
                      <a:cubicBezTo>
                        <a:pt x="2614494" y="0"/>
                        <a:pt x="2651568" y="37074"/>
                        <a:pt x="2651568" y="82808"/>
                      </a:cubicBezTo>
                      <a:lnTo>
                        <a:pt x="2651568" y="234834"/>
                      </a:lnTo>
                      <a:cubicBezTo>
                        <a:pt x="2651568" y="189100"/>
                        <a:pt x="2614494" y="152026"/>
                        <a:pt x="2568760" y="152026"/>
                      </a:cubicBezTo>
                      <a:lnTo>
                        <a:pt x="82808" y="152026"/>
                      </a:lnTo>
                      <a:cubicBezTo>
                        <a:pt x="37074" y="152026"/>
                        <a:pt x="0" y="189100"/>
                        <a:pt x="0" y="234834"/>
                      </a:cubicBezTo>
                      <a:lnTo>
                        <a:pt x="0" y="82808"/>
                      </a:lnTo>
                      <a:cubicBezTo>
                        <a:pt x="0" y="37074"/>
                        <a:pt x="37074" y="0"/>
                        <a:pt x="82808" y="0"/>
                      </a:cubicBezTo>
                      <a:close/>
                    </a:path>
                  </a:pathLst>
                </a:custGeom>
                <a:solidFill>
                  <a:srgbClr val="ED2B3D"/>
                </a:solidFill>
                <a:ln w="12700">
                  <a:noFill/>
                  <a:headEnd type="none" w="med" len="med"/>
                  <a:tailEnd type="none" w="med" len="med"/>
                </a:ln>
                <a:effectLst>
                  <a:outerShdw blurRad="381000" algn="ctr" rotWithShape="0">
                    <a:schemeClr val="accent1">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74320" rIns="731520" bIns="2743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6000"/>
                    </a:lnSpc>
                  </a:pPr>
                  <a:endParaRPr kumimoji="0" lang="en-US" sz="1200" b="1" i="0" u="none" strike="noStrike" kern="1200" cap="none" spc="0" normalizeH="0" baseline="0" noProof="0">
                    <a:ln>
                      <a:noFill/>
                    </a:ln>
                    <a:solidFill>
                      <a:schemeClr val="tx1"/>
                    </a:solidFill>
                    <a:effectLst/>
                    <a:uLnTx/>
                    <a:uFillTx/>
                    <a:latin typeface="ES Build Neutral"/>
                    <a:ea typeface="+mn-ea"/>
                    <a:cs typeface="+mn-cs"/>
                  </a:endParaRPr>
                </a:p>
              </p:txBody>
            </p:sp>
            <p:sp>
              <p:nvSpPr>
                <p:cNvPr id="81" name="!!1">
                  <a:extLst>
                    <a:ext uri="{FF2B5EF4-FFF2-40B4-BE49-F238E27FC236}">
                      <a16:creationId xmlns:a16="http://schemas.microsoft.com/office/drawing/2014/main" id="{E5CC902D-ACB1-9B71-257B-45FE6F5425F8}"/>
                    </a:ext>
                  </a:extLst>
                </p:cNvPr>
                <p:cNvSpPr/>
                <p:nvPr/>
              </p:nvSpPr>
              <p:spPr>
                <a:xfrm>
                  <a:off x="489714" y="2030384"/>
                  <a:ext cx="2651568" cy="3991975"/>
                </a:xfrm>
                <a:prstGeom prst="roundRect">
                  <a:avLst>
                    <a:gd name="adj" fmla="val 3123"/>
                  </a:avLst>
                </a:prstGeom>
                <a:solidFill>
                  <a:schemeClr val="bg1"/>
                </a:solidFill>
                <a:ln w="12700">
                  <a:noFill/>
                  <a:headEnd type="none" w="med" len="med"/>
                  <a:tailEnd type="none" w="med" len="med"/>
                </a:ln>
                <a:effectLst>
                  <a:outerShdw blurRad="381000" algn="ctr" rotWithShape="0">
                    <a:schemeClr val="accent1">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74320" rIns="731520" bIns="2743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6000"/>
                    </a:lnSpc>
                  </a:pPr>
                  <a:endParaRPr kumimoji="0" lang="en-US" sz="1200" b="1" i="0" u="none" strike="noStrike" kern="1200" cap="none" spc="0" normalizeH="0" baseline="0" noProof="0">
                    <a:ln>
                      <a:noFill/>
                    </a:ln>
                    <a:solidFill>
                      <a:schemeClr val="tx1"/>
                    </a:solidFill>
                    <a:effectLst/>
                    <a:uLnTx/>
                    <a:uFillTx/>
                    <a:latin typeface="ES Build Neutral"/>
                    <a:ea typeface="+mn-ea"/>
                    <a:cs typeface="+mn-cs"/>
                  </a:endParaRPr>
                </a:p>
              </p:txBody>
            </p:sp>
          </p:grpSp>
          <p:sp>
            <p:nvSpPr>
              <p:cNvPr id="78" name="!!2">
                <a:extLst>
                  <a:ext uri="{FF2B5EF4-FFF2-40B4-BE49-F238E27FC236}">
                    <a16:creationId xmlns:a16="http://schemas.microsoft.com/office/drawing/2014/main" id="{FFE31B48-99D1-0438-513C-48B2B4F67899}"/>
                  </a:ext>
                </a:extLst>
              </p:cNvPr>
              <p:cNvSpPr txBox="1"/>
              <p:nvPr/>
            </p:nvSpPr>
            <p:spPr>
              <a:xfrm>
                <a:off x="3339744" y="3655953"/>
                <a:ext cx="2666820" cy="626903"/>
              </a:xfrm>
              <a:prstGeom prst="rect">
                <a:avLst/>
              </a:prstGeom>
              <a:noFill/>
            </p:spPr>
            <p:txBody>
              <a:bodyPr wrap="square" rtlCol="0">
                <a:spAutoFit/>
              </a:bodyPr>
              <a:lstStyle/>
              <a:p>
                <a:pPr algn="ctr">
                  <a:lnSpc>
                    <a:spcPct val="96000"/>
                  </a:lnSpc>
                </a:pPr>
                <a:r>
                  <a:rPr lang="en-US" b="1">
                    <a:solidFill>
                      <a:schemeClr val="tx1"/>
                    </a:solidFill>
                    <a:latin typeface="ES Build Neutral"/>
                    <a:cs typeface="Microsoft Sans Serif" panose="020B0604020202020204" pitchFamily="34" charset="0"/>
                  </a:rPr>
                  <a:t>Surge in Ransomware Complexity</a:t>
                </a:r>
              </a:p>
            </p:txBody>
          </p:sp>
          <p:pic>
            <p:nvPicPr>
              <p:cNvPr id="79" name="Graphic 23">
                <a:extLst>
                  <a:ext uri="{FF2B5EF4-FFF2-40B4-BE49-F238E27FC236}">
                    <a16:creationId xmlns:a16="http://schemas.microsoft.com/office/drawing/2014/main" id="{5CF3889B-8554-32C5-4459-4A3F26E282D9}"/>
                  </a:ext>
                </a:extLst>
              </p:cNvPr>
              <p:cNvPicPr preferRelativeResize="0">
                <a:picLocks noChangeAspect="1"/>
              </p:cNvPicPr>
              <p:nvPr/>
            </p:nvPicPr>
            <p:blipFill>
              <a:blip r:embed="rId9">
                <a:extLst>
                  <a:ext uri="{96DAC541-7B7A-43D3-8B79-37D633B846F1}">
                    <asvg:svgBlip xmlns:asvg="http://schemas.microsoft.com/office/drawing/2016/SVG/main" r:embed="rId10"/>
                  </a:ext>
                </a:extLst>
              </a:blip>
              <a:srcRect/>
              <a:stretch/>
            </p:blipFill>
            <p:spPr>
              <a:xfrm>
                <a:off x="4045968" y="2321117"/>
                <a:ext cx="1179582" cy="1179582"/>
              </a:xfrm>
              <a:prstGeom prst="rect">
                <a:avLst/>
              </a:prstGeom>
            </p:spPr>
          </p:pic>
        </p:grpSp>
        <p:sp>
          <p:nvSpPr>
            <p:cNvPr id="75" name="TextBox 74">
              <a:extLst>
                <a:ext uri="{FF2B5EF4-FFF2-40B4-BE49-F238E27FC236}">
                  <a16:creationId xmlns:a16="http://schemas.microsoft.com/office/drawing/2014/main" id="{25BD7727-FD12-28A2-13D5-9FEB40716900}"/>
                </a:ext>
              </a:extLst>
            </p:cNvPr>
            <p:cNvSpPr txBox="1"/>
            <p:nvPr/>
          </p:nvSpPr>
          <p:spPr>
            <a:xfrm>
              <a:off x="9223016" y="4536106"/>
              <a:ext cx="2270166" cy="1122936"/>
            </a:xfrm>
            <a:prstGeom prst="rect">
              <a:avLst/>
            </a:prstGeom>
            <a:noFill/>
          </p:spPr>
          <p:txBody>
            <a:bodyPr wrap="square" lIns="0" tIns="0" rIns="0" bIns="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3600" b="1" i="0" u="none" strike="noStrike" kern="1200" cap="none" spc="0" normalizeH="0" baseline="0" noProof="0">
                  <a:ln>
                    <a:noFill/>
                  </a:ln>
                  <a:solidFill>
                    <a:srgbClr val="ED2B3D"/>
                  </a:solidFill>
                  <a:effectLst/>
                  <a:uLnTx/>
                  <a:uFillTx/>
                  <a:latin typeface="ES Build Neutral"/>
                  <a:ea typeface="+mn-ea"/>
                  <a:cs typeface="+mn-cs"/>
                </a:rPr>
                <a:t>1 in 4</a:t>
              </a:r>
            </a:p>
            <a:p>
              <a:pPr marL="0" marR="0" lvl="0" indent="0" algn="ctr" defTabSz="1218768" rtl="0" eaLnBrk="1" fontAlgn="base" latinLnBrk="0" hangingPunct="1">
                <a:lnSpc>
                  <a:spcPct val="98000"/>
                </a:lnSpc>
                <a:spcBef>
                  <a:spcPct val="0"/>
                </a:spcBef>
                <a:spcAft>
                  <a:spcPct val="0"/>
                </a:spcAft>
                <a:buClrTx/>
                <a:buSzTx/>
                <a:buFontTx/>
                <a:buNone/>
                <a:tabLst/>
                <a:defRPr/>
              </a:pPr>
              <a:endParaRPr kumimoji="0" lang="en-US" sz="300" b="0" i="0" u="none" strike="noStrike" kern="1200" cap="none" spc="0" normalizeH="0" baseline="0" noProof="0">
                <a:ln>
                  <a:noFill/>
                </a:ln>
                <a:solidFill>
                  <a:srgbClr val="505861"/>
                </a:solidFill>
                <a:effectLst/>
                <a:uLnTx/>
                <a:uFillTx/>
                <a:ea typeface="+mn-ea"/>
                <a:cs typeface="+mn-cs"/>
              </a:endParaRPr>
            </a:p>
            <a:p>
              <a:pPr marL="0" marR="0" lvl="0" indent="0" algn="ctr" defTabSz="1218768" rtl="0" eaLnBrk="1" fontAlgn="base" latinLnBrk="0" hangingPunct="1">
                <a:lnSpc>
                  <a:spcPct val="98000"/>
                </a:lnSpc>
                <a:spcBef>
                  <a:spcPct val="0"/>
                </a:spcBef>
                <a:spcAft>
                  <a:spcPct val="0"/>
                </a:spcAft>
                <a:buClrTx/>
                <a:buSzTx/>
                <a:buFontTx/>
                <a:buNone/>
                <a:tabLst/>
                <a:defRPr/>
              </a:pPr>
              <a:r>
                <a:rPr kumimoji="0" lang="en-US" sz="1400" b="1" i="0" u="none" strike="noStrike" kern="1200" cap="none" spc="0" normalizeH="0" baseline="0" noProof="0">
                  <a:ln>
                    <a:noFill/>
                  </a:ln>
                  <a:solidFill>
                    <a:srgbClr val="505861"/>
                  </a:solidFill>
                  <a:effectLst/>
                  <a:uLnTx/>
                  <a:uFillTx/>
                  <a:ea typeface="+mn-ea"/>
                  <a:cs typeface="+mn-cs"/>
                </a:rPr>
                <a:t>27% </a:t>
              </a:r>
              <a:r>
                <a:rPr kumimoji="0" lang="en-US" sz="1400" b="0" i="0" u="none" strike="noStrike" kern="1200" cap="none" spc="0" normalizeH="0" baseline="0" noProof="0">
                  <a:ln>
                    <a:noFill/>
                  </a:ln>
                  <a:solidFill>
                    <a:srgbClr val="505861"/>
                  </a:solidFill>
                  <a:effectLst/>
                  <a:uLnTx/>
                  <a:uFillTx/>
                  <a:ea typeface="+mn-ea"/>
                  <a:cs typeface="+mn-cs"/>
                </a:rPr>
                <a:t>of organizations paid the ransom and never got their data back</a:t>
              </a:r>
            </a:p>
          </p:txBody>
        </p:sp>
        <p:cxnSp>
          <p:nvCxnSpPr>
            <p:cNvPr id="76" name="Straight Connector 75">
              <a:extLst>
                <a:ext uri="{FF2B5EF4-FFF2-40B4-BE49-F238E27FC236}">
                  <a16:creationId xmlns:a16="http://schemas.microsoft.com/office/drawing/2014/main" id="{58EFACFB-5C77-6FA6-15FA-E02EE93B9B1B}"/>
                </a:ext>
              </a:extLst>
            </p:cNvPr>
            <p:cNvCxnSpPr>
              <a:cxnSpLocks/>
            </p:cNvCxnSpPr>
            <p:nvPr/>
          </p:nvCxnSpPr>
          <p:spPr>
            <a:xfrm>
              <a:off x="9045130" y="4240696"/>
              <a:ext cx="2651569" cy="0"/>
            </a:xfrm>
            <a:prstGeom prst="line">
              <a:avLst/>
            </a:prstGeom>
            <a:ln w="12700" cap="rnd">
              <a:solidFill>
                <a:schemeClr val="bg2"/>
              </a:solidFill>
              <a:round/>
              <a:headEnd type="none" w="med" len="sm"/>
              <a:tailEnd type="none" w="sm" len="sm"/>
            </a:ln>
          </p:spPr>
          <p:style>
            <a:lnRef idx="1">
              <a:schemeClr val="accent1"/>
            </a:lnRef>
            <a:fillRef idx="0">
              <a:schemeClr val="accent1"/>
            </a:fillRef>
            <a:effectRef idx="0">
              <a:schemeClr val="accent1"/>
            </a:effectRef>
            <a:fontRef idx="minor">
              <a:schemeClr val="tx1"/>
            </a:fontRef>
          </p:style>
        </p:cxnSp>
      </p:grpSp>
      <p:sp>
        <p:nvSpPr>
          <p:cNvPr id="82" name="Rectangle 81">
            <a:extLst>
              <a:ext uri="{FF2B5EF4-FFF2-40B4-BE49-F238E27FC236}">
                <a16:creationId xmlns:a16="http://schemas.microsoft.com/office/drawing/2014/main" id="{39757B68-7E30-9682-D787-1E9148FFBA71}"/>
              </a:ext>
            </a:extLst>
          </p:cNvPr>
          <p:cNvSpPr/>
          <p:nvPr/>
        </p:nvSpPr>
        <p:spPr>
          <a:xfrm>
            <a:off x="32085" y="128337"/>
            <a:ext cx="12192000" cy="6858000"/>
          </a:xfrm>
          <a:prstGeom prst="rect">
            <a:avLst/>
          </a:prstGeom>
          <a:solidFill>
            <a:schemeClr val="bg1">
              <a:alpha val="89815"/>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RU">
              <a:solidFill>
                <a:schemeClr val="bg1"/>
              </a:solidFill>
              <a:latin typeface="ES Build" pitchFamily="50" charset="0"/>
              <a:cs typeface="Microsoft Sans Serif" panose="020B0604020202020204" pitchFamily="34" charset="0"/>
            </a:endParaRPr>
          </a:p>
        </p:txBody>
      </p:sp>
      <p:sp>
        <p:nvSpPr>
          <p:cNvPr id="85" name="Graphic 18">
            <a:extLst>
              <a:ext uri="{FF2B5EF4-FFF2-40B4-BE49-F238E27FC236}">
                <a16:creationId xmlns:a16="http://schemas.microsoft.com/office/drawing/2014/main" id="{E882414C-6E21-9060-7855-1567B0756E59}"/>
              </a:ext>
            </a:extLst>
          </p:cNvPr>
          <p:cNvSpPr/>
          <p:nvPr/>
        </p:nvSpPr>
        <p:spPr>
          <a:xfrm>
            <a:off x="-6347194" y="128337"/>
            <a:ext cx="17735580" cy="6858000"/>
          </a:xfrm>
          <a:custGeom>
            <a:avLst/>
            <a:gdLst>
              <a:gd name="connsiteX0" fmla="*/ 6664744 w 7771504"/>
              <a:gd name="connsiteY0" fmla="*/ 0 h 3005088"/>
              <a:gd name="connsiteX1" fmla="*/ 4094837 w 7771504"/>
              <a:gd name="connsiteY1" fmla="*/ 2554683 h 3005088"/>
              <a:gd name="connsiteX2" fmla="*/ 3884409 w 7771504"/>
              <a:gd name="connsiteY2" fmla="*/ 2641541 h 3005088"/>
              <a:gd name="connsiteX3" fmla="*/ 3674877 w 7771504"/>
              <a:gd name="connsiteY3" fmla="*/ 2554683 h 3005088"/>
              <a:gd name="connsiteX4" fmla="*/ 1104970 w 7771504"/>
              <a:gd name="connsiteY4" fmla="*/ 0 h 3005088"/>
              <a:gd name="connsiteX5" fmla="*/ 0 w 7771504"/>
              <a:gd name="connsiteY5" fmla="*/ 1100493 h 3005088"/>
              <a:gd name="connsiteX6" fmla="*/ 1487322 w 7771504"/>
              <a:gd name="connsiteY6" fmla="*/ 2576174 h 3005088"/>
              <a:gd name="connsiteX7" fmla="*/ 2529612 w 7771504"/>
              <a:gd name="connsiteY7" fmla="*/ 3005088 h 3005088"/>
              <a:gd name="connsiteX8" fmla="*/ 5241893 w 7771504"/>
              <a:gd name="connsiteY8" fmla="*/ 3005088 h 3005088"/>
              <a:gd name="connsiteX9" fmla="*/ 6284183 w 7771504"/>
              <a:gd name="connsiteY9" fmla="*/ 2576174 h 3005088"/>
              <a:gd name="connsiteX10" fmla="*/ 7771505 w 7771504"/>
              <a:gd name="connsiteY10" fmla="*/ 1100493 h 3005088"/>
              <a:gd name="connsiteX11" fmla="*/ 6664744 w 7771504"/>
              <a:gd name="connsiteY11" fmla="*/ 0 h 3005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771504" h="3005088">
                <a:moveTo>
                  <a:pt x="6664744" y="0"/>
                </a:moveTo>
                <a:lnTo>
                  <a:pt x="4094837" y="2554683"/>
                </a:lnTo>
                <a:cubicBezTo>
                  <a:pt x="4036634" y="2611991"/>
                  <a:pt x="3960521" y="2641541"/>
                  <a:pt x="3884409" y="2641541"/>
                </a:cubicBezTo>
                <a:cubicBezTo>
                  <a:pt x="3808297" y="2641541"/>
                  <a:pt x="3732185" y="2612887"/>
                  <a:pt x="3674877" y="2554683"/>
                </a:cubicBezTo>
                <a:lnTo>
                  <a:pt x="1104970" y="0"/>
                </a:lnTo>
                <a:lnTo>
                  <a:pt x="0" y="1100493"/>
                </a:lnTo>
                <a:lnTo>
                  <a:pt x="1487322" y="2576174"/>
                </a:lnTo>
                <a:cubicBezTo>
                  <a:pt x="1764013" y="2851073"/>
                  <a:pt x="2138306" y="3005088"/>
                  <a:pt x="2529612" y="3005088"/>
                </a:cubicBezTo>
                <a:lnTo>
                  <a:pt x="5241893" y="3005088"/>
                </a:lnTo>
                <a:cubicBezTo>
                  <a:pt x="5632304" y="3005088"/>
                  <a:pt x="6007493" y="2851073"/>
                  <a:pt x="6284183" y="2576174"/>
                </a:cubicBezTo>
                <a:lnTo>
                  <a:pt x="7771505" y="1100493"/>
                </a:lnTo>
                <a:lnTo>
                  <a:pt x="6664744" y="0"/>
                </a:lnTo>
                <a:close/>
              </a:path>
            </a:pathLst>
          </a:custGeom>
          <a:gradFill>
            <a:gsLst>
              <a:gs pos="28000">
                <a:schemeClr val="accent2"/>
              </a:gs>
              <a:gs pos="78000">
                <a:schemeClr val="accent2">
                  <a:alpha val="0"/>
                </a:schemeClr>
              </a:gs>
            </a:gsLst>
            <a:lin ang="0" scaled="0"/>
          </a:gradFill>
          <a:ln w="8954" cap="flat">
            <a:noFill/>
            <a:prstDash val="solid"/>
            <a:miter/>
          </a:ln>
        </p:spPr>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RU" sz="18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83" name="!!txt">
            <a:extLst>
              <a:ext uri="{FF2B5EF4-FFF2-40B4-BE49-F238E27FC236}">
                <a16:creationId xmlns:a16="http://schemas.microsoft.com/office/drawing/2014/main" id="{FB011369-FDF9-5D46-A8F8-A3E35F51608A}"/>
              </a:ext>
            </a:extLst>
          </p:cNvPr>
          <p:cNvSpPr txBox="1"/>
          <p:nvPr/>
        </p:nvSpPr>
        <p:spPr>
          <a:xfrm>
            <a:off x="-7417349" y="-885943"/>
            <a:ext cx="27084812" cy="9203890"/>
          </a:xfrm>
          <a:prstGeom prst="rect">
            <a:avLst/>
          </a:prstGeom>
          <a:noFill/>
        </p:spPr>
        <p:txBody>
          <a:bodyPr wrap="square" lIns="0" tIns="0" rIns="0" bIns="0" rtlCol="0" anchor="ctr">
            <a:noAutofit/>
          </a:bodyPr>
          <a:lstStyle/>
          <a:p>
            <a:pPr lvl="0" algn="ctr">
              <a:lnSpc>
                <a:spcPct val="80000"/>
              </a:lnSpc>
              <a:defRPr/>
            </a:pPr>
            <a:r>
              <a:rPr lang="en-US" sz="20000">
                <a:latin typeface="ES Build" pitchFamily="2" charset="77"/>
                <a:ea typeface="ES Build" pitchFamily="2" charset="77"/>
              </a:rPr>
              <a:t>Data</a:t>
            </a:r>
          </a:p>
          <a:p>
            <a:pPr lvl="0" algn="ctr">
              <a:lnSpc>
                <a:spcPct val="80000"/>
              </a:lnSpc>
              <a:defRPr/>
            </a:pPr>
            <a:r>
              <a:rPr lang="en-US" sz="20000">
                <a:latin typeface="ES Build" pitchFamily="2" charset="77"/>
                <a:ea typeface="ES Build" pitchFamily="2" charset="77"/>
              </a:rPr>
              <a:t>Resilience</a:t>
            </a:r>
            <a:endParaRPr lang="en-US" sz="20000"/>
          </a:p>
        </p:txBody>
      </p:sp>
    </p:spTree>
    <p:extLst>
      <p:ext uri="{BB962C8B-B14F-4D97-AF65-F5344CB8AC3E}">
        <p14:creationId xmlns:p14="http://schemas.microsoft.com/office/powerpoint/2010/main" val="21057893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83"/>
                                        </p:tgtEl>
                                        <p:attrNameLst>
                                          <p:attrName>style.visibility</p:attrName>
                                        </p:attrNameLst>
                                      </p:cBhvr>
                                      <p:to>
                                        <p:strVal val="visible"/>
                                      </p:to>
                                    </p:set>
                                    <p:animEffect transition="in" filter="fade">
                                      <p:cBhvr>
                                        <p:cTn id="7" dur="3000"/>
                                        <p:tgtEl>
                                          <p:spTgt spid="83"/>
                                        </p:tgtEl>
                                      </p:cBhvr>
                                    </p:animEffect>
                                  </p:childTnLst>
                                </p:cTn>
                              </p:par>
                              <p:par>
                                <p:cTn id="8" presetID="6" presetClass="emph" presetSubtype="0" fill="hold" grpId="0" nodeType="withEffect">
                                  <p:stCondLst>
                                    <p:cond delay="0"/>
                                  </p:stCondLst>
                                  <p:childTnLst>
                                    <p:animScale>
                                      <p:cBhvr>
                                        <p:cTn id="9" dur="2000" fill="hold"/>
                                        <p:tgtEl>
                                          <p:spTgt spid="83"/>
                                        </p:tgtEl>
                                      </p:cBhvr>
                                      <p:by x="75000" y="75000"/>
                                    </p:animScale>
                                  </p:childTnLst>
                                </p:cTn>
                              </p:par>
                              <p:par>
                                <p:cTn id="10" presetID="10" presetClass="entr" presetSubtype="0" fill="hold" grpId="0" nodeType="withEffect">
                                  <p:stCondLst>
                                    <p:cond delay="0"/>
                                  </p:stCondLst>
                                  <p:childTnLst>
                                    <p:set>
                                      <p:cBhvr>
                                        <p:cTn id="11" dur="1" fill="hold">
                                          <p:stCondLst>
                                            <p:cond delay="0"/>
                                          </p:stCondLst>
                                        </p:cTn>
                                        <p:tgtEl>
                                          <p:spTgt spid="82"/>
                                        </p:tgtEl>
                                        <p:attrNameLst>
                                          <p:attrName>style.visibility</p:attrName>
                                        </p:attrNameLst>
                                      </p:cBhvr>
                                      <p:to>
                                        <p:strVal val="visible"/>
                                      </p:to>
                                    </p:set>
                                    <p:animEffect transition="in" filter="fade">
                                      <p:cBhvr>
                                        <p:cTn id="12" dur="2000"/>
                                        <p:tgtEl>
                                          <p:spTgt spid="82"/>
                                        </p:tgtEl>
                                      </p:cBhvr>
                                    </p:animEffect>
                                  </p:childTnLst>
                                </p:cTn>
                              </p:par>
                              <p:par>
                                <p:cTn id="13" presetID="22" presetClass="entr" presetSubtype="8" fill="hold" grpId="0" nodeType="withEffect">
                                  <p:stCondLst>
                                    <p:cond delay="2000"/>
                                  </p:stCondLst>
                                  <p:childTnLst>
                                    <p:set>
                                      <p:cBhvr>
                                        <p:cTn id="14" dur="1" fill="hold">
                                          <p:stCondLst>
                                            <p:cond delay="0"/>
                                          </p:stCondLst>
                                        </p:cTn>
                                        <p:tgtEl>
                                          <p:spTgt spid="85"/>
                                        </p:tgtEl>
                                        <p:attrNameLst>
                                          <p:attrName>style.visibility</p:attrName>
                                        </p:attrNameLst>
                                      </p:cBhvr>
                                      <p:to>
                                        <p:strVal val="visible"/>
                                      </p:to>
                                    </p:set>
                                    <p:animEffect transition="in" filter="wipe(left)">
                                      <p:cBhvr>
                                        <p:cTn id="15" dur="750"/>
                                        <p:tgtEl>
                                          <p:spTgt spid="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 grpId="0" animBg="1"/>
      <p:bldP spid="85" grpId="0" animBg="1"/>
      <p:bldP spid="83" grpId="0"/>
      <p:bldP spid="83" grpId="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ATA">
            <a:extLst>
              <a:ext uri="{FF2B5EF4-FFF2-40B4-BE49-F238E27FC236}">
                <a16:creationId xmlns:a16="http://schemas.microsoft.com/office/drawing/2014/main" id="{E0C5D6A5-C055-331E-93FE-2D22A94801F6}"/>
              </a:ext>
            </a:extLst>
          </p:cNvPr>
          <p:cNvSpPr txBox="1"/>
          <p:nvPr/>
        </p:nvSpPr>
        <p:spPr>
          <a:xfrm rot="5400000">
            <a:off x="-4270918" y="1204555"/>
            <a:ext cx="10134563" cy="393954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5000" b="1" i="0" u="none" strike="noStrike" kern="1200" cap="none" spc="-3000" normalizeH="0" baseline="0" noProof="0">
                <a:ln>
                  <a:noFill/>
                </a:ln>
                <a:solidFill>
                  <a:srgbClr val="ADACAF">
                    <a:alpha val="20000"/>
                  </a:srgbClr>
                </a:solidFill>
                <a:effectLst/>
                <a:uLnTx/>
                <a:uFillTx/>
                <a:latin typeface="ES Build Full Bauhaus" pitchFamily="2" charset="77"/>
                <a:ea typeface="ES Build Full Bauhaus" pitchFamily="2" charset="77"/>
                <a:cs typeface="+mn-cs"/>
              </a:rPr>
              <a:t>DATA</a:t>
            </a:r>
          </a:p>
        </p:txBody>
      </p:sp>
      <p:sp>
        <p:nvSpPr>
          <p:cNvPr id="3" name="Title 2">
            <a:extLst>
              <a:ext uri="{FF2B5EF4-FFF2-40B4-BE49-F238E27FC236}">
                <a16:creationId xmlns:a16="http://schemas.microsoft.com/office/drawing/2014/main" id="{90449B26-BFA9-5F36-4B06-A5871FDBF649}"/>
              </a:ext>
            </a:extLst>
          </p:cNvPr>
          <p:cNvSpPr>
            <a:spLocks noGrp="1"/>
          </p:cNvSpPr>
          <p:nvPr>
            <p:ph type="title"/>
          </p:nvPr>
        </p:nvSpPr>
        <p:spPr>
          <a:xfrm>
            <a:off x="565858" y="2783568"/>
            <a:ext cx="2861099" cy="1471461"/>
          </a:xfrm>
        </p:spPr>
        <p:txBody>
          <a:bodyPr anchor="ctr"/>
          <a:lstStyle/>
          <a:p>
            <a:r>
              <a:rPr lang="en-US" sz="4400" b="1"/>
              <a:t>Veeam is</a:t>
            </a:r>
            <a:br>
              <a:rPr lang="en-US" sz="4400" b="1"/>
            </a:br>
            <a:br>
              <a:rPr lang="en-US" sz="4400" b="1"/>
            </a:br>
            <a:endParaRPr lang="en-US"/>
          </a:p>
        </p:txBody>
      </p:sp>
      <p:sp>
        <p:nvSpPr>
          <p:cNvPr id="2" name="Oval 1">
            <a:extLst>
              <a:ext uri="{FF2B5EF4-FFF2-40B4-BE49-F238E27FC236}">
                <a16:creationId xmlns:a16="http://schemas.microsoft.com/office/drawing/2014/main" id="{DF93EB0A-5B51-6EF7-DA94-0B31963F1CB2}"/>
              </a:ext>
            </a:extLst>
          </p:cNvPr>
          <p:cNvSpPr/>
          <p:nvPr/>
        </p:nvSpPr>
        <p:spPr>
          <a:xfrm>
            <a:off x="6307981" y="2132094"/>
            <a:ext cx="3185792" cy="3185792"/>
          </a:xfrm>
          <a:prstGeom prst="ellipse">
            <a:avLst/>
          </a:prstGeom>
          <a:solidFill>
            <a:schemeClr val="bg1"/>
          </a:solidFill>
          <a:ln>
            <a:noFill/>
          </a:ln>
          <a:effectLst>
            <a:outerShdw blurRad="381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ES Build" pitchFamily="50" charset="0"/>
              <a:ea typeface="+mn-ea"/>
              <a:cs typeface="Microsoft Sans Serif" panose="020B0604020202020204" pitchFamily="34" charset="0"/>
            </a:endParaRPr>
          </a:p>
        </p:txBody>
      </p:sp>
      <p:sp>
        <p:nvSpPr>
          <p:cNvPr id="4" name="donut">
            <a:extLst>
              <a:ext uri="{FF2B5EF4-FFF2-40B4-BE49-F238E27FC236}">
                <a16:creationId xmlns:a16="http://schemas.microsoft.com/office/drawing/2014/main" id="{501E4F4D-FA0E-8D3C-0385-FA2ED58861BD}"/>
              </a:ext>
            </a:extLst>
          </p:cNvPr>
          <p:cNvSpPr/>
          <p:nvPr/>
        </p:nvSpPr>
        <p:spPr>
          <a:xfrm>
            <a:off x="6164608" y="2032705"/>
            <a:ext cx="3464817" cy="3384571"/>
          </a:xfrm>
          <a:prstGeom prst="donu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3200" b="1" i="0" u="none" strike="noStrike" kern="1200" cap="none" spc="0" normalizeH="0" baseline="0" noProof="0">
                <a:ln>
                  <a:noFill/>
                </a:ln>
                <a:solidFill>
                  <a:srgbClr val="505861"/>
                </a:solidFill>
                <a:effectLst/>
                <a:uLnTx/>
                <a:uFillTx/>
                <a:latin typeface="ES Build" pitchFamily="50" charset="0"/>
                <a:ea typeface="+mn-ea"/>
                <a:cs typeface="Microsoft Sans Serif" panose="020B0604020202020204" pitchFamily="34" charset="0"/>
              </a:rPr>
              <a:t>DATA</a:t>
            </a:r>
          </a:p>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3200" b="1" i="0" u="none" strike="noStrike" kern="1200" cap="none" spc="0" normalizeH="0" baseline="0" noProof="0">
                <a:ln>
                  <a:noFill/>
                </a:ln>
                <a:solidFill>
                  <a:srgbClr val="505861"/>
                </a:solidFill>
                <a:effectLst/>
                <a:uLnTx/>
                <a:uFillTx/>
                <a:latin typeface="ES Build" pitchFamily="50" charset="0"/>
                <a:ea typeface="+mn-ea"/>
                <a:cs typeface="Microsoft Sans Serif" panose="020B0604020202020204" pitchFamily="34" charset="0"/>
              </a:rPr>
              <a:t>RESILIENCE</a:t>
            </a:r>
          </a:p>
        </p:txBody>
      </p:sp>
      <p:grpSp>
        <p:nvGrpSpPr>
          <p:cNvPr id="6" name="Group 5">
            <a:extLst>
              <a:ext uri="{FF2B5EF4-FFF2-40B4-BE49-F238E27FC236}">
                <a16:creationId xmlns:a16="http://schemas.microsoft.com/office/drawing/2014/main" id="{AAA45FD1-0B92-0E9F-0645-D75CDF1B5F7F}"/>
              </a:ext>
            </a:extLst>
          </p:cNvPr>
          <p:cNvGrpSpPr/>
          <p:nvPr/>
        </p:nvGrpSpPr>
        <p:grpSpPr>
          <a:xfrm>
            <a:off x="6895245" y="609440"/>
            <a:ext cx="2046393" cy="1402613"/>
            <a:chOff x="6895245" y="544593"/>
            <a:chExt cx="2046393" cy="1402613"/>
          </a:xfrm>
        </p:grpSpPr>
        <p:sp>
          <p:nvSpPr>
            <p:cNvPr id="7" name="Rectangle 6">
              <a:extLst>
                <a:ext uri="{FF2B5EF4-FFF2-40B4-BE49-F238E27FC236}">
                  <a16:creationId xmlns:a16="http://schemas.microsoft.com/office/drawing/2014/main" id="{2FE3ED93-2DBF-DA8C-236D-E0DB5D94D0E9}"/>
                </a:ext>
              </a:extLst>
            </p:cNvPr>
            <p:cNvSpPr/>
            <p:nvPr/>
          </p:nvSpPr>
          <p:spPr>
            <a:xfrm>
              <a:off x="6895245" y="544593"/>
              <a:ext cx="2046393" cy="6236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2100" b="0" i="0" u="none" strike="noStrike" kern="1200" cap="none" spc="0" normalizeH="0" baseline="0" noProof="0">
                  <a:ln>
                    <a:noFill/>
                  </a:ln>
                  <a:solidFill>
                    <a:srgbClr val="00D15F"/>
                  </a:solidFill>
                  <a:effectLst/>
                  <a:uLnTx/>
                  <a:uFillTx/>
                  <a:latin typeface="ES Build" pitchFamily="50" charset="0"/>
                  <a:ea typeface="+mn-ea"/>
                  <a:cs typeface="Microsoft Sans Serif" panose="020B0604020202020204" pitchFamily="34" charset="0"/>
                </a:rPr>
                <a:t>Data </a:t>
              </a:r>
              <a:br>
                <a:rPr kumimoji="0" lang="en-US" sz="2100" b="0" i="0" u="none" strike="noStrike" kern="1200" cap="none" spc="0" normalizeH="0" baseline="0" noProof="0">
                  <a:ln>
                    <a:noFill/>
                  </a:ln>
                  <a:solidFill>
                    <a:srgbClr val="00D15F"/>
                  </a:solidFill>
                  <a:effectLst/>
                  <a:uLnTx/>
                  <a:uFillTx/>
                  <a:latin typeface="ES Build" pitchFamily="50" charset="0"/>
                  <a:ea typeface="+mn-ea"/>
                  <a:cs typeface="Microsoft Sans Serif" panose="020B0604020202020204" pitchFamily="34" charset="0"/>
                </a:rPr>
              </a:br>
              <a:r>
                <a:rPr kumimoji="0" lang="en-US" sz="2100" b="0" i="0" u="none" strike="noStrike" kern="1200" cap="none" spc="0" normalizeH="0" baseline="0" noProof="0">
                  <a:ln>
                    <a:noFill/>
                  </a:ln>
                  <a:solidFill>
                    <a:srgbClr val="00D15F"/>
                  </a:solidFill>
                  <a:effectLst/>
                  <a:uLnTx/>
                  <a:uFillTx/>
                  <a:latin typeface="ES Build" pitchFamily="50" charset="0"/>
                  <a:ea typeface="+mn-ea"/>
                  <a:cs typeface="Microsoft Sans Serif" panose="020B0604020202020204" pitchFamily="34" charset="0"/>
                </a:rPr>
                <a:t>Backup</a:t>
              </a:r>
            </a:p>
          </p:txBody>
        </p:sp>
        <p:sp>
          <p:nvSpPr>
            <p:cNvPr id="8" name="bkup">
              <a:extLst>
                <a:ext uri="{FF2B5EF4-FFF2-40B4-BE49-F238E27FC236}">
                  <a16:creationId xmlns:a16="http://schemas.microsoft.com/office/drawing/2014/main" id="{ACA38AB9-A674-AF6C-0714-55935FBEC645}"/>
                </a:ext>
              </a:extLst>
            </p:cNvPr>
            <p:cNvSpPr/>
            <p:nvPr/>
          </p:nvSpPr>
          <p:spPr>
            <a:xfrm>
              <a:off x="7551582" y="1213488"/>
              <a:ext cx="733718" cy="733718"/>
            </a:xfrm>
            <a:prstGeom prst="ellipse">
              <a:avLst/>
            </a:prstGeom>
            <a:solidFill>
              <a:srgbClr val="00C34C"/>
            </a:solidFill>
            <a:ln w="412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ES Build" pitchFamily="50" charset="0"/>
                <a:ea typeface="+mn-ea"/>
                <a:cs typeface="Microsoft Sans Serif" panose="020B0604020202020204" pitchFamily="34" charset="0"/>
              </a:endParaRPr>
            </a:p>
          </p:txBody>
        </p:sp>
        <p:pic>
          <p:nvPicPr>
            <p:cNvPr id="9" name="g-bkup">
              <a:extLst>
                <a:ext uri="{FF2B5EF4-FFF2-40B4-BE49-F238E27FC236}">
                  <a16:creationId xmlns:a16="http://schemas.microsoft.com/office/drawing/2014/main" id="{D6651A6B-7A4E-72DB-76C1-7A8820231867}"/>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643930" y="1308770"/>
              <a:ext cx="549022" cy="551131"/>
            </a:xfrm>
            <a:prstGeom prst="rect">
              <a:avLst/>
            </a:prstGeom>
          </p:spPr>
        </p:pic>
      </p:grpSp>
      <p:grpSp>
        <p:nvGrpSpPr>
          <p:cNvPr id="10" name="Group 9">
            <a:extLst>
              <a:ext uri="{FF2B5EF4-FFF2-40B4-BE49-F238E27FC236}">
                <a16:creationId xmlns:a16="http://schemas.microsoft.com/office/drawing/2014/main" id="{5982216C-EE50-EE3D-F9FC-BB8FDD74B1E2}"/>
              </a:ext>
            </a:extLst>
          </p:cNvPr>
          <p:cNvGrpSpPr/>
          <p:nvPr/>
        </p:nvGrpSpPr>
        <p:grpSpPr>
          <a:xfrm>
            <a:off x="9516593" y="2745545"/>
            <a:ext cx="2090834" cy="733278"/>
            <a:chOff x="9425565" y="2440905"/>
            <a:chExt cx="2090834" cy="733278"/>
          </a:xfrm>
        </p:grpSpPr>
        <p:sp>
          <p:nvSpPr>
            <p:cNvPr id="11" name="Oval 10">
              <a:extLst>
                <a:ext uri="{FF2B5EF4-FFF2-40B4-BE49-F238E27FC236}">
                  <a16:creationId xmlns:a16="http://schemas.microsoft.com/office/drawing/2014/main" id="{5AD5BAE4-EEE1-7E4B-A790-813FBDF858E1}"/>
                </a:ext>
              </a:extLst>
            </p:cNvPr>
            <p:cNvSpPr/>
            <p:nvPr/>
          </p:nvSpPr>
          <p:spPr>
            <a:xfrm>
              <a:off x="9425565" y="2440905"/>
              <a:ext cx="733278" cy="733278"/>
            </a:xfrm>
            <a:prstGeom prst="ellipse">
              <a:avLst/>
            </a:prstGeom>
            <a:solidFill>
              <a:srgbClr val="8E71F4"/>
            </a:solidFill>
            <a:ln w="412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ES Build" pitchFamily="50" charset="0"/>
                <a:ea typeface="+mn-ea"/>
                <a:cs typeface="Microsoft Sans Serif" panose="020B0604020202020204" pitchFamily="34" charset="0"/>
              </a:endParaRPr>
            </a:p>
          </p:txBody>
        </p:sp>
        <p:sp>
          <p:nvSpPr>
            <p:cNvPr id="12" name="Rounded Rectangle 15">
              <a:extLst>
                <a:ext uri="{FF2B5EF4-FFF2-40B4-BE49-F238E27FC236}">
                  <a16:creationId xmlns:a16="http://schemas.microsoft.com/office/drawing/2014/main" id="{EC60673D-C833-A12B-2DAA-3B94FD9ED5C8}"/>
                </a:ext>
              </a:extLst>
            </p:cNvPr>
            <p:cNvSpPr/>
            <p:nvPr/>
          </p:nvSpPr>
          <p:spPr>
            <a:xfrm>
              <a:off x="10329045" y="2495728"/>
              <a:ext cx="1187354" cy="6236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2100" b="0" i="0" u="none" strike="noStrike" kern="1200" cap="none" spc="0" normalizeH="0" baseline="0" noProof="0">
                  <a:ln>
                    <a:noFill/>
                  </a:ln>
                  <a:solidFill>
                    <a:srgbClr val="8E71F4"/>
                  </a:solidFill>
                  <a:effectLst/>
                  <a:uLnTx/>
                  <a:uFillTx/>
                  <a:latin typeface="ES Build" pitchFamily="50" charset="0"/>
                  <a:ea typeface="+mn-ea"/>
                  <a:cs typeface="Microsoft Sans Serif" panose="020B0604020202020204" pitchFamily="34" charset="0"/>
                </a:rPr>
                <a:t>Data Recovery</a:t>
              </a:r>
            </a:p>
          </p:txBody>
        </p:sp>
        <p:pic>
          <p:nvPicPr>
            <p:cNvPr id="13" name="g-sec">
              <a:extLst>
                <a:ext uri="{FF2B5EF4-FFF2-40B4-BE49-F238E27FC236}">
                  <a16:creationId xmlns:a16="http://schemas.microsoft.com/office/drawing/2014/main" id="{1D37A237-0830-5FA0-7147-D07B6057DD3A}"/>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9601878" y="2617218"/>
              <a:ext cx="380652" cy="380652"/>
            </a:xfrm>
            <a:prstGeom prst="rect">
              <a:avLst/>
            </a:prstGeom>
          </p:spPr>
        </p:pic>
      </p:grpSp>
      <p:sp>
        <p:nvSpPr>
          <p:cNvPr id="14" name="Arc 13">
            <a:extLst>
              <a:ext uri="{FF2B5EF4-FFF2-40B4-BE49-F238E27FC236}">
                <a16:creationId xmlns:a16="http://schemas.microsoft.com/office/drawing/2014/main" id="{C72D0982-B490-7F71-4D74-EB1CBC4BC938}"/>
              </a:ext>
            </a:extLst>
          </p:cNvPr>
          <p:cNvSpPr/>
          <p:nvPr/>
        </p:nvSpPr>
        <p:spPr>
          <a:xfrm rot="3624014">
            <a:off x="5851146" y="1651886"/>
            <a:ext cx="4075687" cy="4087471"/>
          </a:xfrm>
          <a:prstGeom prst="arc">
            <a:avLst>
              <a:gd name="adj1" fmla="val 17743851"/>
              <a:gd name="adj2" fmla="val 20226382"/>
            </a:avLst>
          </a:prstGeom>
          <a:ln w="12700" cap="rnd">
            <a:solidFill>
              <a:schemeClr val="tx1">
                <a:lumMod val="60000"/>
                <a:lumOff val="40000"/>
              </a:schemeClr>
            </a:solidFill>
            <a:round/>
            <a:headEnd type="none" w="med" len="sm"/>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15" name="Arc 14">
            <a:extLst>
              <a:ext uri="{FF2B5EF4-FFF2-40B4-BE49-F238E27FC236}">
                <a16:creationId xmlns:a16="http://schemas.microsoft.com/office/drawing/2014/main" id="{FE49A199-9CBC-EDEF-56B9-CA2E951CF8F3}"/>
              </a:ext>
            </a:extLst>
          </p:cNvPr>
          <p:cNvSpPr/>
          <p:nvPr/>
        </p:nvSpPr>
        <p:spPr>
          <a:xfrm rot="9024014">
            <a:off x="5845254" y="1657776"/>
            <a:ext cx="4087471" cy="4075687"/>
          </a:xfrm>
          <a:prstGeom prst="arc">
            <a:avLst>
              <a:gd name="adj1" fmla="val 16270972"/>
              <a:gd name="adj2" fmla="val 19658867"/>
            </a:avLst>
          </a:prstGeom>
          <a:ln w="12700" cap="rnd">
            <a:solidFill>
              <a:schemeClr val="tx1">
                <a:lumMod val="60000"/>
                <a:lumOff val="40000"/>
              </a:schemeClr>
            </a:solidFill>
            <a:round/>
            <a:headEnd type="none" w="med" len="sm"/>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16" name="Arc 15">
            <a:extLst>
              <a:ext uri="{FF2B5EF4-FFF2-40B4-BE49-F238E27FC236}">
                <a16:creationId xmlns:a16="http://schemas.microsoft.com/office/drawing/2014/main" id="{B587D143-2211-16C6-FAF9-55BC720E1D74}"/>
              </a:ext>
            </a:extLst>
          </p:cNvPr>
          <p:cNvSpPr/>
          <p:nvPr/>
        </p:nvSpPr>
        <p:spPr>
          <a:xfrm rot="14424014">
            <a:off x="5851148" y="1651884"/>
            <a:ext cx="4075687" cy="4087471"/>
          </a:xfrm>
          <a:prstGeom prst="arc">
            <a:avLst>
              <a:gd name="adj1" fmla="val 15694587"/>
              <a:gd name="adj2" fmla="val 18272165"/>
            </a:avLst>
          </a:prstGeom>
          <a:ln w="12700" cap="rnd">
            <a:solidFill>
              <a:schemeClr val="tx1">
                <a:lumMod val="60000"/>
                <a:lumOff val="40000"/>
              </a:schemeClr>
            </a:solidFill>
            <a:round/>
            <a:headEnd type="none" w="med" len="sm"/>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17" name="Arc 16">
            <a:extLst>
              <a:ext uri="{FF2B5EF4-FFF2-40B4-BE49-F238E27FC236}">
                <a16:creationId xmlns:a16="http://schemas.microsoft.com/office/drawing/2014/main" id="{4CBD7FEC-D03E-D272-0C4D-0AA2D23E245E}"/>
              </a:ext>
            </a:extLst>
          </p:cNvPr>
          <p:cNvSpPr/>
          <p:nvPr/>
        </p:nvSpPr>
        <p:spPr>
          <a:xfrm rot="19824014">
            <a:off x="5845256" y="1657778"/>
            <a:ext cx="4087471" cy="4075687"/>
          </a:xfrm>
          <a:prstGeom prst="arc">
            <a:avLst>
              <a:gd name="adj1" fmla="val 18774288"/>
              <a:gd name="adj2" fmla="val 30003"/>
            </a:avLst>
          </a:prstGeom>
          <a:ln w="12700" cap="rnd">
            <a:solidFill>
              <a:schemeClr val="tx1">
                <a:lumMod val="60000"/>
                <a:lumOff val="40000"/>
              </a:schemeClr>
            </a:solidFill>
            <a:round/>
            <a:headEnd type="none" w="med" len="sm"/>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861"/>
              </a:solidFill>
              <a:effectLst/>
              <a:uLnTx/>
              <a:uFillTx/>
              <a:latin typeface="ES Build Neutral"/>
              <a:ea typeface="+mn-ea"/>
              <a:cs typeface="+mn-cs"/>
            </a:endParaRPr>
          </a:p>
        </p:txBody>
      </p:sp>
      <p:grpSp>
        <p:nvGrpSpPr>
          <p:cNvPr id="18" name="Group 17">
            <a:extLst>
              <a:ext uri="{FF2B5EF4-FFF2-40B4-BE49-F238E27FC236}">
                <a16:creationId xmlns:a16="http://schemas.microsoft.com/office/drawing/2014/main" id="{0874F32C-DA0D-E4EF-F3F6-B457FDF5CD6E}"/>
              </a:ext>
            </a:extLst>
          </p:cNvPr>
          <p:cNvGrpSpPr/>
          <p:nvPr/>
        </p:nvGrpSpPr>
        <p:grpSpPr>
          <a:xfrm>
            <a:off x="8855737" y="4878157"/>
            <a:ext cx="2151669" cy="733278"/>
            <a:chOff x="6347285" y="4663299"/>
            <a:chExt cx="2151669" cy="733278"/>
          </a:xfrm>
        </p:grpSpPr>
        <p:sp>
          <p:nvSpPr>
            <p:cNvPr id="19" name="Rounded Rectangle 25">
              <a:extLst>
                <a:ext uri="{FF2B5EF4-FFF2-40B4-BE49-F238E27FC236}">
                  <a16:creationId xmlns:a16="http://schemas.microsoft.com/office/drawing/2014/main" id="{8CA629FF-B538-5388-A382-20E666F0C75C}"/>
                </a:ext>
              </a:extLst>
            </p:cNvPr>
            <p:cNvSpPr/>
            <p:nvPr/>
          </p:nvSpPr>
          <p:spPr>
            <a:xfrm>
              <a:off x="7226506" y="4707693"/>
              <a:ext cx="1272448" cy="6236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l" defTabSz="914400" rtl="0" eaLnBrk="1" fontAlgn="auto" latinLnBrk="0" hangingPunct="1">
                <a:lnSpc>
                  <a:spcPct val="96000"/>
                </a:lnSpc>
                <a:spcBef>
                  <a:spcPts val="0"/>
                </a:spcBef>
                <a:spcAft>
                  <a:spcPts val="0"/>
                </a:spcAft>
                <a:buClrTx/>
                <a:buSzTx/>
                <a:buFontTx/>
                <a:buNone/>
                <a:tabLst/>
                <a:defRPr/>
              </a:pPr>
              <a:r>
                <a:rPr kumimoji="0" lang="en-US" sz="2100" b="0" i="0" u="none" strike="noStrike" kern="1200" cap="none" spc="0" normalizeH="0" baseline="0" noProof="0">
                  <a:ln>
                    <a:noFill/>
                  </a:ln>
                  <a:solidFill>
                    <a:srgbClr val="3700FF"/>
                  </a:solidFill>
                  <a:effectLst/>
                  <a:uLnTx/>
                  <a:uFillTx/>
                  <a:latin typeface="ES Build" pitchFamily="50" charset="0"/>
                  <a:ea typeface="+mn-ea"/>
                  <a:cs typeface="Microsoft Sans Serif" panose="020B0604020202020204" pitchFamily="34" charset="0"/>
                </a:rPr>
                <a:t>Data Freedom</a:t>
              </a:r>
            </a:p>
          </p:txBody>
        </p:sp>
        <p:sp>
          <p:nvSpPr>
            <p:cNvPr id="20" name="Oval 19">
              <a:extLst>
                <a:ext uri="{FF2B5EF4-FFF2-40B4-BE49-F238E27FC236}">
                  <a16:creationId xmlns:a16="http://schemas.microsoft.com/office/drawing/2014/main" id="{41F8852B-F8A6-9D26-6E8F-16498DD8521A}"/>
                </a:ext>
              </a:extLst>
            </p:cNvPr>
            <p:cNvSpPr/>
            <p:nvPr/>
          </p:nvSpPr>
          <p:spPr>
            <a:xfrm>
              <a:off x="6347285" y="4663299"/>
              <a:ext cx="733278" cy="733278"/>
            </a:xfrm>
            <a:prstGeom prst="ellipse">
              <a:avLst/>
            </a:prstGeom>
            <a:solidFill>
              <a:schemeClr val="accent3"/>
            </a:solidFill>
            <a:ln w="412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ES Build" pitchFamily="50" charset="0"/>
                <a:ea typeface="+mn-ea"/>
                <a:cs typeface="Microsoft Sans Serif" panose="020B0604020202020204" pitchFamily="34" charset="0"/>
              </a:endParaRPr>
            </a:p>
          </p:txBody>
        </p:sp>
        <p:pic>
          <p:nvPicPr>
            <p:cNvPr id="21" name="g-freedom">
              <a:extLst>
                <a:ext uri="{FF2B5EF4-FFF2-40B4-BE49-F238E27FC236}">
                  <a16:creationId xmlns:a16="http://schemas.microsoft.com/office/drawing/2014/main" id="{2061A520-8FD4-FDEC-7CBF-C2E07526C186}"/>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446723" y="4806307"/>
              <a:ext cx="533003" cy="426404"/>
            </a:xfrm>
            <a:prstGeom prst="rect">
              <a:avLst/>
            </a:prstGeom>
          </p:spPr>
        </p:pic>
      </p:grpSp>
      <p:grpSp>
        <p:nvGrpSpPr>
          <p:cNvPr id="22" name="Group 21">
            <a:extLst>
              <a:ext uri="{FF2B5EF4-FFF2-40B4-BE49-F238E27FC236}">
                <a16:creationId xmlns:a16="http://schemas.microsoft.com/office/drawing/2014/main" id="{B13E2784-C2BC-A9E3-9EE7-C6123BCAA14E}"/>
              </a:ext>
            </a:extLst>
          </p:cNvPr>
          <p:cNvGrpSpPr/>
          <p:nvPr/>
        </p:nvGrpSpPr>
        <p:grpSpPr>
          <a:xfrm>
            <a:off x="4566920" y="4878157"/>
            <a:ext cx="2363778" cy="733278"/>
            <a:chOff x="7080052" y="4669337"/>
            <a:chExt cx="2363778" cy="733278"/>
          </a:xfrm>
        </p:grpSpPr>
        <p:sp>
          <p:nvSpPr>
            <p:cNvPr id="23" name="Oval 22">
              <a:extLst>
                <a:ext uri="{FF2B5EF4-FFF2-40B4-BE49-F238E27FC236}">
                  <a16:creationId xmlns:a16="http://schemas.microsoft.com/office/drawing/2014/main" id="{BA90EE2D-33F4-0990-8225-EB1A2622AB13}"/>
                </a:ext>
              </a:extLst>
            </p:cNvPr>
            <p:cNvSpPr/>
            <p:nvPr/>
          </p:nvSpPr>
          <p:spPr>
            <a:xfrm>
              <a:off x="8710552" y="4669337"/>
              <a:ext cx="733278" cy="733278"/>
            </a:xfrm>
            <a:prstGeom prst="ellipse">
              <a:avLst/>
            </a:prstGeom>
            <a:solidFill>
              <a:schemeClr val="accent4"/>
            </a:solidFill>
            <a:ln w="412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ES Build" pitchFamily="50" charset="0"/>
                <a:ea typeface="+mn-ea"/>
                <a:cs typeface="Microsoft Sans Serif" panose="020B0604020202020204" pitchFamily="34" charset="0"/>
              </a:endParaRPr>
            </a:p>
          </p:txBody>
        </p:sp>
        <p:pic>
          <p:nvPicPr>
            <p:cNvPr id="24" name="g-rcvr">
              <a:extLst>
                <a:ext uri="{FF2B5EF4-FFF2-40B4-BE49-F238E27FC236}">
                  <a16:creationId xmlns:a16="http://schemas.microsoft.com/office/drawing/2014/main" id="{98579510-C612-EC23-92E1-5A551922EFE5}"/>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8806956" y="4764381"/>
              <a:ext cx="537086" cy="537086"/>
            </a:xfrm>
            <a:prstGeom prst="rect">
              <a:avLst/>
            </a:prstGeom>
          </p:spPr>
        </p:pic>
        <p:sp>
          <p:nvSpPr>
            <p:cNvPr id="25" name="Rounded Rectangle 15">
              <a:extLst>
                <a:ext uri="{FF2B5EF4-FFF2-40B4-BE49-F238E27FC236}">
                  <a16:creationId xmlns:a16="http://schemas.microsoft.com/office/drawing/2014/main" id="{E1C1D7DC-0AB1-E73D-53D7-B008E653FF76}"/>
                </a:ext>
              </a:extLst>
            </p:cNvPr>
            <p:cNvSpPr/>
            <p:nvPr/>
          </p:nvSpPr>
          <p:spPr>
            <a:xfrm>
              <a:off x="7080052" y="4764381"/>
              <a:ext cx="1502446" cy="6236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r" defTabSz="914400" rtl="0" eaLnBrk="1" fontAlgn="auto" latinLnBrk="0" hangingPunct="1">
                <a:lnSpc>
                  <a:spcPct val="96000"/>
                </a:lnSpc>
                <a:spcBef>
                  <a:spcPts val="0"/>
                </a:spcBef>
                <a:spcAft>
                  <a:spcPts val="0"/>
                </a:spcAft>
                <a:buClrTx/>
                <a:buSzTx/>
                <a:buFontTx/>
                <a:buNone/>
                <a:tabLst/>
                <a:defRPr/>
              </a:pPr>
              <a:r>
                <a:rPr kumimoji="0" lang="en-US" sz="2100" b="0" i="0" u="none" strike="noStrike" kern="1200" cap="none" spc="0" normalizeH="0" baseline="0" noProof="0">
                  <a:ln>
                    <a:noFill/>
                  </a:ln>
                  <a:solidFill>
                    <a:srgbClr val="01B0FE"/>
                  </a:solidFill>
                  <a:effectLst/>
                  <a:uLnTx/>
                  <a:uFillTx/>
                  <a:latin typeface="ES Build" pitchFamily="50" charset="0"/>
                  <a:ea typeface="+mn-ea"/>
                  <a:cs typeface="Microsoft Sans Serif" panose="020B0604020202020204" pitchFamily="34" charset="0"/>
                </a:rPr>
                <a:t>Data Security</a:t>
              </a:r>
            </a:p>
          </p:txBody>
        </p:sp>
      </p:grpSp>
      <p:grpSp>
        <p:nvGrpSpPr>
          <p:cNvPr id="26" name="Group 25">
            <a:extLst>
              <a:ext uri="{FF2B5EF4-FFF2-40B4-BE49-F238E27FC236}">
                <a16:creationId xmlns:a16="http://schemas.microsoft.com/office/drawing/2014/main" id="{AF1FA533-E642-591A-F5B5-93662E3FF3A1}"/>
              </a:ext>
            </a:extLst>
          </p:cNvPr>
          <p:cNvGrpSpPr/>
          <p:nvPr/>
        </p:nvGrpSpPr>
        <p:grpSpPr>
          <a:xfrm>
            <a:off x="4019042" y="2745545"/>
            <a:ext cx="2266119" cy="733278"/>
            <a:chOff x="4252679" y="2440905"/>
            <a:chExt cx="2266119" cy="733278"/>
          </a:xfrm>
        </p:grpSpPr>
        <p:sp>
          <p:nvSpPr>
            <p:cNvPr id="27" name="Rounded Rectangle 13">
              <a:extLst>
                <a:ext uri="{FF2B5EF4-FFF2-40B4-BE49-F238E27FC236}">
                  <a16:creationId xmlns:a16="http://schemas.microsoft.com/office/drawing/2014/main" id="{ED2BE2EB-DFEB-0D6F-2350-39903CAC0D3B}"/>
                </a:ext>
              </a:extLst>
            </p:cNvPr>
            <p:cNvSpPr/>
            <p:nvPr/>
          </p:nvSpPr>
          <p:spPr>
            <a:xfrm>
              <a:off x="4252679" y="2495728"/>
              <a:ext cx="1381517" cy="6236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r" defTabSz="914400" rtl="0" eaLnBrk="1" fontAlgn="auto" latinLnBrk="0" hangingPunct="1">
                <a:lnSpc>
                  <a:spcPct val="96000"/>
                </a:lnSpc>
                <a:spcBef>
                  <a:spcPts val="0"/>
                </a:spcBef>
                <a:spcAft>
                  <a:spcPts val="0"/>
                </a:spcAft>
                <a:buClrTx/>
                <a:buSzTx/>
                <a:buFontTx/>
                <a:buNone/>
                <a:tabLst/>
                <a:defRPr/>
              </a:pPr>
              <a:r>
                <a:rPr kumimoji="0" lang="en-US" sz="2100" b="0" i="0" u="none" strike="noStrike" kern="1200" cap="none" spc="0" normalizeH="0" baseline="0" noProof="0">
                  <a:ln>
                    <a:noFill/>
                  </a:ln>
                  <a:solidFill>
                    <a:srgbClr val="FE8A25"/>
                  </a:solidFill>
                  <a:effectLst/>
                  <a:uLnTx/>
                  <a:uFillTx/>
                  <a:latin typeface="ES Build" pitchFamily="50" charset="0"/>
                  <a:ea typeface="+mn-ea"/>
                  <a:cs typeface="Microsoft Sans Serif" panose="020B0604020202020204" pitchFamily="34" charset="0"/>
                </a:rPr>
                <a:t>Data Intelligence</a:t>
              </a:r>
            </a:p>
          </p:txBody>
        </p:sp>
        <p:sp>
          <p:nvSpPr>
            <p:cNvPr id="28" name="Oval 27">
              <a:extLst>
                <a:ext uri="{FF2B5EF4-FFF2-40B4-BE49-F238E27FC236}">
                  <a16:creationId xmlns:a16="http://schemas.microsoft.com/office/drawing/2014/main" id="{EB2E819E-8016-0422-6FF2-322D39E53B8D}"/>
                </a:ext>
              </a:extLst>
            </p:cNvPr>
            <p:cNvSpPr/>
            <p:nvPr/>
          </p:nvSpPr>
          <p:spPr>
            <a:xfrm>
              <a:off x="5785520" y="2440905"/>
              <a:ext cx="733278" cy="733278"/>
            </a:xfrm>
            <a:prstGeom prst="ellipse">
              <a:avLst/>
            </a:prstGeom>
            <a:solidFill>
              <a:schemeClr val="accent6"/>
            </a:solidFill>
            <a:ln w="412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ES Build" pitchFamily="50" charset="0"/>
                <a:ea typeface="+mn-ea"/>
                <a:cs typeface="Microsoft Sans Serif" panose="020B0604020202020204" pitchFamily="34" charset="0"/>
              </a:endParaRPr>
            </a:p>
          </p:txBody>
        </p:sp>
        <p:pic>
          <p:nvPicPr>
            <p:cNvPr id="29" name="g-intel">
              <a:extLst>
                <a:ext uri="{FF2B5EF4-FFF2-40B4-BE49-F238E27FC236}">
                  <a16:creationId xmlns:a16="http://schemas.microsoft.com/office/drawing/2014/main" id="{8FC21770-1AE8-F808-3DD6-70B8B645BB19}"/>
                </a:ext>
              </a:extLst>
            </p:cNvPr>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5878573" y="2531302"/>
              <a:ext cx="552484" cy="552484"/>
            </a:xfrm>
            <a:prstGeom prst="rect">
              <a:avLst/>
            </a:prstGeom>
          </p:spPr>
        </p:pic>
      </p:grpSp>
      <p:sp>
        <p:nvSpPr>
          <p:cNvPr id="30" name="Arc 29">
            <a:extLst>
              <a:ext uri="{FF2B5EF4-FFF2-40B4-BE49-F238E27FC236}">
                <a16:creationId xmlns:a16="http://schemas.microsoft.com/office/drawing/2014/main" id="{45E6B0D7-86B7-F14F-3644-ED0D201E4DDB}"/>
              </a:ext>
            </a:extLst>
          </p:cNvPr>
          <p:cNvSpPr/>
          <p:nvPr/>
        </p:nvSpPr>
        <p:spPr>
          <a:xfrm rot="14424014">
            <a:off x="5851147" y="1651883"/>
            <a:ext cx="4075687" cy="4087471"/>
          </a:xfrm>
          <a:prstGeom prst="arc">
            <a:avLst>
              <a:gd name="adj1" fmla="val 19732398"/>
              <a:gd name="adj2" fmla="val 1096450"/>
            </a:avLst>
          </a:prstGeom>
          <a:ln w="12700" cap="rnd">
            <a:solidFill>
              <a:schemeClr val="tx1">
                <a:lumMod val="60000"/>
                <a:lumOff val="40000"/>
              </a:schemeClr>
            </a:solidFill>
            <a:round/>
            <a:headEnd type="none" w="med" len="sm"/>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861"/>
              </a:solidFill>
              <a:effectLst/>
              <a:uLnTx/>
              <a:uFillTx/>
              <a:latin typeface="ES Build Neutral"/>
              <a:ea typeface="+mn-ea"/>
              <a:cs typeface="+mn-cs"/>
            </a:endParaRPr>
          </a:p>
        </p:txBody>
      </p:sp>
      <p:sp>
        <p:nvSpPr>
          <p:cNvPr id="31" name="Title 2">
            <a:extLst>
              <a:ext uri="{FF2B5EF4-FFF2-40B4-BE49-F238E27FC236}">
                <a16:creationId xmlns:a16="http://schemas.microsoft.com/office/drawing/2014/main" id="{150306DA-ED78-9F4B-B70A-E977D01636E5}"/>
              </a:ext>
            </a:extLst>
          </p:cNvPr>
          <p:cNvSpPr txBox="1">
            <a:spLocks/>
          </p:cNvSpPr>
          <p:nvPr/>
        </p:nvSpPr>
        <p:spPr>
          <a:xfrm>
            <a:off x="565858" y="3159246"/>
            <a:ext cx="2861099" cy="1471461"/>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3400" b="0" i="0" kern="1200">
                <a:solidFill>
                  <a:schemeClr val="tx1"/>
                </a:solidFill>
                <a:latin typeface="ES Build" pitchFamily="2" charset="77"/>
                <a:ea typeface="ES Build" pitchFamily="2" charset="77"/>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400" b="0" i="0" u="none" strike="noStrike" kern="1200" cap="none" spc="0" normalizeH="0" baseline="0" noProof="0">
                <a:ln>
                  <a:noFill/>
                </a:ln>
                <a:solidFill>
                  <a:srgbClr val="505861"/>
                </a:solidFill>
                <a:effectLst/>
                <a:uLnTx/>
                <a:uFillTx/>
                <a:latin typeface="ES Build" pitchFamily="2" charset="77"/>
                <a:ea typeface="ES Build" pitchFamily="2" charset="77"/>
                <a:cs typeface="+mj-cs"/>
              </a:rPr>
              <a:t>purpose-built </a:t>
            </a:r>
            <a:br>
              <a:rPr kumimoji="0" lang="en-US" sz="3400" b="0" i="0" u="none" strike="noStrike" kern="1200" cap="none" spc="0" normalizeH="0" baseline="0" noProof="0">
                <a:ln>
                  <a:noFill/>
                </a:ln>
                <a:solidFill>
                  <a:srgbClr val="505861"/>
                </a:solidFill>
                <a:effectLst/>
                <a:uLnTx/>
                <a:uFillTx/>
                <a:latin typeface="ES Build" pitchFamily="2" charset="77"/>
                <a:ea typeface="ES Build" pitchFamily="2" charset="77"/>
                <a:cs typeface="+mj-cs"/>
              </a:rPr>
            </a:br>
            <a:r>
              <a:rPr kumimoji="0" lang="en-US" sz="3400" b="0" i="0" u="none" strike="noStrike" kern="1200" cap="none" spc="0" normalizeH="0" baseline="0" noProof="0">
                <a:ln>
                  <a:noFill/>
                </a:ln>
                <a:solidFill>
                  <a:srgbClr val="505861"/>
                </a:solidFill>
                <a:effectLst/>
                <a:uLnTx/>
                <a:uFillTx/>
                <a:latin typeface="ES Build" pitchFamily="2" charset="77"/>
                <a:ea typeface="ES Build" pitchFamily="2" charset="77"/>
                <a:cs typeface="+mj-cs"/>
              </a:rPr>
              <a:t>for powering  </a:t>
            </a:r>
            <a:br>
              <a:rPr kumimoji="0" lang="en-US" sz="3400" b="0" i="0" u="none" strike="noStrike" kern="1200" cap="none" spc="0" normalizeH="0" baseline="0" noProof="0">
                <a:ln>
                  <a:noFill/>
                </a:ln>
                <a:solidFill>
                  <a:srgbClr val="505861"/>
                </a:solidFill>
                <a:effectLst/>
                <a:uLnTx/>
                <a:uFillTx/>
                <a:latin typeface="ES Build" pitchFamily="2" charset="77"/>
                <a:ea typeface="ES Build" pitchFamily="2" charset="77"/>
                <a:cs typeface="+mj-cs"/>
              </a:rPr>
            </a:br>
            <a:r>
              <a:rPr kumimoji="0" lang="en-US" sz="3400" b="0" i="0" u="none" strike="noStrike" kern="1200" cap="none" spc="0" normalizeH="0" baseline="0" noProof="0">
                <a:ln>
                  <a:noFill/>
                </a:ln>
                <a:solidFill>
                  <a:srgbClr val="505861"/>
                </a:solidFill>
                <a:effectLst/>
                <a:uLnTx/>
                <a:uFillTx/>
                <a:latin typeface="ES Build" pitchFamily="2" charset="77"/>
                <a:ea typeface="ES Build" pitchFamily="2" charset="77"/>
                <a:cs typeface="+mj-cs"/>
              </a:rPr>
              <a:t>data resilience</a:t>
            </a:r>
          </a:p>
        </p:txBody>
      </p:sp>
    </p:spTree>
    <p:extLst>
      <p:ext uri="{BB962C8B-B14F-4D97-AF65-F5344CB8AC3E}">
        <p14:creationId xmlns:p14="http://schemas.microsoft.com/office/powerpoint/2010/main" val="2599115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2000" fill="hold"/>
                                        <p:tgtEl>
                                          <p:spTgt spid="2"/>
                                        </p:tgtEl>
                                        <p:attrNameLst>
                                          <p:attrName>ppt_w</p:attrName>
                                        </p:attrNameLst>
                                      </p:cBhvr>
                                      <p:tavLst>
                                        <p:tav tm="0">
                                          <p:val>
                                            <p:fltVal val="0"/>
                                          </p:val>
                                        </p:tav>
                                        <p:tav tm="100000">
                                          <p:val>
                                            <p:strVal val="#ppt_w"/>
                                          </p:val>
                                        </p:tav>
                                      </p:tavLst>
                                    </p:anim>
                                    <p:anim calcmode="lin" valueType="num">
                                      <p:cBhvr>
                                        <p:cTn id="8" dur="2000" fill="hold"/>
                                        <p:tgtEl>
                                          <p:spTgt spid="2"/>
                                        </p:tgtEl>
                                        <p:attrNameLst>
                                          <p:attrName>ppt_h</p:attrName>
                                        </p:attrNameLst>
                                      </p:cBhvr>
                                      <p:tavLst>
                                        <p:tav tm="0">
                                          <p:val>
                                            <p:fltVal val="0"/>
                                          </p:val>
                                        </p:tav>
                                        <p:tav tm="100000">
                                          <p:val>
                                            <p:strVal val="#ppt_h"/>
                                          </p:val>
                                        </p:tav>
                                      </p:tavLst>
                                    </p:anim>
                                    <p:animEffect transition="in" filter="fade">
                                      <p:cBhvr>
                                        <p:cTn id="9" dur="2000"/>
                                        <p:tgtEl>
                                          <p:spTgt spid="2"/>
                                        </p:tgtEl>
                                      </p:cBhvr>
                                    </p:animEffect>
                                  </p:childTnLst>
                                </p:cTn>
                              </p:par>
                              <p:par>
                                <p:cTn id="10" presetID="10" presetClass="entr" presetSubtype="0" fill="hold" grpId="0" nodeType="withEffect">
                                  <p:stCondLst>
                                    <p:cond delay="15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par>
                          <p:cTn id="13" fill="hold">
                            <p:stCondLst>
                              <p:cond delay="2000"/>
                            </p:stCondLst>
                            <p:childTnLst>
                              <p:par>
                                <p:cTn id="14" presetID="10" presetClass="entr" presetSubtype="0" fill="hold" nodeType="after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500"/>
                                        <p:tgtEl>
                                          <p:spTgt spid="6"/>
                                        </p:tgtEl>
                                      </p:cBhvr>
                                    </p:animEffect>
                                  </p:childTnLst>
                                </p:cTn>
                              </p:par>
                            </p:childTnLst>
                          </p:cTn>
                        </p:par>
                        <p:par>
                          <p:cTn id="17" fill="hold">
                            <p:stCondLst>
                              <p:cond delay="2500"/>
                            </p:stCondLst>
                            <p:childTnLst>
                              <p:par>
                                <p:cTn id="18" presetID="22" presetClass="entr" presetSubtype="8" fill="hold" grpId="0" nodeType="afterEffect">
                                  <p:stCondLst>
                                    <p:cond delay="0"/>
                                  </p:stCondLst>
                                  <p:childTnLst>
                                    <p:set>
                                      <p:cBhvr>
                                        <p:cTn id="19" dur="1" fill="hold">
                                          <p:stCondLst>
                                            <p:cond delay="0"/>
                                          </p:stCondLst>
                                        </p:cTn>
                                        <p:tgtEl>
                                          <p:spTgt spid="17"/>
                                        </p:tgtEl>
                                        <p:attrNameLst>
                                          <p:attrName>style.visibility</p:attrName>
                                        </p:attrNameLst>
                                      </p:cBhvr>
                                      <p:to>
                                        <p:strVal val="visible"/>
                                      </p:to>
                                    </p:set>
                                    <p:animEffect transition="in" filter="wipe(left)">
                                      <p:cBhvr>
                                        <p:cTn id="20" dur="500"/>
                                        <p:tgtEl>
                                          <p:spTgt spid="17"/>
                                        </p:tgtEl>
                                      </p:cBhvr>
                                    </p:animEffect>
                                  </p:childTnLst>
                                </p:cTn>
                              </p:par>
                            </p:childTnLst>
                          </p:cTn>
                        </p:par>
                        <p:par>
                          <p:cTn id="21" fill="hold">
                            <p:stCondLst>
                              <p:cond delay="3000"/>
                            </p:stCondLst>
                            <p:childTnLst>
                              <p:par>
                                <p:cTn id="22" presetID="10" presetClass="entr" presetSubtype="0" fill="hold" nodeType="after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500"/>
                                        <p:tgtEl>
                                          <p:spTgt spid="10"/>
                                        </p:tgtEl>
                                      </p:cBhvr>
                                    </p:animEffect>
                                  </p:childTnLst>
                                </p:cTn>
                              </p:par>
                            </p:childTnLst>
                          </p:cTn>
                        </p:par>
                        <p:par>
                          <p:cTn id="25" fill="hold">
                            <p:stCondLst>
                              <p:cond delay="3500"/>
                            </p:stCondLst>
                            <p:childTnLst>
                              <p:par>
                                <p:cTn id="26" presetID="22" presetClass="entr" presetSubtype="1" fill="hold" grpId="0" nodeType="afterEffect">
                                  <p:stCondLst>
                                    <p:cond delay="0"/>
                                  </p:stCondLst>
                                  <p:childTnLst>
                                    <p:set>
                                      <p:cBhvr>
                                        <p:cTn id="27" dur="1" fill="hold">
                                          <p:stCondLst>
                                            <p:cond delay="0"/>
                                          </p:stCondLst>
                                        </p:cTn>
                                        <p:tgtEl>
                                          <p:spTgt spid="14"/>
                                        </p:tgtEl>
                                        <p:attrNameLst>
                                          <p:attrName>style.visibility</p:attrName>
                                        </p:attrNameLst>
                                      </p:cBhvr>
                                      <p:to>
                                        <p:strVal val="visible"/>
                                      </p:to>
                                    </p:set>
                                    <p:animEffect transition="in" filter="wipe(up)">
                                      <p:cBhvr>
                                        <p:cTn id="28" dur="500"/>
                                        <p:tgtEl>
                                          <p:spTgt spid="14"/>
                                        </p:tgtEl>
                                      </p:cBhvr>
                                    </p:animEffect>
                                  </p:childTnLst>
                                </p:cTn>
                              </p:par>
                            </p:childTnLst>
                          </p:cTn>
                        </p:par>
                        <p:par>
                          <p:cTn id="29" fill="hold">
                            <p:stCondLst>
                              <p:cond delay="4000"/>
                            </p:stCondLst>
                            <p:childTnLst>
                              <p:par>
                                <p:cTn id="30" presetID="10" presetClass="entr" presetSubtype="0" fill="hold" nodeType="afterEffect">
                                  <p:stCondLst>
                                    <p:cond delay="0"/>
                                  </p:stCondLst>
                                  <p:childTnLst>
                                    <p:set>
                                      <p:cBhvr>
                                        <p:cTn id="31" dur="1" fill="hold">
                                          <p:stCondLst>
                                            <p:cond delay="0"/>
                                          </p:stCondLst>
                                        </p:cTn>
                                        <p:tgtEl>
                                          <p:spTgt spid="18"/>
                                        </p:tgtEl>
                                        <p:attrNameLst>
                                          <p:attrName>style.visibility</p:attrName>
                                        </p:attrNameLst>
                                      </p:cBhvr>
                                      <p:to>
                                        <p:strVal val="visible"/>
                                      </p:to>
                                    </p:set>
                                    <p:animEffect transition="in" filter="fade">
                                      <p:cBhvr>
                                        <p:cTn id="32" dur="500"/>
                                        <p:tgtEl>
                                          <p:spTgt spid="18"/>
                                        </p:tgtEl>
                                      </p:cBhvr>
                                    </p:animEffect>
                                  </p:childTnLst>
                                </p:cTn>
                              </p:par>
                            </p:childTnLst>
                          </p:cTn>
                        </p:par>
                        <p:par>
                          <p:cTn id="33" fill="hold">
                            <p:stCondLst>
                              <p:cond delay="4500"/>
                            </p:stCondLst>
                            <p:childTnLst>
                              <p:par>
                                <p:cTn id="34" presetID="22" presetClass="entr" presetSubtype="2" fill="hold" grpId="0" nodeType="afterEffect">
                                  <p:stCondLst>
                                    <p:cond delay="0"/>
                                  </p:stCondLst>
                                  <p:childTnLst>
                                    <p:set>
                                      <p:cBhvr>
                                        <p:cTn id="35" dur="1" fill="hold">
                                          <p:stCondLst>
                                            <p:cond delay="0"/>
                                          </p:stCondLst>
                                        </p:cTn>
                                        <p:tgtEl>
                                          <p:spTgt spid="15"/>
                                        </p:tgtEl>
                                        <p:attrNameLst>
                                          <p:attrName>style.visibility</p:attrName>
                                        </p:attrNameLst>
                                      </p:cBhvr>
                                      <p:to>
                                        <p:strVal val="visible"/>
                                      </p:to>
                                    </p:set>
                                    <p:animEffect transition="in" filter="wipe(right)">
                                      <p:cBhvr>
                                        <p:cTn id="36" dur="500"/>
                                        <p:tgtEl>
                                          <p:spTgt spid="15"/>
                                        </p:tgtEl>
                                      </p:cBhvr>
                                    </p:animEffect>
                                  </p:childTnLst>
                                </p:cTn>
                              </p:par>
                            </p:childTnLst>
                          </p:cTn>
                        </p:par>
                        <p:par>
                          <p:cTn id="37" fill="hold">
                            <p:stCondLst>
                              <p:cond delay="5000"/>
                            </p:stCondLst>
                            <p:childTnLst>
                              <p:par>
                                <p:cTn id="38" presetID="10" presetClass="entr" presetSubtype="0" fill="hold" nodeType="afterEffect">
                                  <p:stCondLst>
                                    <p:cond delay="0"/>
                                  </p:stCondLst>
                                  <p:childTnLst>
                                    <p:set>
                                      <p:cBhvr>
                                        <p:cTn id="39" dur="1" fill="hold">
                                          <p:stCondLst>
                                            <p:cond delay="0"/>
                                          </p:stCondLst>
                                        </p:cTn>
                                        <p:tgtEl>
                                          <p:spTgt spid="22"/>
                                        </p:tgtEl>
                                        <p:attrNameLst>
                                          <p:attrName>style.visibility</p:attrName>
                                        </p:attrNameLst>
                                      </p:cBhvr>
                                      <p:to>
                                        <p:strVal val="visible"/>
                                      </p:to>
                                    </p:set>
                                    <p:animEffect transition="in" filter="fade">
                                      <p:cBhvr>
                                        <p:cTn id="40" dur="500"/>
                                        <p:tgtEl>
                                          <p:spTgt spid="22"/>
                                        </p:tgtEl>
                                      </p:cBhvr>
                                    </p:animEffect>
                                  </p:childTnLst>
                                </p:cTn>
                              </p:par>
                            </p:childTnLst>
                          </p:cTn>
                        </p:par>
                        <p:par>
                          <p:cTn id="41" fill="hold">
                            <p:stCondLst>
                              <p:cond delay="5500"/>
                            </p:stCondLst>
                            <p:childTnLst>
                              <p:par>
                                <p:cTn id="42" presetID="22" presetClass="entr" presetSubtype="4" fill="hold" grpId="0" nodeType="afterEffect">
                                  <p:stCondLst>
                                    <p:cond delay="0"/>
                                  </p:stCondLst>
                                  <p:childTnLst>
                                    <p:set>
                                      <p:cBhvr>
                                        <p:cTn id="43" dur="1" fill="hold">
                                          <p:stCondLst>
                                            <p:cond delay="0"/>
                                          </p:stCondLst>
                                        </p:cTn>
                                        <p:tgtEl>
                                          <p:spTgt spid="16"/>
                                        </p:tgtEl>
                                        <p:attrNameLst>
                                          <p:attrName>style.visibility</p:attrName>
                                        </p:attrNameLst>
                                      </p:cBhvr>
                                      <p:to>
                                        <p:strVal val="visible"/>
                                      </p:to>
                                    </p:set>
                                    <p:animEffect transition="in" filter="wipe(down)">
                                      <p:cBhvr>
                                        <p:cTn id="44" dur="500"/>
                                        <p:tgtEl>
                                          <p:spTgt spid="16"/>
                                        </p:tgtEl>
                                      </p:cBhvr>
                                    </p:animEffect>
                                  </p:childTnLst>
                                </p:cTn>
                              </p:par>
                            </p:childTnLst>
                          </p:cTn>
                        </p:par>
                        <p:par>
                          <p:cTn id="45" fill="hold">
                            <p:stCondLst>
                              <p:cond delay="6000"/>
                            </p:stCondLst>
                            <p:childTnLst>
                              <p:par>
                                <p:cTn id="46" presetID="10" presetClass="entr" presetSubtype="0" fill="hold" nodeType="afterEffect">
                                  <p:stCondLst>
                                    <p:cond delay="0"/>
                                  </p:stCondLst>
                                  <p:childTnLst>
                                    <p:set>
                                      <p:cBhvr>
                                        <p:cTn id="47" dur="1" fill="hold">
                                          <p:stCondLst>
                                            <p:cond delay="0"/>
                                          </p:stCondLst>
                                        </p:cTn>
                                        <p:tgtEl>
                                          <p:spTgt spid="26"/>
                                        </p:tgtEl>
                                        <p:attrNameLst>
                                          <p:attrName>style.visibility</p:attrName>
                                        </p:attrNameLst>
                                      </p:cBhvr>
                                      <p:to>
                                        <p:strVal val="visible"/>
                                      </p:to>
                                    </p:set>
                                    <p:animEffect transition="in" filter="fade">
                                      <p:cBhvr>
                                        <p:cTn id="48" dur="500"/>
                                        <p:tgtEl>
                                          <p:spTgt spid="26"/>
                                        </p:tgtEl>
                                      </p:cBhvr>
                                    </p:animEffect>
                                  </p:childTnLst>
                                </p:cTn>
                              </p:par>
                            </p:childTnLst>
                          </p:cTn>
                        </p:par>
                        <p:par>
                          <p:cTn id="49" fill="hold">
                            <p:stCondLst>
                              <p:cond delay="6500"/>
                            </p:stCondLst>
                            <p:childTnLst>
                              <p:par>
                                <p:cTn id="50" presetID="22" presetClass="entr" presetSubtype="4" fill="hold" grpId="0" nodeType="afterEffect">
                                  <p:stCondLst>
                                    <p:cond delay="0"/>
                                  </p:stCondLst>
                                  <p:childTnLst>
                                    <p:set>
                                      <p:cBhvr>
                                        <p:cTn id="51" dur="1" fill="hold">
                                          <p:stCondLst>
                                            <p:cond delay="0"/>
                                          </p:stCondLst>
                                        </p:cTn>
                                        <p:tgtEl>
                                          <p:spTgt spid="30"/>
                                        </p:tgtEl>
                                        <p:attrNameLst>
                                          <p:attrName>style.visibility</p:attrName>
                                        </p:attrNameLst>
                                      </p:cBhvr>
                                      <p:to>
                                        <p:strVal val="visible"/>
                                      </p:to>
                                    </p:set>
                                    <p:animEffect transition="in" filter="wipe(down)">
                                      <p:cBhvr>
                                        <p:cTn id="52"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animBg="1"/>
      <p:bldP spid="14" grpId="0" animBg="1"/>
      <p:bldP spid="15" grpId="0" animBg="1"/>
      <p:bldP spid="16" grpId="0" animBg="1"/>
      <p:bldP spid="17" grpId="0" animBg="1"/>
      <p:bldP spid="30"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DATA" hidden="1">
            <a:extLst>
              <a:ext uri="{FF2B5EF4-FFF2-40B4-BE49-F238E27FC236}">
                <a16:creationId xmlns:a16="http://schemas.microsoft.com/office/drawing/2014/main" id="{2B88B156-4636-7916-673E-890A44A4DA32}"/>
              </a:ext>
            </a:extLst>
          </p:cNvPr>
          <p:cNvSpPr txBox="1">
            <a:spLocks/>
          </p:cNvSpPr>
          <p:nvPr/>
        </p:nvSpPr>
        <p:spPr>
          <a:xfrm>
            <a:off x="-3431761" y="-1120854"/>
            <a:ext cx="18861657" cy="806374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1800" b="1" i="0" u="none" strike="noStrike" kern="1200" cap="none" spc="-3000" normalizeH="0" baseline="0" noProof="0">
                <a:ln>
                  <a:noFill/>
                </a:ln>
                <a:solidFill>
                  <a:srgbClr val="FFFFFF">
                    <a:lumMod val="85000"/>
                    <a:alpha val="0"/>
                  </a:srgbClr>
                </a:solidFill>
                <a:effectLst/>
                <a:uLnTx/>
                <a:uFillTx/>
                <a:latin typeface="ES Build Full Bauhaus" pitchFamily="2" charset="77"/>
                <a:ea typeface="ES Build Full Bauhaus" pitchFamily="2" charset="77"/>
                <a:cs typeface="+mn-cs"/>
              </a:rPr>
              <a:t>DATA</a:t>
            </a:r>
          </a:p>
        </p:txBody>
      </p:sp>
      <p:pic>
        <p:nvPicPr>
          <p:cNvPr id="49" name="arrows" hidden="1">
            <a:extLst>
              <a:ext uri="{FF2B5EF4-FFF2-40B4-BE49-F238E27FC236}">
                <a16:creationId xmlns:a16="http://schemas.microsoft.com/office/drawing/2014/main" id="{85ED38B0-FA0C-8591-F4E0-9E2975FDA141}"/>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rot="900000">
            <a:off x="-2299955" y="-4357202"/>
            <a:ext cx="16937654" cy="16937654"/>
          </a:xfrm>
          <a:prstGeom prst="rect">
            <a:avLst/>
          </a:prstGeom>
        </p:spPr>
      </p:pic>
      <p:sp>
        <p:nvSpPr>
          <p:cNvPr id="50" name="donut" hidden="1">
            <a:extLst>
              <a:ext uri="{FF2B5EF4-FFF2-40B4-BE49-F238E27FC236}">
                <a16:creationId xmlns:a16="http://schemas.microsoft.com/office/drawing/2014/main" id="{ADB3C278-F744-657A-9922-AA9475DA6DC1}"/>
              </a:ext>
            </a:extLst>
          </p:cNvPr>
          <p:cNvSpPr>
            <a:spLocks/>
          </p:cNvSpPr>
          <p:nvPr/>
        </p:nvSpPr>
        <p:spPr>
          <a:xfrm>
            <a:off x="-8201342" y="-8185938"/>
            <a:ext cx="15727680" cy="15680239"/>
          </a:xfrm>
          <a:prstGeom prst="donut">
            <a:avLst>
              <a:gd name="adj" fmla="val 2748"/>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3200" b="0" i="0" u="none" strike="noStrike" kern="1200" cap="none" spc="0" normalizeH="0" baseline="0" noProof="0">
                <a:ln>
                  <a:noFill/>
                </a:ln>
                <a:solidFill>
                  <a:schemeClr val="bg1"/>
                </a:solidFill>
                <a:effectLst/>
                <a:uLnTx/>
                <a:uFillTx/>
                <a:latin typeface="ES Build" pitchFamily="50" charset="0"/>
                <a:ea typeface="+mn-ea"/>
                <a:cs typeface="Microsoft Sans Serif" panose="020B0604020202020204" pitchFamily="34" charset="0"/>
              </a:rPr>
              <a:t>DATA</a:t>
            </a:r>
          </a:p>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3200" b="0" i="0" u="none" strike="noStrike" kern="1200" cap="none" spc="0" normalizeH="0" baseline="0" noProof="0">
                <a:ln>
                  <a:noFill/>
                </a:ln>
                <a:solidFill>
                  <a:schemeClr val="bg1"/>
                </a:solidFill>
                <a:effectLst/>
                <a:uLnTx/>
                <a:uFillTx/>
                <a:latin typeface="ES Build" pitchFamily="50" charset="0"/>
                <a:ea typeface="+mn-ea"/>
                <a:cs typeface="Microsoft Sans Serif" panose="020B0604020202020204" pitchFamily="34" charset="0"/>
              </a:rPr>
              <a:t>RESILIENCE</a:t>
            </a:r>
          </a:p>
        </p:txBody>
      </p:sp>
      <p:sp>
        <p:nvSpPr>
          <p:cNvPr id="43" name="Rounded Rectangle 24">
            <a:extLst>
              <a:ext uri="{FF2B5EF4-FFF2-40B4-BE49-F238E27FC236}">
                <a16:creationId xmlns:a16="http://schemas.microsoft.com/office/drawing/2014/main" id="{B313B1C2-656C-DFE5-1FDB-9D4ABB563A88}"/>
              </a:ext>
            </a:extLst>
          </p:cNvPr>
          <p:cNvSpPr/>
          <p:nvPr/>
        </p:nvSpPr>
        <p:spPr bwMode="auto">
          <a:xfrm>
            <a:off x="493712" y="1038035"/>
            <a:ext cx="7617515" cy="528980"/>
          </a:xfrm>
          <a:prstGeom prst="roundRect">
            <a:avLst>
              <a:gd name="adj" fmla="val 13628"/>
            </a:avLst>
          </a:prstGeom>
          <a:solidFill>
            <a:schemeClr val="bg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6000"/>
              </a:lnSpc>
            </a:pPr>
            <a:r>
              <a:rPr lang="en-US" sz="1600" b="1">
                <a:solidFill>
                  <a:schemeClr val="tx1"/>
                </a:solidFill>
                <a:latin typeface="ES Build Neutral"/>
                <a:cs typeface="Microsoft Sans Serif" panose="020B0604020202020204" pitchFamily="34" charset="0"/>
              </a:rPr>
              <a:t>Native APIs</a:t>
            </a:r>
          </a:p>
        </p:txBody>
      </p:sp>
      <p:sp>
        <p:nvSpPr>
          <p:cNvPr id="72" name="Rounded Rectangle 71">
            <a:extLst>
              <a:ext uri="{FF2B5EF4-FFF2-40B4-BE49-F238E27FC236}">
                <a16:creationId xmlns:a16="http://schemas.microsoft.com/office/drawing/2014/main" id="{0EEF81B1-9094-EC00-E0B8-F671A0F128E5}"/>
              </a:ext>
            </a:extLst>
          </p:cNvPr>
          <p:cNvSpPr/>
          <p:nvPr/>
        </p:nvSpPr>
        <p:spPr>
          <a:xfrm>
            <a:off x="488355" y="2805503"/>
            <a:ext cx="7607825" cy="3260624"/>
          </a:xfrm>
          <a:prstGeom prst="roundRect">
            <a:avLst>
              <a:gd name="adj" fmla="val 1964"/>
            </a:avLst>
          </a:prstGeom>
          <a:solidFill>
            <a:schemeClr val="bg1"/>
          </a:solidFill>
          <a:ln w="12700">
            <a:noFill/>
            <a:headEnd type="none" w="med" len="med"/>
            <a:tailEnd type="none" w="med" len="med"/>
          </a:ln>
          <a:effectLst>
            <a:outerShdw blurRad="381000" algn="ctr" rotWithShape="0">
              <a:schemeClr val="accent1">
                <a:alpha val="12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96000"/>
              </a:lnSpc>
            </a:pPr>
            <a:endParaRPr lang="en-US" sz="1200">
              <a:solidFill>
                <a:schemeClr val="bg1"/>
              </a:solidFill>
              <a:latin typeface="ES Build Neutral"/>
              <a:cs typeface="Microsoft Sans Serif" panose="020B0604020202020204" pitchFamily="34" charset="0"/>
            </a:endParaRPr>
          </a:p>
        </p:txBody>
      </p:sp>
      <p:grpSp>
        <p:nvGrpSpPr>
          <p:cNvPr id="73" name="Group 72">
            <a:extLst>
              <a:ext uri="{FF2B5EF4-FFF2-40B4-BE49-F238E27FC236}">
                <a16:creationId xmlns:a16="http://schemas.microsoft.com/office/drawing/2014/main" id="{E458F886-88CA-1366-3E46-3288582355A4}"/>
              </a:ext>
            </a:extLst>
          </p:cNvPr>
          <p:cNvGrpSpPr/>
          <p:nvPr/>
        </p:nvGrpSpPr>
        <p:grpSpPr>
          <a:xfrm>
            <a:off x="1221152" y="3596746"/>
            <a:ext cx="6131777" cy="1672626"/>
            <a:chOff x="4869396" y="3766990"/>
            <a:chExt cx="6133024" cy="1672626"/>
          </a:xfrm>
        </p:grpSpPr>
        <p:cxnSp>
          <p:nvCxnSpPr>
            <p:cNvPr id="128" name="Straight Connector 127">
              <a:extLst>
                <a:ext uri="{FF2B5EF4-FFF2-40B4-BE49-F238E27FC236}">
                  <a16:creationId xmlns:a16="http://schemas.microsoft.com/office/drawing/2014/main" id="{9C94C8D1-C9FE-FE4D-F30D-A26237425A7D}"/>
                </a:ext>
              </a:extLst>
            </p:cNvPr>
            <p:cNvCxnSpPr>
              <a:cxnSpLocks/>
              <a:stCxn id="75" idx="2"/>
              <a:endCxn id="83" idx="0"/>
            </p:cNvCxnSpPr>
            <p:nvPr/>
          </p:nvCxnSpPr>
          <p:spPr>
            <a:xfrm>
              <a:off x="4869396" y="3766990"/>
              <a:ext cx="0" cy="1662518"/>
            </a:xfrm>
            <a:prstGeom prst="line">
              <a:avLst/>
            </a:prstGeom>
            <a:ln w="12700" cap="rnd">
              <a:solidFill>
                <a:schemeClr val="tx1">
                  <a:lumMod val="60000"/>
                  <a:lumOff val="40000"/>
                </a:schemeClr>
              </a:solidFill>
              <a:prstDash val="solid"/>
              <a:round/>
              <a:headEnd type="none" w="med" len="sm"/>
              <a:tailEnd type="none" w="sm" len="sm"/>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5C2799F-D155-C9C8-4C9A-8E18A271B7EF}"/>
                </a:ext>
              </a:extLst>
            </p:cNvPr>
            <p:cNvCxnSpPr>
              <a:cxnSpLocks/>
            </p:cNvCxnSpPr>
            <p:nvPr/>
          </p:nvCxnSpPr>
          <p:spPr>
            <a:xfrm>
              <a:off x="6096000" y="3766990"/>
              <a:ext cx="0" cy="1672626"/>
            </a:xfrm>
            <a:prstGeom prst="line">
              <a:avLst/>
            </a:prstGeom>
            <a:ln w="12700" cap="rnd">
              <a:solidFill>
                <a:schemeClr val="tx1">
                  <a:lumMod val="60000"/>
                  <a:lumOff val="40000"/>
                </a:schemeClr>
              </a:solidFill>
              <a:prstDash val="solid"/>
              <a:round/>
              <a:headEnd type="none" w="med" len="sm"/>
              <a:tailEnd type="none" w="sm" len="sm"/>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AC6AC3D-E30D-8D2C-DD11-B552CDEEBD5B}"/>
                </a:ext>
              </a:extLst>
            </p:cNvPr>
            <p:cNvCxnSpPr>
              <a:cxnSpLocks/>
            </p:cNvCxnSpPr>
            <p:nvPr/>
          </p:nvCxnSpPr>
          <p:spPr>
            <a:xfrm>
              <a:off x="7322605" y="3766990"/>
              <a:ext cx="0" cy="1672626"/>
            </a:xfrm>
            <a:prstGeom prst="line">
              <a:avLst/>
            </a:prstGeom>
            <a:ln w="12700" cap="rnd">
              <a:solidFill>
                <a:schemeClr val="tx1">
                  <a:lumMod val="60000"/>
                  <a:lumOff val="40000"/>
                </a:schemeClr>
              </a:solidFill>
              <a:prstDash val="solid"/>
              <a:round/>
              <a:headEnd type="none" w="med" len="sm"/>
              <a:tailEnd type="none" w="sm" len="sm"/>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8997B214-9BFB-8A5A-19FC-2F39ED4C70D5}"/>
                </a:ext>
              </a:extLst>
            </p:cNvPr>
            <p:cNvCxnSpPr>
              <a:cxnSpLocks/>
            </p:cNvCxnSpPr>
            <p:nvPr/>
          </p:nvCxnSpPr>
          <p:spPr>
            <a:xfrm>
              <a:off x="8549210" y="3766990"/>
              <a:ext cx="0" cy="1672626"/>
            </a:xfrm>
            <a:prstGeom prst="line">
              <a:avLst/>
            </a:prstGeom>
            <a:ln w="12700" cap="rnd">
              <a:solidFill>
                <a:schemeClr val="tx1">
                  <a:lumMod val="60000"/>
                  <a:lumOff val="40000"/>
                </a:schemeClr>
              </a:solidFill>
              <a:prstDash val="solid"/>
              <a:round/>
              <a:headEnd type="none" w="med" len="sm"/>
              <a:tailEnd type="none" w="sm" len="sm"/>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53577FC4-7945-26BF-51DE-CF4A5B1BAF55}"/>
                </a:ext>
              </a:extLst>
            </p:cNvPr>
            <p:cNvCxnSpPr>
              <a:cxnSpLocks/>
            </p:cNvCxnSpPr>
            <p:nvPr/>
          </p:nvCxnSpPr>
          <p:spPr>
            <a:xfrm>
              <a:off x="9775815" y="3766990"/>
              <a:ext cx="0" cy="1672626"/>
            </a:xfrm>
            <a:prstGeom prst="line">
              <a:avLst/>
            </a:prstGeom>
            <a:ln w="12700" cap="rnd">
              <a:solidFill>
                <a:schemeClr val="tx1">
                  <a:lumMod val="60000"/>
                  <a:lumOff val="40000"/>
                </a:schemeClr>
              </a:solidFill>
              <a:prstDash val="solid"/>
              <a:round/>
              <a:headEnd type="none" w="med" len="sm"/>
              <a:tailEnd type="none" w="sm" len="sm"/>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1021AB5D-DD1D-0F95-D375-546592F1B5AF}"/>
                </a:ext>
              </a:extLst>
            </p:cNvPr>
            <p:cNvCxnSpPr>
              <a:cxnSpLocks/>
            </p:cNvCxnSpPr>
            <p:nvPr/>
          </p:nvCxnSpPr>
          <p:spPr>
            <a:xfrm>
              <a:off x="11002420" y="3766990"/>
              <a:ext cx="0" cy="1672626"/>
            </a:xfrm>
            <a:prstGeom prst="line">
              <a:avLst/>
            </a:prstGeom>
            <a:ln w="12700" cap="rnd">
              <a:solidFill>
                <a:schemeClr val="tx1">
                  <a:lumMod val="60000"/>
                  <a:lumOff val="40000"/>
                </a:schemeClr>
              </a:solidFill>
              <a:prstDash val="solid"/>
              <a:round/>
              <a:headEnd type="none" w="med" len="sm"/>
              <a:tailEnd type="none" w="sm" len="sm"/>
            </a:ln>
          </p:spPr>
          <p:style>
            <a:lnRef idx="1">
              <a:schemeClr val="accent1"/>
            </a:lnRef>
            <a:fillRef idx="0">
              <a:schemeClr val="accent1"/>
            </a:fillRef>
            <a:effectRef idx="0">
              <a:schemeClr val="accent1"/>
            </a:effectRef>
            <a:fontRef idx="minor">
              <a:schemeClr val="tx1"/>
            </a:fontRef>
          </p:style>
        </p:cxnSp>
      </p:grpSp>
      <p:grpSp>
        <p:nvGrpSpPr>
          <p:cNvPr id="74" name="Group 73">
            <a:extLst>
              <a:ext uri="{FF2B5EF4-FFF2-40B4-BE49-F238E27FC236}">
                <a16:creationId xmlns:a16="http://schemas.microsoft.com/office/drawing/2014/main" id="{F5450D16-07E6-305E-2986-EBC9421ACCA3}"/>
              </a:ext>
            </a:extLst>
          </p:cNvPr>
          <p:cNvGrpSpPr/>
          <p:nvPr/>
        </p:nvGrpSpPr>
        <p:grpSpPr>
          <a:xfrm>
            <a:off x="1715717" y="3326223"/>
            <a:ext cx="5142645" cy="2209800"/>
            <a:chOff x="5364062" y="3496467"/>
            <a:chExt cx="5143691" cy="2209800"/>
          </a:xfrm>
        </p:grpSpPr>
        <p:cxnSp>
          <p:nvCxnSpPr>
            <p:cNvPr id="124" name="Straight Connector 123">
              <a:extLst>
                <a:ext uri="{FF2B5EF4-FFF2-40B4-BE49-F238E27FC236}">
                  <a16:creationId xmlns:a16="http://schemas.microsoft.com/office/drawing/2014/main" id="{0C8BA56F-9139-00EC-5AF3-C2AAED5A0A88}"/>
                </a:ext>
              </a:extLst>
            </p:cNvPr>
            <p:cNvCxnSpPr>
              <a:cxnSpLocks/>
            </p:cNvCxnSpPr>
            <p:nvPr/>
          </p:nvCxnSpPr>
          <p:spPr>
            <a:xfrm>
              <a:off x="5364062" y="4233067"/>
              <a:ext cx="5119107" cy="0"/>
            </a:xfrm>
            <a:prstGeom prst="line">
              <a:avLst/>
            </a:prstGeom>
            <a:ln w="12700" cap="rnd">
              <a:solidFill>
                <a:schemeClr val="tx1">
                  <a:lumMod val="60000"/>
                  <a:lumOff val="40000"/>
                </a:schemeClr>
              </a:solidFill>
              <a:prstDash val="solid"/>
              <a:round/>
              <a:headEnd type="none" w="med" len="sm"/>
              <a:tailEnd type="none" w="sm" len="sm"/>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04F5734B-124E-4787-BB74-F65E438446F2}"/>
                </a:ext>
              </a:extLst>
            </p:cNvPr>
            <p:cNvCxnSpPr>
              <a:cxnSpLocks/>
            </p:cNvCxnSpPr>
            <p:nvPr/>
          </p:nvCxnSpPr>
          <p:spPr>
            <a:xfrm>
              <a:off x="5364062" y="4969667"/>
              <a:ext cx="5119107" cy="0"/>
            </a:xfrm>
            <a:prstGeom prst="line">
              <a:avLst/>
            </a:prstGeom>
            <a:ln w="12700" cap="rnd">
              <a:solidFill>
                <a:schemeClr val="tx1">
                  <a:lumMod val="60000"/>
                  <a:lumOff val="40000"/>
                </a:schemeClr>
              </a:solidFill>
              <a:prstDash val="solid"/>
              <a:round/>
              <a:headEnd type="none" w="med" len="sm"/>
              <a:tailEnd type="none" w="sm" len="sm"/>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50034ACD-9D75-92DF-5F05-457E21FE8BFA}"/>
                </a:ext>
              </a:extLst>
            </p:cNvPr>
            <p:cNvCxnSpPr>
              <a:cxnSpLocks/>
            </p:cNvCxnSpPr>
            <p:nvPr/>
          </p:nvCxnSpPr>
          <p:spPr>
            <a:xfrm>
              <a:off x="5364062" y="5706267"/>
              <a:ext cx="5119107" cy="0"/>
            </a:xfrm>
            <a:prstGeom prst="line">
              <a:avLst/>
            </a:prstGeom>
            <a:ln w="12700" cap="rnd">
              <a:solidFill>
                <a:schemeClr val="tx1">
                  <a:lumMod val="60000"/>
                  <a:lumOff val="40000"/>
                </a:schemeClr>
              </a:solidFill>
              <a:prstDash val="solid"/>
              <a:round/>
              <a:headEnd type="none" w="med" len="sm"/>
              <a:tailEnd type="none" w="sm" len="sm"/>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CA2D651E-E42D-0E01-F026-0A6814B0406C}"/>
                </a:ext>
              </a:extLst>
            </p:cNvPr>
            <p:cNvCxnSpPr>
              <a:cxnSpLocks/>
              <a:stCxn id="75" idx="3"/>
              <a:endCxn id="80" idx="1"/>
            </p:cNvCxnSpPr>
            <p:nvPr/>
          </p:nvCxnSpPr>
          <p:spPr>
            <a:xfrm>
              <a:off x="5364063" y="3496467"/>
              <a:ext cx="5143690" cy="38776"/>
            </a:xfrm>
            <a:prstGeom prst="line">
              <a:avLst/>
            </a:prstGeom>
            <a:ln w="12700" cap="rnd">
              <a:solidFill>
                <a:schemeClr val="tx1">
                  <a:lumMod val="60000"/>
                  <a:lumOff val="40000"/>
                </a:schemeClr>
              </a:solidFill>
              <a:prstDash val="solid"/>
              <a:round/>
              <a:headEnd type="none" w="med" len="sm"/>
              <a:tailEnd type="none" w="sm" len="sm"/>
            </a:ln>
          </p:spPr>
          <p:style>
            <a:lnRef idx="1">
              <a:schemeClr val="accent1"/>
            </a:lnRef>
            <a:fillRef idx="0">
              <a:schemeClr val="accent1"/>
            </a:fillRef>
            <a:effectRef idx="0">
              <a:schemeClr val="accent1"/>
            </a:effectRef>
            <a:fontRef idx="minor">
              <a:schemeClr val="tx1"/>
            </a:fontRef>
          </p:style>
        </p:cxnSp>
      </p:grpSp>
      <p:sp>
        <p:nvSpPr>
          <p:cNvPr id="75" name="Rounded Rectangle 16">
            <a:extLst>
              <a:ext uri="{FF2B5EF4-FFF2-40B4-BE49-F238E27FC236}">
                <a16:creationId xmlns:a16="http://schemas.microsoft.com/office/drawing/2014/main" id="{211B94F5-5BDD-F1EE-C346-AA61F546C741}"/>
              </a:ext>
            </a:extLst>
          </p:cNvPr>
          <p:cNvSpPr/>
          <p:nvPr/>
        </p:nvSpPr>
        <p:spPr bwMode="auto">
          <a:xfrm>
            <a:off x="726585" y="3055700"/>
            <a:ext cx="989133" cy="541046"/>
          </a:xfrm>
          <a:prstGeom prst="roundRect">
            <a:avLst>
              <a:gd name="adj" fmla="val 4791"/>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ctr" anchorCtr="0" forceAA="0" compatLnSpc="1">
            <a:prstTxWarp prst="textNoShape">
              <a:avLst/>
            </a:prstTxWarp>
            <a:noAutofit/>
          </a:bodyPr>
          <a:lstStyle/>
          <a:p>
            <a:pPr marL="0" marR="0" lvl="0" indent="0" algn="ctr" defTabSz="121876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ES Build"/>
              <a:ea typeface="+mn-ea"/>
              <a:cs typeface="Segoe UI" pitchFamily="34" charset="0"/>
            </a:endParaRPr>
          </a:p>
        </p:txBody>
      </p:sp>
      <p:sp>
        <p:nvSpPr>
          <p:cNvPr id="76" name="Rounded Rectangle 16">
            <a:extLst>
              <a:ext uri="{FF2B5EF4-FFF2-40B4-BE49-F238E27FC236}">
                <a16:creationId xmlns:a16="http://schemas.microsoft.com/office/drawing/2014/main" id="{619E6F81-5F1D-63B4-412F-EE917C54655F}"/>
              </a:ext>
            </a:extLst>
          </p:cNvPr>
          <p:cNvSpPr/>
          <p:nvPr/>
        </p:nvSpPr>
        <p:spPr bwMode="auto">
          <a:xfrm>
            <a:off x="1948024" y="3055700"/>
            <a:ext cx="989133" cy="541046"/>
          </a:xfrm>
          <a:prstGeom prst="roundRect">
            <a:avLst>
              <a:gd name="adj" fmla="val 4791"/>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ctr" anchorCtr="0" forceAA="0" compatLnSpc="1">
            <a:prstTxWarp prst="textNoShape">
              <a:avLst/>
            </a:prstTxWarp>
            <a:noAutofit/>
          </a:bodyPr>
          <a:lstStyle/>
          <a:p>
            <a:pPr marL="0" marR="0" lvl="0" indent="0" algn="ctr" defTabSz="121876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ES Build"/>
              <a:ea typeface="+mn-ea"/>
              <a:cs typeface="Segoe UI" pitchFamily="34" charset="0"/>
            </a:endParaRPr>
          </a:p>
        </p:txBody>
      </p:sp>
      <p:sp>
        <p:nvSpPr>
          <p:cNvPr id="77" name="Rounded Rectangle 16">
            <a:extLst>
              <a:ext uri="{FF2B5EF4-FFF2-40B4-BE49-F238E27FC236}">
                <a16:creationId xmlns:a16="http://schemas.microsoft.com/office/drawing/2014/main" id="{B93F82F2-F755-2820-9390-09791257577B}"/>
              </a:ext>
            </a:extLst>
          </p:cNvPr>
          <p:cNvSpPr/>
          <p:nvPr/>
        </p:nvSpPr>
        <p:spPr bwMode="auto">
          <a:xfrm>
            <a:off x="3169464" y="3055700"/>
            <a:ext cx="989133" cy="541046"/>
          </a:xfrm>
          <a:prstGeom prst="roundRect">
            <a:avLst>
              <a:gd name="adj" fmla="val 4791"/>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ctr" anchorCtr="0" forceAA="0" compatLnSpc="1">
            <a:prstTxWarp prst="textNoShape">
              <a:avLst/>
            </a:prstTxWarp>
            <a:noAutofit/>
          </a:bodyPr>
          <a:lstStyle/>
          <a:p>
            <a:pPr marL="0" marR="0" lvl="0" indent="0" algn="ctr" defTabSz="121876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ES Build"/>
              <a:ea typeface="+mn-ea"/>
              <a:cs typeface="Segoe UI" pitchFamily="34" charset="0"/>
            </a:endParaRPr>
          </a:p>
        </p:txBody>
      </p:sp>
      <p:sp>
        <p:nvSpPr>
          <p:cNvPr id="78" name="Rounded Rectangle 16">
            <a:extLst>
              <a:ext uri="{FF2B5EF4-FFF2-40B4-BE49-F238E27FC236}">
                <a16:creationId xmlns:a16="http://schemas.microsoft.com/office/drawing/2014/main" id="{A359812D-84CE-4E09-8501-A5E23095341D}"/>
              </a:ext>
            </a:extLst>
          </p:cNvPr>
          <p:cNvSpPr/>
          <p:nvPr/>
        </p:nvSpPr>
        <p:spPr bwMode="auto">
          <a:xfrm>
            <a:off x="4390904" y="3055700"/>
            <a:ext cx="989133" cy="541046"/>
          </a:xfrm>
          <a:prstGeom prst="roundRect">
            <a:avLst>
              <a:gd name="adj" fmla="val 4791"/>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ctr" anchorCtr="0" forceAA="0" compatLnSpc="1">
            <a:prstTxWarp prst="textNoShape">
              <a:avLst/>
            </a:prstTxWarp>
            <a:noAutofit/>
          </a:bodyPr>
          <a:lstStyle/>
          <a:p>
            <a:pPr marL="0" marR="0" lvl="0" indent="0" algn="ctr" defTabSz="121876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ES Build"/>
              <a:ea typeface="+mn-ea"/>
              <a:cs typeface="Segoe UI" pitchFamily="34" charset="0"/>
            </a:endParaRPr>
          </a:p>
        </p:txBody>
      </p:sp>
      <p:sp>
        <p:nvSpPr>
          <p:cNvPr id="79" name="Rounded Rectangle 16">
            <a:extLst>
              <a:ext uri="{FF2B5EF4-FFF2-40B4-BE49-F238E27FC236}">
                <a16:creationId xmlns:a16="http://schemas.microsoft.com/office/drawing/2014/main" id="{D1A05692-A248-AD30-C4F9-41D1C86699ED}"/>
              </a:ext>
            </a:extLst>
          </p:cNvPr>
          <p:cNvSpPr/>
          <p:nvPr/>
        </p:nvSpPr>
        <p:spPr bwMode="auto">
          <a:xfrm>
            <a:off x="5612344" y="3055700"/>
            <a:ext cx="989133" cy="541046"/>
          </a:xfrm>
          <a:prstGeom prst="roundRect">
            <a:avLst>
              <a:gd name="adj" fmla="val 4791"/>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ctr" anchorCtr="0" forceAA="0" compatLnSpc="1">
            <a:prstTxWarp prst="textNoShape">
              <a:avLst/>
            </a:prstTxWarp>
            <a:noAutofit/>
          </a:bodyPr>
          <a:lstStyle/>
          <a:p>
            <a:pPr marL="0" marR="0" lvl="0" indent="0" algn="ctr" defTabSz="121876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ES Build"/>
              <a:ea typeface="+mn-ea"/>
              <a:cs typeface="Segoe UI" pitchFamily="34" charset="0"/>
            </a:endParaRPr>
          </a:p>
        </p:txBody>
      </p:sp>
      <p:sp>
        <p:nvSpPr>
          <p:cNvPr id="80" name="Rounded Rectangle 16">
            <a:extLst>
              <a:ext uri="{FF2B5EF4-FFF2-40B4-BE49-F238E27FC236}">
                <a16:creationId xmlns:a16="http://schemas.microsoft.com/office/drawing/2014/main" id="{A0906223-F275-5372-CA33-87F5C6999BC6}"/>
              </a:ext>
            </a:extLst>
          </p:cNvPr>
          <p:cNvSpPr/>
          <p:nvPr/>
        </p:nvSpPr>
        <p:spPr bwMode="auto">
          <a:xfrm>
            <a:off x="6858362" y="3094476"/>
            <a:ext cx="989133" cy="541046"/>
          </a:xfrm>
          <a:prstGeom prst="roundRect">
            <a:avLst>
              <a:gd name="adj" fmla="val 4791"/>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ctr" anchorCtr="0" forceAA="0" compatLnSpc="1">
            <a:prstTxWarp prst="textNoShape">
              <a:avLst/>
            </a:prstTxWarp>
            <a:noAutofit/>
          </a:bodyPr>
          <a:lstStyle/>
          <a:p>
            <a:pPr marL="0" marR="0" lvl="0" indent="0" algn="ctr" defTabSz="121876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ES Build"/>
              <a:ea typeface="+mn-ea"/>
              <a:cs typeface="Segoe UI" pitchFamily="34" charset="0"/>
            </a:endParaRPr>
          </a:p>
        </p:txBody>
      </p:sp>
      <p:sp>
        <p:nvSpPr>
          <p:cNvPr id="81" name="Rounded Rectangle 16">
            <a:extLst>
              <a:ext uri="{FF2B5EF4-FFF2-40B4-BE49-F238E27FC236}">
                <a16:creationId xmlns:a16="http://schemas.microsoft.com/office/drawing/2014/main" id="{C27043C8-5C85-7A07-C572-EDC75B8F83DE}"/>
              </a:ext>
            </a:extLst>
          </p:cNvPr>
          <p:cNvSpPr/>
          <p:nvPr/>
        </p:nvSpPr>
        <p:spPr bwMode="auto">
          <a:xfrm>
            <a:off x="726585" y="3793591"/>
            <a:ext cx="989133" cy="541046"/>
          </a:xfrm>
          <a:prstGeom prst="roundRect">
            <a:avLst>
              <a:gd name="adj" fmla="val 4791"/>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ctr" anchorCtr="0" forceAA="0" compatLnSpc="1">
            <a:prstTxWarp prst="textNoShape">
              <a:avLst/>
            </a:prstTxWarp>
            <a:noAutofit/>
          </a:bodyPr>
          <a:lstStyle/>
          <a:p>
            <a:pPr marL="0" marR="0" lvl="0" indent="0" algn="ctr" defTabSz="121876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ES Build"/>
              <a:ea typeface="+mn-ea"/>
              <a:cs typeface="Segoe UI" pitchFamily="34" charset="0"/>
            </a:endParaRPr>
          </a:p>
        </p:txBody>
      </p:sp>
      <p:sp>
        <p:nvSpPr>
          <p:cNvPr id="82" name="Rounded Rectangle 16">
            <a:extLst>
              <a:ext uri="{FF2B5EF4-FFF2-40B4-BE49-F238E27FC236}">
                <a16:creationId xmlns:a16="http://schemas.microsoft.com/office/drawing/2014/main" id="{B9877E7A-D900-D296-FBDC-A0F0EC82FFD1}"/>
              </a:ext>
            </a:extLst>
          </p:cNvPr>
          <p:cNvSpPr/>
          <p:nvPr/>
        </p:nvSpPr>
        <p:spPr bwMode="auto">
          <a:xfrm>
            <a:off x="726585" y="4531482"/>
            <a:ext cx="989133" cy="541046"/>
          </a:xfrm>
          <a:prstGeom prst="roundRect">
            <a:avLst>
              <a:gd name="adj" fmla="val 4791"/>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ctr" anchorCtr="0" forceAA="0" compatLnSpc="1">
            <a:prstTxWarp prst="textNoShape">
              <a:avLst/>
            </a:prstTxWarp>
            <a:noAutofit/>
          </a:bodyPr>
          <a:lstStyle/>
          <a:p>
            <a:pPr marL="0" marR="0" lvl="0" indent="0" algn="ctr" defTabSz="121876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ES Build"/>
              <a:ea typeface="+mn-ea"/>
              <a:cs typeface="Segoe UI" pitchFamily="34" charset="0"/>
            </a:endParaRPr>
          </a:p>
        </p:txBody>
      </p:sp>
      <p:sp>
        <p:nvSpPr>
          <p:cNvPr id="83" name="Rounded Rectangle 16">
            <a:extLst>
              <a:ext uri="{FF2B5EF4-FFF2-40B4-BE49-F238E27FC236}">
                <a16:creationId xmlns:a16="http://schemas.microsoft.com/office/drawing/2014/main" id="{1B4A994C-05D6-9CD8-D7CB-B7BAF5D87D70}"/>
              </a:ext>
            </a:extLst>
          </p:cNvPr>
          <p:cNvSpPr/>
          <p:nvPr/>
        </p:nvSpPr>
        <p:spPr bwMode="auto">
          <a:xfrm>
            <a:off x="726585" y="5259264"/>
            <a:ext cx="989133" cy="541046"/>
          </a:xfrm>
          <a:prstGeom prst="roundRect">
            <a:avLst>
              <a:gd name="adj" fmla="val 4791"/>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ctr" anchorCtr="0" forceAA="0" compatLnSpc="1">
            <a:prstTxWarp prst="textNoShape">
              <a:avLst/>
            </a:prstTxWarp>
            <a:noAutofit/>
          </a:bodyPr>
          <a:lstStyle/>
          <a:p>
            <a:pPr marL="0" marR="0" lvl="0" indent="0" algn="ctr" defTabSz="121876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ES Build"/>
              <a:ea typeface="+mn-ea"/>
              <a:cs typeface="Segoe UI" pitchFamily="34" charset="0"/>
            </a:endParaRPr>
          </a:p>
        </p:txBody>
      </p:sp>
      <p:sp>
        <p:nvSpPr>
          <p:cNvPr id="84" name="Rounded Rectangle 16">
            <a:extLst>
              <a:ext uri="{FF2B5EF4-FFF2-40B4-BE49-F238E27FC236}">
                <a16:creationId xmlns:a16="http://schemas.microsoft.com/office/drawing/2014/main" id="{96DA379B-D991-643E-6D64-C1D8B1B392D2}"/>
              </a:ext>
            </a:extLst>
          </p:cNvPr>
          <p:cNvSpPr/>
          <p:nvPr/>
        </p:nvSpPr>
        <p:spPr bwMode="auto">
          <a:xfrm>
            <a:off x="1954373" y="3793591"/>
            <a:ext cx="989133" cy="541046"/>
          </a:xfrm>
          <a:prstGeom prst="roundRect">
            <a:avLst>
              <a:gd name="adj" fmla="val 4791"/>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ctr" anchorCtr="0" forceAA="0" compatLnSpc="1">
            <a:prstTxWarp prst="textNoShape">
              <a:avLst/>
            </a:prstTxWarp>
            <a:noAutofit/>
          </a:bodyPr>
          <a:lstStyle/>
          <a:p>
            <a:pPr marL="0" marR="0" lvl="0" indent="0" algn="ctr" defTabSz="121876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ES Build"/>
              <a:ea typeface="+mn-ea"/>
              <a:cs typeface="Segoe UI" pitchFamily="34" charset="0"/>
            </a:endParaRPr>
          </a:p>
        </p:txBody>
      </p:sp>
      <p:sp>
        <p:nvSpPr>
          <p:cNvPr id="85" name="Rounded Rectangle 16">
            <a:extLst>
              <a:ext uri="{FF2B5EF4-FFF2-40B4-BE49-F238E27FC236}">
                <a16:creationId xmlns:a16="http://schemas.microsoft.com/office/drawing/2014/main" id="{8161A72C-B216-FBCA-33BD-82D9FA785A61}"/>
              </a:ext>
            </a:extLst>
          </p:cNvPr>
          <p:cNvSpPr/>
          <p:nvPr/>
        </p:nvSpPr>
        <p:spPr bwMode="auto">
          <a:xfrm>
            <a:off x="1948024" y="4531482"/>
            <a:ext cx="989133" cy="541046"/>
          </a:xfrm>
          <a:prstGeom prst="roundRect">
            <a:avLst>
              <a:gd name="adj" fmla="val 4791"/>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ctr" anchorCtr="0" forceAA="0" compatLnSpc="1">
            <a:prstTxWarp prst="textNoShape">
              <a:avLst/>
            </a:prstTxWarp>
            <a:noAutofit/>
          </a:bodyPr>
          <a:lstStyle/>
          <a:p>
            <a:pPr marL="0" marR="0" lvl="0" indent="0" algn="ctr" defTabSz="121876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ES Build"/>
              <a:ea typeface="+mn-ea"/>
              <a:cs typeface="Segoe UI" pitchFamily="34" charset="0"/>
            </a:endParaRPr>
          </a:p>
        </p:txBody>
      </p:sp>
      <p:sp>
        <p:nvSpPr>
          <p:cNvPr id="86" name="Rounded Rectangle 16">
            <a:extLst>
              <a:ext uri="{FF2B5EF4-FFF2-40B4-BE49-F238E27FC236}">
                <a16:creationId xmlns:a16="http://schemas.microsoft.com/office/drawing/2014/main" id="{DC37388D-D880-8AEE-10FF-F11E299AC8AF}"/>
              </a:ext>
            </a:extLst>
          </p:cNvPr>
          <p:cNvSpPr/>
          <p:nvPr/>
        </p:nvSpPr>
        <p:spPr bwMode="auto">
          <a:xfrm>
            <a:off x="1948024" y="5269372"/>
            <a:ext cx="989133" cy="541046"/>
          </a:xfrm>
          <a:prstGeom prst="roundRect">
            <a:avLst>
              <a:gd name="adj" fmla="val 4791"/>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ctr" anchorCtr="0" forceAA="0" compatLnSpc="1">
            <a:prstTxWarp prst="textNoShape">
              <a:avLst/>
            </a:prstTxWarp>
            <a:noAutofit/>
          </a:bodyPr>
          <a:lstStyle/>
          <a:p>
            <a:pPr marL="0" marR="0" lvl="0" indent="0" algn="ctr" defTabSz="121876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ES Build"/>
              <a:ea typeface="+mn-ea"/>
              <a:cs typeface="Segoe UI" pitchFamily="34" charset="0"/>
            </a:endParaRPr>
          </a:p>
        </p:txBody>
      </p:sp>
      <p:sp>
        <p:nvSpPr>
          <p:cNvPr id="87" name="Rounded Rectangle 16">
            <a:extLst>
              <a:ext uri="{FF2B5EF4-FFF2-40B4-BE49-F238E27FC236}">
                <a16:creationId xmlns:a16="http://schemas.microsoft.com/office/drawing/2014/main" id="{2F2A1D0B-C4B5-2A2C-90DC-821970DAF9F2}"/>
              </a:ext>
            </a:extLst>
          </p:cNvPr>
          <p:cNvSpPr/>
          <p:nvPr/>
        </p:nvSpPr>
        <p:spPr bwMode="auto">
          <a:xfrm>
            <a:off x="3169464" y="3793591"/>
            <a:ext cx="989133" cy="541046"/>
          </a:xfrm>
          <a:prstGeom prst="roundRect">
            <a:avLst>
              <a:gd name="adj" fmla="val 4791"/>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ctr" anchorCtr="0" forceAA="0" compatLnSpc="1">
            <a:prstTxWarp prst="textNoShape">
              <a:avLst/>
            </a:prstTxWarp>
            <a:noAutofit/>
          </a:bodyPr>
          <a:lstStyle/>
          <a:p>
            <a:pPr marL="0" marR="0" lvl="0" indent="0" algn="ctr" defTabSz="121876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ES Build"/>
              <a:ea typeface="+mn-ea"/>
              <a:cs typeface="Segoe UI" pitchFamily="34" charset="0"/>
            </a:endParaRPr>
          </a:p>
        </p:txBody>
      </p:sp>
      <p:sp>
        <p:nvSpPr>
          <p:cNvPr id="88" name="Rounded Rectangle 16">
            <a:extLst>
              <a:ext uri="{FF2B5EF4-FFF2-40B4-BE49-F238E27FC236}">
                <a16:creationId xmlns:a16="http://schemas.microsoft.com/office/drawing/2014/main" id="{1586309B-C3DA-A1E2-D90F-D8DF2D40B8B6}"/>
              </a:ext>
            </a:extLst>
          </p:cNvPr>
          <p:cNvSpPr/>
          <p:nvPr/>
        </p:nvSpPr>
        <p:spPr bwMode="auto">
          <a:xfrm>
            <a:off x="3169464" y="4531482"/>
            <a:ext cx="989133" cy="541046"/>
          </a:xfrm>
          <a:prstGeom prst="roundRect">
            <a:avLst>
              <a:gd name="adj" fmla="val 4791"/>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ctr" anchorCtr="0" forceAA="0" compatLnSpc="1">
            <a:prstTxWarp prst="textNoShape">
              <a:avLst/>
            </a:prstTxWarp>
            <a:noAutofit/>
          </a:bodyPr>
          <a:lstStyle/>
          <a:p>
            <a:pPr marL="0" marR="0" lvl="0" indent="0" algn="ctr" defTabSz="121876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ES Build"/>
              <a:ea typeface="+mn-ea"/>
              <a:cs typeface="Segoe UI" pitchFamily="34" charset="0"/>
            </a:endParaRPr>
          </a:p>
        </p:txBody>
      </p:sp>
      <p:sp>
        <p:nvSpPr>
          <p:cNvPr id="89" name="Rounded Rectangle 16">
            <a:extLst>
              <a:ext uri="{FF2B5EF4-FFF2-40B4-BE49-F238E27FC236}">
                <a16:creationId xmlns:a16="http://schemas.microsoft.com/office/drawing/2014/main" id="{554F2DA9-2CCD-F9D2-A5C9-728B50CDCC8A}"/>
              </a:ext>
            </a:extLst>
          </p:cNvPr>
          <p:cNvSpPr/>
          <p:nvPr/>
        </p:nvSpPr>
        <p:spPr bwMode="auto">
          <a:xfrm>
            <a:off x="3169464" y="5269372"/>
            <a:ext cx="989133" cy="541046"/>
          </a:xfrm>
          <a:prstGeom prst="roundRect">
            <a:avLst>
              <a:gd name="adj" fmla="val 4791"/>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ctr" anchorCtr="0" forceAA="0" compatLnSpc="1">
            <a:prstTxWarp prst="textNoShape">
              <a:avLst/>
            </a:prstTxWarp>
            <a:noAutofit/>
          </a:bodyPr>
          <a:lstStyle/>
          <a:p>
            <a:pPr marL="0" marR="0" lvl="0" indent="0" algn="ctr" defTabSz="121876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ES Build"/>
              <a:ea typeface="+mn-ea"/>
              <a:cs typeface="Segoe UI" pitchFamily="34" charset="0"/>
            </a:endParaRPr>
          </a:p>
        </p:txBody>
      </p:sp>
      <p:sp>
        <p:nvSpPr>
          <p:cNvPr id="90" name="Rounded Rectangle 16">
            <a:extLst>
              <a:ext uri="{FF2B5EF4-FFF2-40B4-BE49-F238E27FC236}">
                <a16:creationId xmlns:a16="http://schemas.microsoft.com/office/drawing/2014/main" id="{48EA7E18-3188-56C7-9D07-9B5450EA5133}"/>
              </a:ext>
            </a:extLst>
          </p:cNvPr>
          <p:cNvSpPr/>
          <p:nvPr/>
        </p:nvSpPr>
        <p:spPr bwMode="auto">
          <a:xfrm>
            <a:off x="4390904" y="3793591"/>
            <a:ext cx="989133" cy="541046"/>
          </a:xfrm>
          <a:prstGeom prst="roundRect">
            <a:avLst>
              <a:gd name="adj" fmla="val 4791"/>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ctr" anchorCtr="0" forceAA="0" compatLnSpc="1">
            <a:prstTxWarp prst="textNoShape">
              <a:avLst/>
            </a:prstTxWarp>
            <a:noAutofit/>
          </a:bodyPr>
          <a:lstStyle/>
          <a:p>
            <a:pPr marL="0" marR="0" lvl="0" indent="0" algn="ctr" defTabSz="121876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ES Build"/>
              <a:ea typeface="+mn-ea"/>
              <a:cs typeface="Segoe UI" pitchFamily="34" charset="0"/>
            </a:endParaRPr>
          </a:p>
        </p:txBody>
      </p:sp>
      <p:sp>
        <p:nvSpPr>
          <p:cNvPr id="91" name="Rounded Rectangle 16">
            <a:extLst>
              <a:ext uri="{FF2B5EF4-FFF2-40B4-BE49-F238E27FC236}">
                <a16:creationId xmlns:a16="http://schemas.microsoft.com/office/drawing/2014/main" id="{9AEB91FC-43FF-B7DF-517E-E96A3787F1E1}"/>
              </a:ext>
            </a:extLst>
          </p:cNvPr>
          <p:cNvSpPr/>
          <p:nvPr/>
        </p:nvSpPr>
        <p:spPr bwMode="auto">
          <a:xfrm>
            <a:off x="4390904" y="4531482"/>
            <a:ext cx="989133" cy="541046"/>
          </a:xfrm>
          <a:prstGeom prst="roundRect">
            <a:avLst>
              <a:gd name="adj" fmla="val 4791"/>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ctr" anchorCtr="0" forceAA="0" compatLnSpc="1">
            <a:prstTxWarp prst="textNoShape">
              <a:avLst/>
            </a:prstTxWarp>
            <a:noAutofit/>
          </a:bodyPr>
          <a:lstStyle/>
          <a:p>
            <a:pPr marL="0" marR="0" lvl="0" indent="0" algn="ctr" defTabSz="121876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ES Build"/>
              <a:ea typeface="+mn-ea"/>
              <a:cs typeface="Segoe UI" pitchFamily="34" charset="0"/>
            </a:endParaRPr>
          </a:p>
        </p:txBody>
      </p:sp>
      <p:sp>
        <p:nvSpPr>
          <p:cNvPr id="92" name="Rounded Rectangle 16">
            <a:extLst>
              <a:ext uri="{FF2B5EF4-FFF2-40B4-BE49-F238E27FC236}">
                <a16:creationId xmlns:a16="http://schemas.microsoft.com/office/drawing/2014/main" id="{FC28E361-C937-53D2-96BC-B443538294EB}"/>
              </a:ext>
            </a:extLst>
          </p:cNvPr>
          <p:cNvSpPr/>
          <p:nvPr/>
        </p:nvSpPr>
        <p:spPr bwMode="auto">
          <a:xfrm>
            <a:off x="4390904" y="5259264"/>
            <a:ext cx="989133" cy="541046"/>
          </a:xfrm>
          <a:prstGeom prst="roundRect">
            <a:avLst>
              <a:gd name="adj" fmla="val 4791"/>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ctr" anchorCtr="0" forceAA="0" compatLnSpc="1">
            <a:prstTxWarp prst="textNoShape">
              <a:avLst/>
            </a:prstTxWarp>
            <a:noAutofit/>
          </a:bodyPr>
          <a:lstStyle/>
          <a:p>
            <a:pPr marL="0" marR="0" lvl="0" indent="0" algn="ctr" defTabSz="121876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ES Build"/>
              <a:ea typeface="+mn-ea"/>
              <a:cs typeface="Segoe UI" pitchFamily="34" charset="0"/>
            </a:endParaRPr>
          </a:p>
        </p:txBody>
      </p:sp>
      <p:sp>
        <p:nvSpPr>
          <p:cNvPr id="93" name="Rounded Rectangle 16">
            <a:extLst>
              <a:ext uri="{FF2B5EF4-FFF2-40B4-BE49-F238E27FC236}">
                <a16:creationId xmlns:a16="http://schemas.microsoft.com/office/drawing/2014/main" id="{9E7F9112-C052-CD91-DDC0-5391375FEC78}"/>
              </a:ext>
            </a:extLst>
          </p:cNvPr>
          <p:cNvSpPr/>
          <p:nvPr/>
        </p:nvSpPr>
        <p:spPr bwMode="auto">
          <a:xfrm>
            <a:off x="5612344" y="3793591"/>
            <a:ext cx="989133" cy="541046"/>
          </a:xfrm>
          <a:prstGeom prst="roundRect">
            <a:avLst>
              <a:gd name="adj" fmla="val 4791"/>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ctr" anchorCtr="0" forceAA="0" compatLnSpc="1">
            <a:prstTxWarp prst="textNoShape">
              <a:avLst/>
            </a:prstTxWarp>
            <a:noAutofit/>
          </a:bodyPr>
          <a:lstStyle/>
          <a:p>
            <a:pPr marL="0" marR="0" lvl="0" indent="0" algn="ctr" defTabSz="121876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ES Build"/>
              <a:ea typeface="+mn-ea"/>
              <a:cs typeface="Segoe UI" pitchFamily="34" charset="0"/>
            </a:endParaRPr>
          </a:p>
        </p:txBody>
      </p:sp>
      <p:sp>
        <p:nvSpPr>
          <p:cNvPr id="94" name="Rounded Rectangle 16">
            <a:extLst>
              <a:ext uri="{FF2B5EF4-FFF2-40B4-BE49-F238E27FC236}">
                <a16:creationId xmlns:a16="http://schemas.microsoft.com/office/drawing/2014/main" id="{276E94E8-CEC6-B6FD-7254-13A3AF0432E2}"/>
              </a:ext>
            </a:extLst>
          </p:cNvPr>
          <p:cNvSpPr/>
          <p:nvPr/>
        </p:nvSpPr>
        <p:spPr bwMode="auto">
          <a:xfrm>
            <a:off x="5612344" y="4531482"/>
            <a:ext cx="989133" cy="541046"/>
          </a:xfrm>
          <a:prstGeom prst="roundRect">
            <a:avLst>
              <a:gd name="adj" fmla="val 4791"/>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ctr" anchorCtr="0" forceAA="0" compatLnSpc="1">
            <a:prstTxWarp prst="textNoShape">
              <a:avLst/>
            </a:prstTxWarp>
            <a:noAutofit/>
          </a:bodyPr>
          <a:lstStyle/>
          <a:p>
            <a:pPr marL="0" marR="0" lvl="0" indent="0" algn="ctr" defTabSz="121876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ES Build"/>
              <a:ea typeface="+mn-ea"/>
              <a:cs typeface="Segoe UI" pitchFamily="34" charset="0"/>
            </a:endParaRPr>
          </a:p>
        </p:txBody>
      </p:sp>
      <p:sp>
        <p:nvSpPr>
          <p:cNvPr id="95" name="Rounded Rectangle 16">
            <a:extLst>
              <a:ext uri="{FF2B5EF4-FFF2-40B4-BE49-F238E27FC236}">
                <a16:creationId xmlns:a16="http://schemas.microsoft.com/office/drawing/2014/main" id="{877DE282-B621-5A3B-014B-1E722A8A8877}"/>
              </a:ext>
            </a:extLst>
          </p:cNvPr>
          <p:cNvSpPr/>
          <p:nvPr/>
        </p:nvSpPr>
        <p:spPr bwMode="auto">
          <a:xfrm>
            <a:off x="5612344" y="5259264"/>
            <a:ext cx="989133" cy="541046"/>
          </a:xfrm>
          <a:prstGeom prst="roundRect">
            <a:avLst>
              <a:gd name="adj" fmla="val 4791"/>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ctr" anchorCtr="0" forceAA="0" compatLnSpc="1">
            <a:prstTxWarp prst="textNoShape">
              <a:avLst/>
            </a:prstTxWarp>
            <a:noAutofit/>
          </a:bodyPr>
          <a:lstStyle/>
          <a:p>
            <a:pPr marL="0" marR="0" lvl="0" indent="0" algn="ctr" defTabSz="121876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ES Build"/>
              <a:ea typeface="+mn-ea"/>
              <a:cs typeface="Segoe UI" pitchFamily="34" charset="0"/>
            </a:endParaRPr>
          </a:p>
        </p:txBody>
      </p:sp>
      <p:sp>
        <p:nvSpPr>
          <p:cNvPr id="96" name="Rounded Rectangle 16">
            <a:extLst>
              <a:ext uri="{FF2B5EF4-FFF2-40B4-BE49-F238E27FC236}">
                <a16:creationId xmlns:a16="http://schemas.microsoft.com/office/drawing/2014/main" id="{8FB5F9FC-AD57-D8D9-8979-8CB7F95C5D01}"/>
              </a:ext>
            </a:extLst>
          </p:cNvPr>
          <p:cNvSpPr/>
          <p:nvPr/>
        </p:nvSpPr>
        <p:spPr bwMode="auto">
          <a:xfrm>
            <a:off x="6833783" y="3793591"/>
            <a:ext cx="989133" cy="541046"/>
          </a:xfrm>
          <a:prstGeom prst="roundRect">
            <a:avLst>
              <a:gd name="adj" fmla="val 4791"/>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ctr" anchorCtr="0" forceAA="0" compatLnSpc="1">
            <a:prstTxWarp prst="textNoShape">
              <a:avLst/>
            </a:prstTxWarp>
            <a:noAutofit/>
          </a:bodyPr>
          <a:lstStyle/>
          <a:p>
            <a:pPr marL="0" marR="0" lvl="0" indent="0" algn="ctr" defTabSz="121876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ES Build"/>
              <a:ea typeface="+mn-ea"/>
              <a:cs typeface="Segoe UI" pitchFamily="34" charset="0"/>
            </a:endParaRPr>
          </a:p>
        </p:txBody>
      </p:sp>
      <p:sp>
        <p:nvSpPr>
          <p:cNvPr id="97" name="Rounded Rectangle 16">
            <a:extLst>
              <a:ext uri="{FF2B5EF4-FFF2-40B4-BE49-F238E27FC236}">
                <a16:creationId xmlns:a16="http://schemas.microsoft.com/office/drawing/2014/main" id="{6CCA3CE1-AD10-3981-CE51-B1F414ABB68E}"/>
              </a:ext>
            </a:extLst>
          </p:cNvPr>
          <p:cNvSpPr/>
          <p:nvPr/>
        </p:nvSpPr>
        <p:spPr bwMode="auto">
          <a:xfrm>
            <a:off x="6833783" y="4531482"/>
            <a:ext cx="989133" cy="541046"/>
          </a:xfrm>
          <a:prstGeom prst="roundRect">
            <a:avLst>
              <a:gd name="adj" fmla="val 4791"/>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ctr" anchorCtr="0" forceAA="0" compatLnSpc="1">
            <a:prstTxWarp prst="textNoShape">
              <a:avLst/>
            </a:prstTxWarp>
            <a:noAutofit/>
          </a:bodyPr>
          <a:lstStyle/>
          <a:p>
            <a:pPr marL="0" marR="0" lvl="0" indent="0" algn="ctr" defTabSz="121876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ES Build"/>
              <a:ea typeface="+mn-ea"/>
              <a:cs typeface="Segoe UI" pitchFamily="34" charset="0"/>
            </a:endParaRPr>
          </a:p>
        </p:txBody>
      </p:sp>
      <p:sp>
        <p:nvSpPr>
          <p:cNvPr id="98" name="Rounded Rectangle 16">
            <a:extLst>
              <a:ext uri="{FF2B5EF4-FFF2-40B4-BE49-F238E27FC236}">
                <a16:creationId xmlns:a16="http://schemas.microsoft.com/office/drawing/2014/main" id="{00A7BE0A-5D91-49E0-286B-13422259E1D0}"/>
              </a:ext>
            </a:extLst>
          </p:cNvPr>
          <p:cNvSpPr/>
          <p:nvPr/>
        </p:nvSpPr>
        <p:spPr bwMode="auto">
          <a:xfrm>
            <a:off x="6833783" y="5269372"/>
            <a:ext cx="989133" cy="541046"/>
          </a:xfrm>
          <a:prstGeom prst="roundRect">
            <a:avLst>
              <a:gd name="adj" fmla="val 4791"/>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ctr" anchorCtr="0" forceAA="0" compatLnSpc="1">
            <a:prstTxWarp prst="textNoShape">
              <a:avLst/>
            </a:prstTxWarp>
            <a:noAutofit/>
          </a:bodyPr>
          <a:lstStyle/>
          <a:p>
            <a:pPr marL="0" marR="0" lvl="0" indent="0" algn="ctr" defTabSz="1218768"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ES Build"/>
              <a:ea typeface="+mn-ea"/>
              <a:cs typeface="Segoe UI" pitchFamily="34" charset="0"/>
            </a:endParaRPr>
          </a:p>
        </p:txBody>
      </p:sp>
      <p:pic>
        <p:nvPicPr>
          <p:cNvPr id="99" name="Picture 2">
            <a:extLst>
              <a:ext uri="{FF2B5EF4-FFF2-40B4-BE49-F238E27FC236}">
                <a16:creationId xmlns:a16="http://schemas.microsoft.com/office/drawing/2014/main" id="{9441FE28-2F0C-6884-ECA6-D95FF8CF9037}"/>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38308" y="3225062"/>
            <a:ext cx="365686" cy="219030"/>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4" descr="Azure has a new logo, but where do you download it? Here!">
            <a:extLst>
              <a:ext uri="{FF2B5EF4-FFF2-40B4-BE49-F238E27FC236}">
                <a16:creationId xmlns:a16="http://schemas.microsoft.com/office/drawing/2014/main" id="{F595E523-3163-D23D-05EF-28A0A19DB03A}"/>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2311807" y="3197417"/>
            <a:ext cx="274264" cy="274320"/>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8" descr="Google Cloud&quot; Icon - Download for free – Iconduck">
            <a:extLst>
              <a:ext uri="{FF2B5EF4-FFF2-40B4-BE49-F238E27FC236}">
                <a16:creationId xmlns:a16="http://schemas.microsoft.com/office/drawing/2014/main" id="{629650EC-8725-5CC4-AC91-9529C705F8EE}"/>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3526898" y="3224339"/>
            <a:ext cx="274264" cy="220477"/>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10">
            <a:extLst>
              <a:ext uri="{FF2B5EF4-FFF2-40B4-BE49-F238E27FC236}">
                <a16:creationId xmlns:a16="http://schemas.microsoft.com/office/drawing/2014/main" id="{DFB17C3D-7BC9-5D50-4EA1-0F9FB22B8A58}"/>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5724885" y="5449307"/>
            <a:ext cx="774967" cy="137160"/>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2">
            <a:extLst>
              <a:ext uri="{FF2B5EF4-FFF2-40B4-BE49-F238E27FC236}">
                <a16:creationId xmlns:a16="http://schemas.microsoft.com/office/drawing/2014/main" id="{C154BF24-98A8-E8EA-F415-B37ACF994810}"/>
              </a:ext>
            </a:extLst>
          </p:cNvPr>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4534728" y="3281086"/>
            <a:ext cx="703912" cy="106983"/>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14">
            <a:extLst>
              <a:ext uri="{FF2B5EF4-FFF2-40B4-BE49-F238E27FC236}">
                <a16:creationId xmlns:a16="http://schemas.microsoft.com/office/drawing/2014/main" id="{C550F8F5-1FFB-1356-52E5-5F62C544DC77}"/>
              </a:ext>
            </a:extLst>
          </p:cNvPr>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5741225" y="3208024"/>
            <a:ext cx="731371" cy="253106"/>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6">
            <a:extLst>
              <a:ext uri="{FF2B5EF4-FFF2-40B4-BE49-F238E27FC236}">
                <a16:creationId xmlns:a16="http://schemas.microsoft.com/office/drawing/2014/main" id="{006ACA6F-6B5C-67B7-155A-E9AF413499C4}"/>
              </a:ext>
            </a:extLst>
          </p:cNvPr>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4565495" y="3979522"/>
            <a:ext cx="639950" cy="136518"/>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4">
            <a:extLst>
              <a:ext uri="{FF2B5EF4-FFF2-40B4-BE49-F238E27FC236}">
                <a16:creationId xmlns:a16="http://schemas.microsoft.com/office/drawing/2014/main" id="{5AB4F28D-73C6-2AC3-1C8A-3681CEE97CB6}"/>
              </a:ext>
            </a:extLst>
          </p:cNvPr>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4689454" y="5428012"/>
            <a:ext cx="392032" cy="274320"/>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8" descr="Linux - Wikipedia">
            <a:extLst>
              <a:ext uri="{FF2B5EF4-FFF2-40B4-BE49-F238E27FC236}">
                <a16:creationId xmlns:a16="http://schemas.microsoft.com/office/drawing/2014/main" id="{619486D1-CC37-7E9B-69A9-AF8696A12B9F}"/>
              </a:ext>
            </a:extLst>
          </p:cNvPr>
          <p:cNvPicPr>
            <a:picLocks noChangeAspect="1" noChangeArrowheads="1"/>
          </p:cNvPicPr>
          <p:nvPr/>
        </p:nvPicPr>
        <p:blipFill>
          <a:blip r:embed="rId13" cstate="print">
            <a:extLst>
              <a:ext uri="{28A0092B-C50C-407E-A947-70E740481C1C}">
                <a14:useLocalDpi xmlns:a14="http://schemas.microsoft.com/office/drawing/2010/main"/>
              </a:ext>
            </a:extLst>
          </a:blip>
          <a:srcRect/>
          <a:stretch>
            <a:fillRect/>
          </a:stretch>
        </p:blipFill>
        <p:spPr bwMode="auto">
          <a:xfrm>
            <a:off x="6005920" y="3910621"/>
            <a:ext cx="231475" cy="274320"/>
          </a:xfrm>
          <a:prstGeom prst="rect">
            <a:avLst/>
          </a:prstGeom>
          <a:noFill/>
          <a:extLst>
            <a:ext uri="{909E8E84-426E-40DD-AFC4-6F175D3DCCD1}">
              <a14:hiddenFill xmlns:a14="http://schemas.microsoft.com/office/drawing/2010/main">
                <a:solidFill>
                  <a:srgbClr val="FFFFFF"/>
                </a:solidFill>
              </a14:hiddenFill>
            </a:ext>
          </a:extLst>
        </p:spPr>
      </p:pic>
      <p:pic>
        <p:nvPicPr>
          <p:cNvPr id="109" name="Picture 10">
            <a:extLst>
              <a:ext uri="{FF2B5EF4-FFF2-40B4-BE49-F238E27FC236}">
                <a16:creationId xmlns:a16="http://schemas.microsoft.com/office/drawing/2014/main" id="{364AA0FD-6B05-9083-D5A3-C7C60EEB6CB9}"/>
              </a:ext>
            </a:extLst>
          </p:cNvPr>
          <p:cNvPicPr>
            <a:picLocks noChangeAspect="1" noChangeArrowheads="1"/>
          </p:cNvPicPr>
          <p:nvPr/>
        </p:nvPicPr>
        <p:blipFill>
          <a:blip r:embed="rId14" cstate="print">
            <a:extLst>
              <a:ext uri="{28A0092B-C50C-407E-A947-70E740481C1C}">
                <a14:useLocalDpi xmlns:a14="http://schemas.microsoft.com/office/drawing/2010/main"/>
              </a:ext>
            </a:extLst>
          </a:blip>
          <a:srcRect/>
          <a:stretch>
            <a:fillRect/>
          </a:stretch>
        </p:blipFill>
        <p:spPr bwMode="auto">
          <a:xfrm>
            <a:off x="6982959" y="3288857"/>
            <a:ext cx="707069" cy="91440"/>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12">
            <a:extLst>
              <a:ext uri="{FF2B5EF4-FFF2-40B4-BE49-F238E27FC236}">
                <a16:creationId xmlns:a16="http://schemas.microsoft.com/office/drawing/2014/main" id="{C89FFDE4-80C9-6E4E-A6F3-8260E435A816}"/>
              </a:ext>
            </a:extLst>
          </p:cNvPr>
          <p:cNvPicPr>
            <a:picLocks noChangeAspect="1"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auto">
          <a:xfrm>
            <a:off x="3389766" y="3960913"/>
            <a:ext cx="548528" cy="173736"/>
          </a:xfrm>
          <a:prstGeom prst="rect">
            <a:avLst/>
          </a:prstGeom>
          <a:noFill/>
          <a:extLst>
            <a:ext uri="{909E8E84-426E-40DD-AFC4-6F175D3DCCD1}">
              <a14:hiddenFill xmlns:a14="http://schemas.microsoft.com/office/drawing/2010/main">
                <a:solidFill>
                  <a:srgbClr val="FFFFFF"/>
                </a:solidFill>
              </a14:hiddenFill>
            </a:ext>
          </a:extLst>
        </p:spPr>
      </p:pic>
      <p:pic>
        <p:nvPicPr>
          <p:cNvPr id="115" name="Picture 32">
            <a:extLst>
              <a:ext uri="{FF2B5EF4-FFF2-40B4-BE49-F238E27FC236}">
                <a16:creationId xmlns:a16="http://schemas.microsoft.com/office/drawing/2014/main" id="{2DFDEF02-BBED-D80D-A1DA-C3CA06E43BE6}"/>
              </a:ext>
            </a:extLst>
          </p:cNvPr>
          <p:cNvPicPr>
            <a:picLocks noChangeAspect="1" noChangeArrowheads="1"/>
          </p:cNvPicPr>
          <p:nvPr/>
        </p:nvPicPr>
        <p:blipFill>
          <a:blip r:embed="rId16" cstate="print">
            <a:extLst>
              <a:ext uri="{28A0092B-C50C-407E-A947-70E740481C1C}">
                <a14:useLocalDpi xmlns:a14="http://schemas.microsoft.com/office/drawing/2010/main"/>
              </a:ext>
            </a:extLst>
          </a:blip>
          <a:srcRect/>
          <a:stretch>
            <a:fillRect/>
          </a:stretch>
        </p:blipFill>
        <p:spPr bwMode="auto">
          <a:xfrm>
            <a:off x="868685" y="4751336"/>
            <a:ext cx="704932" cy="91440"/>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38" descr="SAP HANA Central Tuning SAP IQ NLS In SAP BW On HANA And, 45% OFF">
            <a:extLst>
              <a:ext uri="{FF2B5EF4-FFF2-40B4-BE49-F238E27FC236}">
                <a16:creationId xmlns:a16="http://schemas.microsoft.com/office/drawing/2014/main" id="{3C6AE3B7-225B-E30B-36FA-E44403E8ABCF}"/>
              </a:ext>
            </a:extLst>
          </p:cNvPr>
          <p:cNvPicPr>
            <a:picLocks noChangeAspect="1" noChangeArrowheads="1"/>
          </p:cNvPicPr>
          <p:nvPr/>
        </p:nvPicPr>
        <p:blipFill>
          <a:blip r:embed="rId17" cstate="print">
            <a:extLst>
              <a:ext uri="{28A0092B-C50C-407E-A947-70E740481C1C}">
                <a14:useLocalDpi xmlns:a14="http://schemas.microsoft.com/office/drawing/2010/main"/>
              </a:ext>
            </a:extLst>
          </a:blip>
          <a:srcRect/>
          <a:stretch>
            <a:fillRect/>
          </a:stretch>
        </p:blipFill>
        <p:spPr bwMode="auto">
          <a:xfrm>
            <a:off x="7016518" y="4708983"/>
            <a:ext cx="639950" cy="176146"/>
          </a:xfrm>
          <a:prstGeom prst="rect">
            <a:avLst/>
          </a:prstGeom>
          <a:noFill/>
          <a:extLst>
            <a:ext uri="{909E8E84-426E-40DD-AFC4-6F175D3DCCD1}">
              <a14:hiddenFill xmlns:a14="http://schemas.microsoft.com/office/drawing/2010/main">
                <a:solidFill>
                  <a:srgbClr val="FFFFFF"/>
                </a:solidFill>
              </a14:hiddenFill>
            </a:ext>
          </a:extLst>
        </p:spPr>
      </p:pic>
      <p:grpSp>
        <p:nvGrpSpPr>
          <p:cNvPr id="24" name="Group 23">
            <a:extLst>
              <a:ext uri="{FF2B5EF4-FFF2-40B4-BE49-F238E27FC236}">
                <a16:creationId xmlns:a16="http://schemas.microsoft.com/office/drawing/2014/main" id="{72A4202E-BA17-292C-02F9-ED392B8E4884}"/>
              </a:ext>
            </a:extLst>
          </p:cNvPr>
          <p:cNvGrpSpPr/>
          <p:nvPr/>
        </p:nvGrpSpPr>
        <p:grpSpPr>
          <a:xfrm>
            <a:off x="962321" y="5438384"/>
            <a:ext cx="517660" cy="175734"/>
            <a:chOff x="915693" y="5438384"/>
            <a:chExt cx="517660" cy="175734"/>
          </a:xfrm>
        </p:grpSpPr>
        <p:sp>
          <p:nvSpPr>
            <p:cNvPr id="117" name="TextBox 116">
              <a:extLst>
                <a:ext uri="{FF2B5EF4-FFF2-40B4-BE49-F238E27FC236}">
                  <a16:creationId xmlns:a16="http://schemas.microsoft.com/office/drawing/2014/main" id="{9ECF31E6-875E-1258-DF5C-EE690559830F}"/>
                </a:ext>
              </a:extLst>
            </p:cNvPr>
            <p:cNvSpPr txBox="1"/>
            <p:nvPr/>
          </p:nvSpPr>
          <p:spPr>
            <a:xfrm>
              <a:off x="1186541" y="5449307"/>
              <a:ext cx="246812" cy="153888"/>
            </a:xfrm>
            <a:prstGeom prst="rect">
              <a:avLst/>
            </a:prstGeom>
            <a:noFill/>
          </p:spPr>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05861"/>
                  </a:solidFill>
                  <a:effectLst/>
                  <a:uLnTx/>
                  <a:uFillTx/>
                  <a:latin typeface="ES Build Neutral" pitchFamily="50" charset="0"/>
                  <a:ea typeface="+mn-ea"/>
                  <a:cs typeface="+mn-cs"/>
                </a:rPr>
                <a:t>NAS</a:t>
              </a:r>
              <a:endParaRPr kumimoji="0" lang="ru-RU" sz="1000" b="0" i="0" u="none" strike="noStrike" kern="1200" cap="none" spc="0" normalizeH="0" baseline="0" noProof="0">
                <a:ln>
                  <a:noFill/>
                </a:ln>
                <a:solidFill>
                  <a:srgbClr val="505861"/>
                </a:solidFill>
                <a:effectLst/>
                <a:uLnTx/>
                <a:uFillTx/>
                <a:ea typeface="+mn-ea"/>
                <a:cs typeface="+mn-cs"/>
              </a:endParaRPr>
            </a:p>
          </p:txBody>
        </p:sp>
        <p:sp>
          <p:nvSpPr>
            <p:cNvPr id="118" name="Freeform: Shape 91">
              <a:extLst>
                <a:ext uri="{FF2B5EF4-FFF2-40B4-BE49-F238E27FC236}">
                  <a16:creationId xmlns:a16="http://schemas.microsoft.com/office/drawing/2014/main" id="{BA54B7CF-6FC7-E4C2-0BB8-2903E4B889A0}"/>
                </a:ext>
              </a:extLst>
            </p:cNvPr>
            <p:cNvSpPr/>
            <p:nvPr/>
          </p:nvSpPr>
          <p:spPr>
            <a:xfrm>
              <a:off x="915693" y="5438384"/>
              <a:ext cx="214743" cy="175734"/>
            </a:xfrm>
            <a:custGeom>
              <a:avLst/>
              <a:gdLst>
                <a:gd name="connsiteX0" fmla="*/ 193650 w 214208"/>
                <a:gd name="connsiteY0" fmla="*/ -45 h 175225"/>
                <a:gd name="connsiteX1" fmla="*/ 20367 w 214208"/>
                <a:gd name="connsiteY1" fmla="*/ -45 h 175225"/>
                <a:gd name="connsiteX2" fmla="*/ -95 w 214208"/>
                <a:gd name="connsiteY2" fmla="*/ 20417 h 175225"/>
                <a:gd name="connsiteX3" fmla="*/ -95 w 214208"/>
                <a:gd name="connsiteY3" fmla="*/ 154718 h 175225"/>
                <a:gd name="connsiteX4" fmla="*/ 20367 w 214208"/>
                <a:gd name="connsiteY4" fmla="*/ 175181 h 175225"/>
                <a:gd name="connsiteX5" fmla="*/ 193650 w 214208"/>
                <a:gd name="connsiteY5" fmla="*/ 175181 h 175225"/>
                <a:gd name="connsiteX6" fmla="*/ 214113 w 214208"/>
                <a:gd name="connsiteY6" fmla="*/ 154718 h 175225"/>
                <a:gd name="connsiteX7" fmla="*/ 214113 w 214208"/>
                <a:gd name="connsiteY7" fmla="*/ 20417 h 175225"/>
                <a:gd name="connsiteX8" fmla="*/ 193650 w 214208"/>
                <a:gd name="connsiteY8" fmla="*/ -45 h 175225"/>
                <a:gd name="connsiteX9" fmla="*/ 31505 w 214208"/>
                <a:gd name="connsiteY9" fmla="*/ 53831 h 175225"/>
                <a:gd name="connsiteX10" fmla="*/ 20626 w 214208"/>
                <a:gd name="connsiteY10" fmla="*/ 42952 h 175225"/>
                <a:gd name="connsiteX11" fmla="*/ 31505 w 214208"/>
                <a:gd name="connsiteY11" fmla="*/ 32073 h 175225"/>
                <a:gd name="connsiteX12" fmla="*/ 42384 w 214208"/>
                <a:gd name="connsiteY12" fmla="*/ 42952 h 175225"/>
                <a:gd name="connsiteX13" fmla="*/ 31505 w 214208"/>
                <a:gd name="connsiteY13" fmla="*/ 53831 h 175225"/>
                <a:gd name="connsiteX14" fmla="*/ 99497 w 214208"/>
                <a:gd name="connsiteY14" fmla="*/ 140861 h 175225"/>
                <a:gd name="connsiteX15" fmla="*/ 83956 w 214208"/>
                <a:gd name="connsiteY15" fmla="*/ 159381 h 175225"/>
                <a:gd name="connsiteX16" fmla="*/ 65436 w 214208"/>
                <a:gd name="connsiteY16" fmla="*/ 143839 h 175225"/>
                <a:gd name="connsiteX17" fmla="*/ 65436 w 214208"/>
                <a:gd name="connsiteY17" fmla="*/ 140861 h 175225"/>
                <a:gd name="connsiteX18" fmla="*/ 65436 w 214208"/>
                <a:gd name="connsiteY18" fmla="*/ 34145 h 175225"/>
                <a:gd name="connsiteX19" fmla="*/ 83956 w 214208"/>
                <a:gd name="connsiteY19" fmla="*/ 18604 h 175225"/>
                <a:gd name="connsiteX20" fmla="*/ 99497 w 214208"/>
                <a:gd name="connsiteY20" fmla="*/ 34145 h 175225"/>
                <a:gd name="connsiteX21" fmla="*/ 147934 w 214208"/>
                <a:gd name="connsiteY21" fmla="*/ 140861 h 175225"/>
                <a:gd name="connsiteX22" fmla="*/ 132393 w 214208"/>
                <a:gd name="connsiteY22" fmla="*/ 159381 h 175225"/>
                <a:gd name="connsiteX23" fmla="*/ 113873 w 214208"/>
                <a:gd name="connsiteY23" fmla="*/ 143839 h 175225"/>
                <a:gd name="connsiteX24" fmla="*/ 113873 w 214208"/>
                <a:gd name="connsiteY24" fmla="*/ 140861 h 175225"/>
                <a:gd name="connsiteX25" fmla="*/ 113873 w 214208"/>
                <a:gd name="connsiteY25" fmla="*/ 34145 h 175225"/>
                <a:gd name="connsiteX26" fmla="*/ 132393 w 214208"/>
                <a:gd name="connsiteY26" fmla="*/ 18604 h 175225"/>
                <a:gd name="connsiteX27" fmla="*/ 147934 w 214208"/>
                <a:gd name="connsiteY27" fmla="*/ 34145 h 175225"/>
                <a:gd name="connsiteX28" fmla="*/ 196370 w 214208"/>
                <a:gd name="connsiteY28" fmla="*/ 140861 h 175225"/>
                <a:gd name="connsiteX29" fmla="*/ 180829 w 214208"/>
                <a:gd name="connsiteY29" fmla="*/ 159381 h 175225"/>
                <a:gd name="connsiteX30" fmla="*/ 162309 w 214208"/>
                <a:gd name="connsiteY30" fmla="*/ 143839 h 175225"/>
                <a:gd name="connsiteX31" fmla="*/ 162309 w 214208"/>
                <a:gd name="connsiteY31" fmla="*/ 140861 h 175225"/>
                <a:gd name="connsiteX32" fmla="*/ 162309 w 214208"/>
                <a:gd name="connsiteY32" fmla="*/ 34145 h 175225"/>
                <a:gd name="connsiteX33" fmla="*/ 180829 w 214208"/>
                <a:gd name="connsiteY33" fmla="*/ 18604 h 175225"/>
                <a:gd name="connsiteX34" fmla="*/ 196370 w 214208"/>
                <a:gd name="connsiteY34" fmla="*/ 34145 h 175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4208" h="175225">
                  <a:moveTo>
                    <a:pt x="193650" y="-45"/>
                  </a:moveTo>
                  <a:lnTo>
                    <a:pt x="20367" y="-45"/>
                  </a:lnTo>
                  <a:cubicBezTo>
                    <a:pt x="9066" y="-45"/>
                    <a:pt x="-95" y="9111"/>
                    <a:pt x="-95" y="20417"/>
                  </a:cubicBezTo>
                  <a:lnTo>
                    <a:pt x="-95" y="154718"/>
                  </a:lnTo>
                  <a:cubicBezTo>
                    <a:pt x="-95" y="166025"/>
                    <a:pt x="9066" y="175181"/>
                    <a:pt x="20367" y="175181"/>
                  </a:cubicBezTo>
                  <a:lnTo>
                    <a:pt x="193650" y="175181"/>
                  </a:lnTo>
                  <a:cubicBezTo>
                    <a:pt x="204957" y="175181"/>
                    <a:pt x="214113" y="166025"/>
                    <a:pt x="214113" y="154718"/>
                  </a:cubicBezTo>
                  <a:lnTo>
                    <a:pt x="214113" y="20417"/>
                  </a:lnTo>
                  <a:cubicBezTo>
                    <a:pt x="214113" y="9111"/>
                    <a:pt x="204957" y="-45"/>
                    <a:pt x="193650" y="-45"/>
                  </a:cubicBezTo>
                  <a:close/>
                  <a:moveTo>
                    <a:pt x="31505" y="53831"/>
                  </a:moveTo>
                  <a:cubicBezTo>
                    <a:pt x="25497" y="53831"/>
                    <a:pt x="20626" y="48961"/>
                    <a:pt x="20626" y="42952"/>
                  </a:cubicBezTo>
                  <a:cubicBezTo>
                    <a:pt x="20626" y="36943"/>
                    <a:pt x="25497" y="32073"/>
                    <a:pt x="31505" y="32073"/>
                  </a:cubicBezTo>
                  <a:cubicBezTo>
                    <a:pt x="37513" y="32073"/>
                    <a:pt x="42384" y="36943"/>
                    <a:pt x="42384" y="42952"/>
                  </a:cubicBezTo>
                  <a:cubicBezTo>
                    <a:pt x="42314" y="48935"/>
                    <a:pt x="37485" y="53766"/>
                    <a:pt x="31505" y="53831"/>
                  </a:cubicBezTo>
                  <a:close/>
                  <a:moveTo>
                    <a:pt x="99497" y="140861"/>
                  </a:moveTo>
                  <a:cubicBezTo>
                    <a:pt x="100313" y="150263"/>
                    <a:pt x="93359" y="158552"/>
                    <a:pt x="83956" y="159381"/>
                  </a:cubicBezTo>
                  <a:cubicBezTo>
                    <a:pt x="74554" y="160196"/>
                    <a:pt x="66252" y="153242"/>
                    <a:pt x="65436" y="143839"/>
                  </a:cubicBezTo>
                  <a:cubicBezTo>
                    <a:pt x="65346" y="142842"/>
                    <a:pt x="65346" y="141845"/>
                    <a:pt x="65436" y="140861"/>
                  </a:cubicBezTo>
                  <a:lnTo>
                    <a:pt x="65436" y="34145"/>
                  </a:lnTo>
                  <a:cubicBezTo>
                    <a:pt x="66252" y="24743"/>
                    <a:pt x="74554" y="17775"/>
                    <a:pt x="83956" y="18604"/>
                  </a:cubicBezTo>
                  <a:cubicBezTo>
                    <a:pt x="92219" y="19317"/>
                    <a:pt x="98772" y="25883"/>
                    <a:pt x="99497" y="34145"/>
                  </a:cubicBezTo>
                  <a:close/>
                  <a:moveTo>
                    <a:pt x="147934" y="140861"/>
                  </a:moveTo>
                  <a:cubicBezTo>
                    <a:pt x="148750" y="150263"/>
                    <a:pt x="141795" y="158552"/>
                    <a:pt x="132393" y="159381"/>
                  </a:cubicBezTo>
                  <a:cubicBezTo>
                    <a:pt x="122990" y="160196"/>
                    <a:pt x="114689" y="153242"/>
                    <a:pt x="113873" y="143839"/>
                  </a:cubicBezTo>
                  <a:cubicBezTo>
                    <a:pt x="113782" y="142842"/>
                    <a:pt x="113782" y="141845"/>
                    <a:pt x="113873" y="140861"/>
                  </a:cubicBezTo>
                  <a:lnTo>
                    <a:pt x="113873" y="34145"/>
                  </a:lnTo>
                  <a:cubicBezTo>
                    <a:pt x="114689" y="24743"/>
                    <a:pt x="122990" y="17775"/>
                    <a:pt x="132393" y="18604"/>
                  </a:cubicBezTo>
                  <a:cubicBezTo>
                    <a:pt x="140655" y="19317"/>
                    <a:pt x="147208" y="25883"/>
                    <a:pt x="147934" y="34145"/>
                  </a:cubicBezTo>
                  <a:close/>
                  <a:moveTo>
                    <a:pt x="196370" y="140861"/>
                  </a:moveTo>
                  <a:cubicBezTo>
                    <a:pt x="197186" y="150263"/>
                    <a:pt x="190231" y="158552"/>
                    <a:pt x="180829" y="159381"/>
                  </a:cubicBezTo>
                  <a:cubicBezTo>
                    <a:pt x="171427" y="160196"/>
                    <a:pt x="163125" y="153242"/>
                    <a:pt x="162309" y="143839"/>
                  </a:cubicBezTo>
                  <a:cubicBezTo>
                    <a:pt x="162219" y="142842"/>
                    <a:pt x="162219" y="141845"/>
                    <a:pt x="162309" y="140861"/>
                  </a:cubicBezTo>
                  <a:lnTo>
                    <a:pt x="162309" y="34145"/>
                  </a:lnTo>
                  <a:cubicBezTo>
                    <a:pt x="163125" y="24743"/>
                    <a:pt x="171427" y="17775"/>
                    <a:pt x="180829" y="18604"/>
                  </a:cubicBezTo>
                  <a:cubicBezTo>
                    <a:pt x="189092" y="19317"/>
                    <a:pt x="195645" y="25883"/>
                    <a:pt x="196370" y="34145"/>
                  </a:cubicBezTo>
                  <a:close/>
                </a:path>
              </a:pathLst>
            </a:custGeom>
            <a:solidFill>
              <a:schemeClr val="accent3"/>
            </a:solidFill>
            <a:ln w="1294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a:ln>
                  <a:noFill/>
                </a:ln>
                <a:solidFill>
                  <a:srgbClr val="000000">
                    <a:lumMod val="95000"/>
                    <a:lumOff val="5000"/>
                  </a:srgbClr>
                </a:solidFill>
                <a:effectLst/>
                <a:uLnTx/>
                <a:uFillTx/>
                <a:ea typeface="+mn-ea"/>
                <a:cs typeface="+mn-cs"/>
              </a:endParaRPr>
            </a:p>
          </p:txBody>
        </p:sp>
      </p:grpSp>
      <p:pic>
        <p:nvPicPr>
          <p:cNvPr id="119" name="Picture 40" descr="PostgreSQL logo and symbol, meaning, history, PNG">
            <a:extLst>
              <a:ext uri="{FF2B5EF4-FFF2-40B4-BE49-F238E27FC236}">
                <a16:creationId xmlns:a16="http://schemas.microsoft.com/office/drawing/2014/main" id="{7CA8546E-C76F-D443-83D8-525917D50D8D}"/>
              </a:ext>
            </a:extLst>
          </p:cNvPr>
          <p:cNvPicPr>
            <a:picLocks noChangeAspect="1" noChangeArrowheads="1"/>
          </p:cNvPicPr>
          <p:nvPr/>
        </p:nvPicPr>
        <p:blipFill>
          <a:blip r:embed="rId18" cstate="print">
            <a:extLst>
              <a:ext uri="{28A0092B-C50C-407E-A947-70E740481C1C}">
                <a14:useLocalDpi xmlns:a14="http://schemas.microsoft.com/office/drawing/2010/main"/>
              </a:ext>
            </a:extLst>
          </a:blip>
          <a:srcRect/>
          <a:stretch>
            <a:fillRect/>
          </a:stretch>
        </p:blipFill>
        <p:spPr bwMode="auto">
          <a:xfrm>
            <a:off x="2037543" y="4539881"/>
            <a:ext cx="822793" cy="514350"/>
          </a:xfrm>
          <a:prstGeom prst="rect">
            <a:avLst/>
          </a:prstGeom>
          <a:noFill/>
          <a:extLst>
            <a:ext uri="{909E8E84-426E-40DD-AFC4-6F175D3DCCD1}">
              <a14:hiddenFill xmlns:a14="http://schemas.microsoft.com/office/drawing/2010/main">
                <a:solidFill>
                  <a:srgbClr val="FFFFFF"/>
                </a:solidFill>
              </a14:hiddenFill>
            </a:ext>
          </a:extLst>
        </p:spPr>
      </p:pic>
      <p:pic>
        <p:nvPicPr>
          <p:cNvPr id="120" name="Picture 42">
            <a:extLst>
              <a:ext uri="{FF2B5EF4-FFF2-40B4-BE49-F238E27FC236}">
                <a16:creationId xmlns:a16="http://schemas.microsoft.com/office/drawing/2014/main" id="{1CAAEBBC-D812-9769-13FF-019FD1FD8DF5}"/>
              </a:ext>
            </a:extLst>
          </p:cNvPr>
          <p:cNvPicPr>
            <a:picLocks noChangeAspect="1" noChangeArrowheads="1"/>
          </p:cNvPicPr>
          <p:nvPr/>
        </p:nvPicPr>
        <p:blipFill>
          <a:blip r:embed="rId19" cstate="print">
            <a:extLst>
              <a:ext uri="{28A0092B-C50C-407E-A947-70E740481C1C}">
                <a14:useLocalDpi xmlns:a14="http://schemas.microsoft.com/office/drawing/2010/main"/>
              </a:ext>
            </a:extLst>
          </a:blip>
          <a:srcRect/>
          <a:stretch>
            <a:fillRect/>
          </a:stretch>
        </p:blipFill>
        <p:spPr bwMode="auto">
          <a:xfrm>
            <a:off x="3398591" y="4628366"/>
            <a:ext cx="530878" cy="274320"/>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44">
            <a:extLst>
              <a:ext uri="{FF2B5EF4-FFF2-40B4-BE49-F238E27FC236}">
                <a16:creationId xmlns:a16="http://schemas.microsoft.com/office/drawing/2014/main" id="{6B467ACE-C2B7-50CF-1DBE-AC7021B53B17}"/>
              </a:ext>
            </a:extLst>
          </p:cNvPr>
          <p:cNvPicPr>
            <a:picLocks noChangeAspect="1" noChangeArrowheads="1"/>
          </p:cNvPicPr>
          <p:nvPr/>
        </p:nvPicPr>
        <p:blipFill>
          <a:blip r:embed="rId20" cstate="print">
            <a:extLst>
              <a:ext uri="{28A0092B-C50C-407E-A947-70E740481C1C}">
                <a14:useLocalDpi xmlns:a14="http://schemas.microsoft.com/office/drawing/2010/main"/>
              </a:ext>
            </a:extLst>
          </a:blip>
          <a:srcRect/>
          <a:stretch>
            <a:fillRect/>
          </a:stretch>
        </p:blipFill>
        <p:spPr bwMode="auto">
          <a:xfrm>
            <a:off x="7131360" y="3766172"/>
            <a:ext cx="467619" cy="464489"/>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46">
            <a:extLst>
              <a:ext uri="{FF2B5EF4-FFF2-40B4-BE49-F238E27FC236}">
                <a16:creationId xmlns:a16="http://schemas.microsoft.com/office/drawing/2014/main" id="{838015F8-A3E4-B33F-FA00-F7BABEBD719B}"/>
              </a:ext>
            </a:extLst>
          </p:cNvPr>
          <p:cNvPicPr>
            <a:picLocks noChangeAspect="1" noChangeArrowheads="1"/>
          </p:cNvPicPr>
          <p:nvPr/>
        </p:nvPicPr>
        <p:blipFill>
          <a:blip r:embed="rId21" cstate="print">
            <a:extLst>
              <a:ext uri="{28A0092B-C50C-407E-A947-70E740481C1C}">
                <a14:useLocalDpi xmlns:a14="http://schemas.microsoft.com/office/drawing/2010/main"/>
              </a:ext>
            </a:extLst>
          </a:blip>
          <a:srcRect/>
          <a:stretch>
            <a:fillRect/>
          </a:stretch>
        </p:blipFill>
        <p:spPr bwMode="auto">
          <a:xfrm>
            <a:off x="4679772" y="4715082"/>
            <a:ext cx="411396" cy="163949"/>
          </a:xfrm>
          <a:prstGeom prst="rect">
            <a:avLst/>
          </a:prstGeom>
          <a:noFill/>
          <a:extLst>
            <a:ext uri="{909E8E84-426E-40DD-AFC4-6F175D3DCCD1}">
              <a14:hiddenFill xmlns:a14="http://schemas.microsoft.com/office/drawing/2010/main">
                <a:solidFill>
                  <a:srgbClr val="FFFFFF"/>
                </a:solidFill>
              </a14:hiddenFill>
            </a:ext>
          </a:extLst>
        </p:spPr>
      </p:pic>
      <p:pic>
        <p:nvPicPr>
          <p:cNvPr id="123" name="Picture 48">
            <a:extLst>
              <a:ext uri="{FF2B5EF4-FFF2-40B4-BE49-F238E27FC236}">
                <a16:creationId xmlns:a16="http://schemas.microsoft.com/office/drawing/2014/main" id="{37ED8BD5-D141-CF23-2933-2189E1AE05B5}"/>
              </a:ext>
            </a:extLst>
          </p:cNvPr>
          <p:cNvPicPr>
            <a:picLocks noChangeAspect="1" noChangeArrowheads="1"/>
          </p:cNvPicPr>
          <p:nvPr/>
        </p:nvPicPr>
        <p:blipFill>
          <a:blip r:embed="rId22" cstate="print">
            <a:extLst>
              <a:ext uri="{28A0092B-C50C-407E-A947-70E740481C1C}">
                <a14:useLocalDpi xmlns:a14="http://schemas.microsoft.com/office/drawing/2010/main"/>
              </a:ext>
            </a:extLst>
          </a:blip>
          <a:srcRect/>
          <a:stretch>
            <a:fillRect/>
          </a:stretch>
        </p:blipFill>
        <p:spPr bwMode="auto">
          <a:xfrm>
            <a:off x="5741225" y="4699215"/>
            <a:ext cx="731371" cy="195682"/>
          </a:xfrm>
          <a:prstGeom prst="rect">
            <a:avLst/>
          </a:prstGeom>
          <a:noFill/>
          <a:extLst>
            <a:ext uri="{909E8E84-426E-40DD-AFC4-6F175D3DCCD1}">
              <a14:hiddenFill xmlns:a14="http://schemas.microsoft.com/office/drawing/2010/main">
                <a:solidFill>
                  <a:srgbClr val="FFFFFF"/>
                </a:solidFill>
              </a14:hiddenFill>
            </a:ext>
          </a:extLst>
        </p:spPr>
      </p:pic>
      <p:sp>
        <p:nvSpPr>
          <p:cNvPr id="5" name="Title 1">
            <a:extLst>
              <a:ext uri="{FF2B5EF4-FFF2-40B4-BE49-F238E27FC236}">
                <a16:creationId xmlns:a16="http://schemas.microsoft.com/office/drawing/2014/main" id="{6C8E9C1C-6334-E05F-2D57-FF0B087BF0F1}"/>
              </a:ext>
            </a:extLst>
          </p:cNvPr>
          <p:cNvSpPr>
            <a:spLocks noGrp="1"/>
          </p:cNvSpPr>
          <p:nvPr>
            <p:ph type="title"/>
          </p:nvPr>
        </p:nvSpPr>
        <p:spPr>
          <a:xfrm>
            <a:off x="493712" y="342900"/>
            <a:ext cx="11202987" cy="682625"/>
          </a:xfrm>
        </p:spPr>
        <p:txBody>
          <a:bodyPr/>
          <a:lstStyle/>
          <a:p>
            <a:r>
              <a:rPr lang="en-US">
                <a:latin typeface="ES Build"/>
                <a:ea typeface="ES Build"/>
              </a:rPr>
              <a:t>Extensive workload</a:t>
            </a:r>
            <a:r>
              <a:rPr lang="en-US" b="1">
                <a:latin typeface="ES Build"/>
                <a:ea typeface="ES Build"/>
              </a:rPr>
              <a:t> </a:t>
            </a:r>
            <a:r>
              <a:rPr lang="en-US">
                <a:latin typeface="ES Build"/>
                <a:ea typeface="ES Build"/>
              </a:rPr>
              <a:t>coverage unmatched in the industry</a:t>
            </a:r>
            <a:br>
              <a:rPr lang="en-US"/>
            </a:br>
            <a:endParaRPr lang="en-US"/>
          </a:p>
        </p:txBody>
      </p:sp>
      <p:grpSp>
        <p:nvGrpSpPr>
          <p:cNvPr id="4" name="Group 3">
            <a:extLst>
              <a:ext uri="{FF2B5EF4-FFF2-40B4-BE49-F238E27FC236}">
                <a16:creationId xmlns:a16="http://schemas.microsoft.com/office/drawing/2014/main" id="{39360F80-3B4C-4BF4-62CA-84FE470A0A14}"/>
              </a:ext>
            </a:extLst>
          </p:cNvPr>
          <p:cNvGrpSpPr/>
          <p:nvPr/>
        </p:nvGrpSpPr>
        <p:grpSpPr>
          <a:xfrm>
            <a:off x="8986346" y="1038035"/>
            <a:ext cx="3037488" cy="5341743"/>
            <a:chOff x="9080262" y="1558269"/>
            <a:chExt cx="3037488" cy="4734263"/>
          </a:xfrm>
        </p:grpSpPr>
        <p:sp>
          <p:nvSpPr>
            <p:cNvPr id="3" name="TextBox 2">
              <a:extLst>
                <a:ext uri="{FF2B5EF4-FFF2-40B4-BE49-F238E27FC236}">
                  <a16:creationId xmlns:a16="http://schemas.microsoft.com/office/drawing/2014/main" id="{9555FD29-71F1-D673-4154-688A085F81F2}"/>
                </a:ext>
              </a:extLst>
            </p:cNvPr>
            <p:cNvSpPr txBox="1"/>
            <p:nvPr/>
          </p:nvSpPr>
          <p:spPr>
            <a:xfrm>
              <a:off x="9401341" y="1904844"/>
              <a:ext cx="2395330" cy="428257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05861"/>
                  </a:solidFill>
                  <a:effectLst/>
                  <a:uLnTx/>
                  <a:uFillTx/>
                  <a:latin typeface="ES Build Neutral"/>
                  <a:ea typeface="+mn-ea"/>
                  <a:cs typeface="+mn-cs"/>
                </a:rPr>
                <a:t>New for 202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8E71F4"/>
                </a:solidFill>
                <a:effectLst/>
                <a:uLnTx/>
                <a:uFillTx/>
                <a:latin typeface="ES Build Neutr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8E71F4"/>
                  </a:solidFill>
                  <a:effectLst/>
                  <a:uLnTx/>
                  <a:uFillTx/>
                  <a:latin typeface="ES Build Neutral"/>
                  <a:ea typeface="+mn-ea"/>
                  <a:cs typeface="+mn-cs"/>
                </a:rPr>
                <a:t>Cloud</a:t>
              </a:r>
            </a:p>
            <a:p>
              <a:pPr marL="285750" marR="0" lvl="0" indent="-285750" algn="l" defTabSz="914400" rtl="0" eaLnBrk="1" fontAlgn="auto" latinLnBrk="0" hangingPunct="1">
                <a:lnSpc>
                  <a:spcPct val="100000"/>
                </a:lnSpc>
                <a:spcBef>
                  <a:spcPts val="0"/>
                </a:spcBef>
                <a:spcAft>
                  <a:spcPts val="0"/>
                </a:spcAft>
                <a:buClr>
                  <a:srgbClr val="8E71F4"/>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505861"/>
                  </a:solidFill>
                  <a:effectLst/>
                  <a:uLnTx/>
                  <a:uFillTx/>
                  <a:latin typeface="ES Build Neutral"/>
                  <a:ea typeface="+mn-ea"/>
                  <a:cs typeface="+mn-cs"/>
                </a:rPr>
                <a:t>Amazon </a:t>
              </a:r>
              <a:r>
                <a:rPr kumimoji="0" lang="en-US" sz="1600" b="0" i="0" u="none" strike="noStrike" kern="1200" cap="none" spc="0" normalizeH="0" baseline="0" noProof="0" dirty="0" err="1">
                  <a:ln>
                    <a:noFill/>
                  </a:ln>
                  <a:solidFill>
                    <a:srgbClr val="505861"/>
                  </a:solidFill>
                  <a:effectLst/>
                  <a:uLnTx/>
                  <a:uFillTx/>
                  <a:latin typeface="ES Build Neutral"/>
                  <a:ea typeface="+mn-ea"/>
                  <a:cs typeface="+mn-cs"/>
                </a:rPr>
                <a:t>FSx</a:t>
              </a:r>
              <a:endParaRPr kumimoji="0" lang="en-US" sz="1600" b="0" i="0" u="none" strike="noStrike" kern="1200" cap="none" spc="0" normalizeH="0" baseline="0" noProof="0" dirty="0">
                <a:ln>
                  <a:noFill/>
                </a:ln>
                <a:solidFill>
                  <a:srgbClr val="505861"/>
                </a:solidFill>
                <a:effectLst/>
                <a:uLnTx/>
                <a:uFillTx/>
                <a:latin typeface="ES Build Neutral"/>
                <a:ea typeface="+mn-ea"/>
                <a:cs typeface="+mn-cs"/>
              </a:endParaRPr>
            </a:p>
            <a:p>
              <a:pPr marL="285750" marR="0" lvl="0" indent="-285750" algn="l" defTabSz="914400" rtl="0" eaLnBrk="1" fontAlgn="auto" latinLnBrk="0" hangingPunct="1">
                <a:lnSpc>
                  <a:spcPct val="100000"/>
                </a:lnSpc>
                <a:spcBef>
                  <a:spcPts val="0"/>
                </a:spcBef>
                <a:spcAft>
                  <a:spcPts val="0"/>
                </a:spcAft>
                <a:buClr>
                  <a:srgbClr val="8E71F4"/>
                </a:buClr>
                <a:buSzTx/>
                <a:buFont typeface="Arial" panose="020B0604020202020204" pitchFamily="34" charset="0"/>
                <a:buChar char="•"/>
                <a:tabLst/>
                <a:defRPr/>
              </a:pPr>
              <a:r>
                <a:rPr lang="en-US" sz="1600" dirty="0" err="1">
                  <a:solidFill>
                    <a:srgbClr val="505861"/>
                  </a:solidFill>
                  <a:latin typeface="ES Build Neutral"/>
                </a:rPr>
                <a:t>AmazonRedShift</a:t>
              </a:r>
              <a:endParaRPr lang="en-US" sz="1600" dirty="0">
                <a:solidFill>
                  <a:srgbClr val="505861"/>
                </a:solidFill>
                <a:latin typeface="ES Build Neutral"/>
              </a:endParaRPr>
            </a:p>
            <a:p>
              <a:pPr marL="285750" marR="0" lvl="0" indent="-285750" algn="l" defTabSz="914400" rtl="0" eaLnBrk="1" fontAlgn="auto" latinLnBrk="0" hangingPunct="1">
                <a:lnSpc>
                  <a:spcPct val="100000"/>
                </a:lnSpc>
                <a:spcBef>
                  <a:spcPts val="0"/>
                </a:spcBef>
                <a:spcAft>
                  <a:spcPts val="0"/>
                </a:spcAft>
                <a:buClr>
                  <a:srgbClr val="8E71F4"/>
                </a:buClr>
                <a:buSzTx/>
                <a:buFont typeface="Arial" panose="020B0604020202020204" pitchFamily="34" charset="0"/>
                <a:buChar char="•"/>
                <a:tabLst/>
                <a:defRPr/>
              </a:pPr>
              <a:r>
                <a:rPr lang="en-US" sz="1600" dirty="0">
                  <a:solidFill>
                    <a:srgbClr val="505861"/>
                  </a:solidFill>
                  <a:latin typeface="ES Build Neutral"/>
                </a:rPr>
                <a:t>Azure Cosmos DB</a:t>
              </a:r>
              <a:endParaRPr lang="en-US" sz="2400" dirty="0"/>
            </a:p>
            <a:p>
              <a:endParaRPr lang="en-US" sz="2400" dirty="0"/>
            </a:p>
            <a:p>
              <a:r>
                <a:rPr lang="en-US" sz="2000" b="1" dirty="0"/>
                <a:t>Coming soon </a:t>
              </a:r>
            </a:p>
            <a:p>
              <a:r>
                <a:rPr lang="en-US" sz="2000" b="1" dirty="0"/>
                <a:t>in 2024</a:t>
              </a:r>
            </a:p>
            <a:p>
              <a:endParaRPr lang="en-US" sz="1600" b="1" strike="sngStrike" dirty="0">
                <a:solidFill>
                  <a:srgbClr val="00D15F"/>
                </a:solidFill>
              </a:endParaRPr>
            </a:p>
            <a:p>
              <a:r>
                <a:rPr lang="en-US" sz="1600" b="1" dirty="0">
                  <a:solidFill>
                    <a:srgbClr val="8E71F4"/>
                  </a:solidFill>
                </a:rPr>
                <a:t>Virtual/Database</a:t>
              </a:r>
            </a:p>
            <a:p>
              <a:pPr marL="285750" indent="-285750">
                <a:buClr>
                  <a:srgbClr val="8E71F4"/>
                </a:buClr>
                <a:buFont typeface="Arial" panose="020B0604020202020204" pitchFamily="34" charset="0"/>
                <a:buChar char="•"/>
              </a:pPr>
              <a:r>
                <a:rPr lang="en-US" sz="1600" dirty="0" err="1"/>
                <a:t>Proxmox</a:t>
              </a:r>
              <a:r>
                <a:rPr lang="en-US" sz="1600" dirty="0"/>
                <a:t> VE</a:t>
              </a:r>
            </a:p>
            <a:p>
              <a:pPr marL="285750" indent="-285750">
                <a:buClr>
                  <a:srgbClr val="8E71F4"/>
                </a:buClr>
                <a:buFont typeface="Arial" panose="020B0604020202020204" pitchFamily="34" charset="0"/>
                <a:buChar char="•"/>
              </a:pPr>
              <a:r>
                <a:rPr lang="en-US" sz="1600" dirty="0"/>
                <a:t>MongoDB</a:t>
              </a:r>
            </a:p>
            <a:p>
              <a:endParaRPr lang="en-US" sz="1600" b="1" dirty="0">
                <a:solidFill>
                  <a:srgbClr val="8E71F4"/>
                </a:solidFill>
              </a:endParaRPr>
            </a:p>
            <a:p>
              <a:r>
                <a:rPr lang="en-US" sz="1600" b="1" dirty="0">
                  <a:solidFill>
                    <a:srgbClr val="8E71F4"/>
                  </a:solidFill>
                </a:rPr>
                <a:t>Cloud</a:t>
              </a:r>
            </a:p>
            <a:p>
              <a:pPr marL="285750" indent="-285750">
                <a:buClr>
                  <a:srgbClr val="8E71F4"/>
                </a:buClr>
                <a:buFont typeface="Arial" panose="020B0604020202020204" pitchFamily="34" charset="0"/>
                <a:buChar char="•"/>
              </a:pPr>
              <a:r>
                <a:rPr lang="en-US" sz="1600" dirty="0"/>
                <a:t>Microsoft </a:t>
              </a:r>
              <a:r>
                <a:rPr lang="en-US" sz="1600" dirty="0" err="1"/>
                <a:t>Entra</a:t>
              </a:r>
              <a:r>
                <a:rPr lang="en-US" sz="1600" dirty="0"/>
                <a:t> ID</a:t>
              </a:r>
            </a:p>
            <a:p>
              <a:pPr marL="285750" indent="-285750">
                <a:buClr>
                  <a:srgbClr val="8E71F4"/>
                </a:buClr>
                <a:buFont typeface="Arial" panose="020B0604020202020204" pitchFamily="34" charset="0"/>
                <a:buChar char="•"/>
              </a:pPr>
              <a:r>
                <a:rPr lang="en-US" sz="1600" dirty="0"/>
                <a:t>Azure Data Lake Storage Gen2</a:t>
              </a:r>
            </a:p>
          </p:txBody>
        </p:sp>
        <p:sp>
          <p:nvSpPr>
            <p:cNvPr id="2" name="Rounded Rectangle 1">
              <a:extLst>
                <a:ext uri="{FF2B5EF4-FFF2-40B4-BE49-F238E27FC236}">
                  <a16:creationId xmlns:a16="http://schemas.microsoft.com/office/drawing/2014/main" id="{CF901671-8619-CBCF-58F4-5F0DF227BFB4}"/>
                </a:ext>
              </a:extLst>
            </p:cNvPr>
            <p:cNvSpPr/>
            <p:nvPr/>
          </p:nvSpPr>
          <p:spPr>
            <a:xfrm>
              <a:off x="9080262" y="1558269"/>
              <a:ext cx="3037488" cy="4734263"/>
            </a:xfrm>
            <a:prstGeom prst="roundRect">
              <a:avLst>
                <a:gd name="adj" fmla="val 3054"/>
              </a:avLst>
            </a:prstGeom>
            <a:noFill/>
            <a:ln w="9525">
              <a:solidFill>
                <a:srgbClr val="8E71F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a:solidFill>
                  <a:schemeClr val="bg1"/>
                </a:solidFill>
                <a:latin typeface="ES Build" pitchFamily="50" charset="0"/>
                <a:cs typeface="Microsoft Sans Serif" panose="020B0604020202020204" pitchFamily="34" charset="0"/>
              </a:endParaRPr>
            </a:p>
          </p:txBody>
        </p:sp>
      </p:grpSp>
      <p:pic>
        <p:nvPicPr>
          <p:cNvPr id="33" name="Picture 32" descr="A logo of a blue and purple hexagon&#10;&#10;Description automatically generated">
            <a:extLst>
              <a:ext uri="{FF2B5EF4-FFF2-40B4-BE49-F238E27FC236}">
                <a16:creationId xmlns:a16="http://schemas.microsoft.com/office/drawing/2014/main" id="{DA8AA78E-376B-8013-A3F0-B6F9AC61E423}"/>
              </a:ext>
            </a:extLst>
          </p:cNvPr>
          <p:cNvPicPr>
            <a:picLocks noChangeAspect="1"/>
          </p:cNvPicPr>
          <p:nvPr/>
        </p:nvPicPr>
        <p:blipFill>
          <a:blip r:embed="rId23"/>
          <a:stretch>
            <a:fillRect/>
          </a:stretch>
        </p:blipFill>
        <p:spPr>
          <a:xfrm>
            <a:off x="3515118" y="5368641"/>
            <a:ext cx="293098" cy="322293"/>
          </a:xfrm>
          <a:prstGeom prst="rect">
            <a:avLst/>
          </a:prstGeom>
        </p:spPr>
      </p:pic>
      <p:pic>
        <p:nvPicPr>
          <p:cNvPr id="36" name="Graphic 35">
            <a:extLst>
              <a:ext uri="{FF2B5EF4-FFF2-40B4-BE49-F238E27FC236}">
                <a16:creationId xmlns:a16="http://schemas.microsoft.com/office/drawing/2014/main" id="{399128D3-A260-1778-E585-0631DF6FDBEE}"/>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2096272" y="3963398"/>
            <a:ext cx="717260" cy="168767"/>
          </a:xfrm>
          <a:prstGeom prst="rect">
            <a:avLst/>
          </a:prstGeom>
        </p:spPr>
      </p:pic>
      <p:pic>
        <p:nvPicPr>
          <p:cNvPr id="38" name="Picture 37" descr="A close up of a black background&#10;&#10;Description automatically generated">
            <a:extLst>
              <a:ext uri="{FF2B5EF4-FFF2-40B4-BE49-F238E27FC236}">
                <a16:creationId xmlns:a16="http://schemas.microsoft.com/office/drawing/2014/main" id="{8D17703F-FE01-2F50-737A-4E11DA37EF34}"/>
              </a:ext>
            </a:extLst>
          </p:cNvPr>
          <p:cNvPicPr>
            <a:picLocks noChangeAspect="1"/>
          </p:cNvPicPr>
          <p:nvPr/>
        </p:nvPicPr>
        <p:blipFill>
          <a:blip r:embed="rId26"/>
          <a:stretch>
            <a:fillRect/>
          </a:stretch>
        </p:blipFill>
        <p:spPr>
          <a:xfrm>
            <a:off x="790777" y="3979468"/>
            <a:ext cx="860646" cy="136627"/>
          </a:xfrm>
          <a:prstGeom prst="rect">
            <a:avLst/>
          </a:prstGeom>
        </p:spPr>
      </p:pic>
      <p:grpSp>
        <p:nvGrpSpPr>
          <p:cNvPr id="175" name="Group 174">
            <a:extLst>
              <a:ext uri="{FF2B5EF4-FFF2-40B4-BE49-F238E27FC236}">
                <a16:creationId xmlns:a16="http://schemas.microsoft.com/office/drawing/2014/main" id="{B38DFCAF-C329-03D9-18DB-FC8801112452}"/>
              </a:ext>
            </a:extLst>
          </p:cNvPr>
          <p:cNvGrpSpPr/>
          <p:nvPr/>
        </p:nvGrpSpPr>
        <p:grpSpPr>
          <a:xfrm>
            <a:off x="487285" y="1703573"/>
            <a:ext cx="7623942" cy="959789"/>
            <a:chOff x="487285" y="1703573"/>
            <a:chExt cx="7623942" cy="959789"/>
          </a:xfrm>
        </p:grpSpPr>
        <p:sp>
          <p:nvSpPr>
            <p:cNvPr id="35" name="Freeform 40">
              <a:extLst>
                <a:ext uri="{FF2B5EF4-FFF2-40B4-BE49-F238E27FC236}">
                  <a16:creationId xmlns:a16="http://schemas.microsoft.com/office/drawing/2014/main" id="{0D6F9ACB-4F81-31E4-C310-221A0BCA6AF6}"/>
                </a:ext>
              </a:extLst>
            </p:cNvPr>
            <p:cNvSpPr>
              <a:spLocks noChangeAspect="1"/>
            </p:cNvSpPr>
            <p:nvPr/>
          </p:nvSpPr>
          <p:spPr>
            <a:xfrm>
              <a:off x="2079493" y="1887013"/>
              <a:ext cx="430203" cy="351212"/>
            </a:xfrm>
            <a:custGeom>
              <a:avLst/>
              <a:gdLst>
                <a:gd name="connsiteX0" fmla="*/ 294299 w 588498"/>
                <a:gd name="connsiteY0" fmla="*/ 461947 h 461947"/>
                <a:gd name="connsiteX1" fmla="*/ 289846 w 588498"/>
                <a:gd name="connsiteY1" fmla="*/ 460733 h 461947"/>
                <a:gd name="connsiteX2" fmla="*/ 5263 w 588498"/>
                <a:gd name="connsiteY2" fmla="*/ 307714 h 461947"/>
                <a:gd name="connsiteX3" fmla="*/ 0 w 588498"/>
                <a:gd name="connsiteY3" fmla="*/ 299212 h 461947"/>
                <a:gd name="connsiteX4" fmla="*/ 5263 w 588498"/>
                <a:gd name="connsiteY4" fmla="*/ 290711 h 461947"/>
                <a:gd name="connsiteX5" fmla="*/ 85011 w 588498"/>
                <a:gd name="connsiteY5" fmla="*/ 248206 h 461947"/>
                <a:gd name="connsiteX6" fmla="*/ 97965 w 588498"/>
                <a:gd name="connsiteY6" fmla="*/ 252254 h 461947"/>
                <a:gd name="connsiteX7" fmla="*/ 93916 w 588498"/>
                <a:gd name="connsiteY7" fmla="*/ 265208 h 461947"/>
                <a:gd name="connsiteX8" fmla="*/ 30361 w 588498"/>
                <a:gd name="connsiteY8" fmla="*/ 299212 h 461947"/>
                <a:gd name="connsiteX9" fmla="*/ 294299 w 588498"/>
                <a:gd name="connsiteY9" fmla="*/ 441302 h 461947"/>
                <a:gd name="connsiteX10" fmla="*/ 557832 w 588498"/>
                <a:gd name="connsiteY10" fmla="*/ 299617 h 461947"/>
                <a:gd name="connsiteX11" fmla="*/ 493871 w 588498"/>
                <a:gd name="connsiteY11" fmla="*/ 263589 h 461947"/>
                <a:gd name="connsiteX12" fmla="*/ 490228 w 588498"/>
                <a:gd name="connsiteY12" fmla="*/ 250635 h 461947"/>
                <a:gd name="connsiteX13" fmla="*/ 503182 w 588498"/>
                <a:gd name="connsiteY13" fmla="*/ 246992 h 461947"/>
                <a:gd name="connsiteX14" fmla="*/ 578882 w 588498"/>
                <a:gd name="connsiteY14" fmla="*/ 289902 h 461947"/>
                <a:gd name="connsiteX15" fmla="*/ 587383 w 588498"/>
                <a:gd name="connsiteY15" fmla="*/ 295164 h 461947"/>
                <a:gd name="connsiteX16" fmla="*/ 583335 w 588498"/>
                <a:gd name="connsiteY16" fmla="*/ 308118 h 461947"/>
                <a:gd name="connsiteX17" fmla="*/ 298752 w 588498"/>
                <a:gd name="connsiteY17" fmla="*/ 461137 h 461947"/>
                <a:gd name="connsiteX18" fmla="*/ 294299 w 588498"/>
                <a:gd name="connsiteY18" fmla="*/ 461947 h 461947"/>
                <a:gd name="connsiteX19" fmla="*/ 294299 w 588498"/>
                <a:gd name="connsiteY19" fmla="*/ 332812 h 461947"/>
                <a:gd name="connsiteX20" fmla="*/ 291870 w 588498"/>
                <a:gd name="connsiteY20" fmla="*/ 332407 h 461947"/>
                <a:gd name="connsiteX21" fmla="*/ 289441 w 588498"/>
                <a:gd name="connsiteY21" fmla="*/ 331597 h 461947"/>
                <a:gd name="connsiteX22" fmla="*/ 245316 w 588498"/>
                <a:gd name="connsiteY22" fmla="*/ 307714 h 461947"/>
                <a:gd name="connsiteX23" fmla="*/ 241268 w 588498"/>
                <a:gd name="connsiteY23" fmla="*/ 294760 h 461947"/>
                <a:gd name="connsiteX24" fmla="*/ 254222 w 588498"/>
                <a:gd name="connsiteY24" fmla="*/ 290711 h 461947"/>
                <a:gd name="connsiteX25" fmla="*/ 284178 w 588498"/>
                <a:gd name="connsiteY25" fmla="*/ 306904 h 461947"/>
                <a:gd name="connsiteX26" fmla="*/ 284178 w 588498"/>
                <a:gd name="connsiteY26" fmla="*/ 274114 h 461947"/>
                <a:gd name="connsiteX27" fmla="*/ 293894 w 588498"/>
                <a:gd name="connsiteY27" fmla="*/ 264399 h 461947"/>
                <a:gd name="connsiteX28" fmla="*/ 303609 w 588498"/>
                <a:gd name="connsiteY28" fmla="*/ 274114 h 461947"/>
                <a:gd name="connsiteX29" fmla="*/ 303609 w 588498"/>
                <a:gd name="connsiteY29" fmla="*/ 306904 h 461947"/>
                <a:gd name="connsiteX30" fmla="*/ 334375 w 588498"/>
                <a:gd name="connsiteY30" fmla="*/ 290307 h 461947"/>
                <a:gd name="connsiteX31" fmla="*/ 347329 w 588498"/>
                <a:gd name="connsiteY31" fmla="*/ 294355 h 461947"/>
                <a:gd name="connsiteX32" fmla="*/ 343281 w 588498"/>
                <a:gd name="connsiteY32" fmla="*/ 307309 h 461947"/>
                <a:gd name="connsiteX33" fmla="*/ 298347 w 588498"/>
                <a:gd name="connsiteY33" fmla="*/ 331193 h 461947"/>
                <a:gd name="connsiteX34" fmla="*/ 295918 w 588498"/>
                <a:gd name="connsiteY34" fmla="*/ 332002 h 461947"/>
                <a:gd name="connsiteX35" fmla="*/ 294299 w 588498"/>
                <a:gd name="connsiteY35" fmla="*/ 332812 h 461947"/>
                <a:gd name="connsiteX36" fmla="*/ 401169 w 588498"/>
                <a:gd name="connsiteY36" fmla="*/ 274924 h 461947"/>
                <a:gd name="connsiteX37" fmla="*/ 392668 w 588498"/>
                <a:gd name="connsiteY37" fmla="*/ 270066 h 461947"/>
                <a:gd name="connsiteX38" fmla="*/ 396311 w 588498"/>
                <a:gd name="connsiteY38" fmla="*/ 257112 h 461947"/>
                <a:gd name="connsiteX39" fmla="*/ 434768 w 588498"/>
                <a:gd name="connsiteY39" fmla="*/ 235657 h 461947"/>
                <a:gd name="connsiteX40" fmla="*/ 434768 w 588498"/>
                <a:gd name="connsiteY40" fmla="*/ 192342 h 461947"/>
                <a:gd name="connsiteX41" fmla="*/ 444484 w 588498"/>
                <a:gd name="connsiteY41" fmla="*/ 182627 h 461947"/>
                <a:gd name="connsiteX42" fmla="*/ 454200 w 588498"/>
                <a:gd name="connsiteY42" fmla="*/ 192342 h 461947"/>
                <a:gd name="connsiteX43" fmla="*/ 454200 w 588498"/>
                <a:gd name="connsiteY43" fmla="*/ 241324 h 461947"/>
                <a:gd name="connsiteX44" fmla="*/ 449342 w 588498"/>
                <a:gd name="connsiteY44" fmla="*/ 249825 h 461947"/>
                <a:gd name="connsiteX45" fmla="*/ 406027 w 588498"/>
                <a:gd name="connsiteY45" fmla="*/ 273709 h 461947"/>
                <a:gd name="connsiteX46" fmla="*/ 401169 w 588498"/>
                <a:gd name="connsiteY46" fmla="*/ 274924 h 461947"/>
                <a:gd name="connsiteX47" fmla="*/ 186618 w 588498"/>
                <a:gd name="connsiteY47" fmla="*/ 274114 h 461947"/>
                <a:gd name="connsiteX48" fmla="*/ 182166 w 588498"/>
                <a:gd name="connsiteY48" fmla="*/ 272900 h 461947"/>
                <a:gd name="connsiteX49" fmla="*/ 139660 w 588498"/>
                <a:gd name="connsiteY49" fmla="*/ 249825 h 461947"/>
                <a:gd name="connsiteX50" fmla="*/ 134803 w 588498"/>
                <a:gd name="connsiteY50" fmla="*/ 241324 h 461947"/>
                <a:gd name="connsiteX51" fmla="*/ 134803 w 588498"/>
                <a:gd name="connsiteY51" fmla="*/ 189103 h 461947"/>
                <a:gd name="connsiteX52" fmla="*/ 144518 w 588498"/>
                <a:gd name="connsiteY52" fmla="*/ 179388 h 461947"/>
                <a:gd name="connsiteX53" fmla="*/ 154233 w 588498"/>
                <a:gd name="connsiteY53" fmla="*/ 189103 h 461947"/>
                <a:gd name="connsiteX54" fmla="*/ 154233 w 588498"/>
                <a:gd name="connsiteY54" fmla="*/ 235252 h 461947"/>
                <a:gd name="connsiteX55" fmla="*/ 191881 w 588498"/>
                <a:gd name="connsiteY55" fmla="*/ 255898 h 461947"/>
                <a:gd name="connsiteX56" fmla="*/ 195929 w 588498"/>
                <a:gd name="connsiteY56" fmla="*/ 268852 h 461947"/>
                <a:gd name="connsiteX57" fmla="*/ 186618 w 588498"/>
                <a:gd name="connsiteY57" fmla="*/ 274114 h 461947"/>
                <a:gd name="connsiteX58" fmla="*/ 294299 w 588498"/>
                <a:gd name="connsiteY58" fmla="*/ 229180 h 461947"/>
                <a:gd name="connsiteX59" fmla="*/ 284583 w 588498"/>
                <a:gd name="connsiteY59" fmla="*/ 219464 h 461947"/>
                <a:gd name="connsiteX60" fmla="*/ 284583 w 588498"/>
                <a:gd name="connsiteY60" fmla="*/ 178174 h 461947"/>
                <a:gd name="connsiteX61" fmla="*/ 243697 w 588498"/>
                <a:gd name="connsiteY61" fmla="*/ 155909 h 461947"/>
                <a:gd name="connsiteX62" fmla="*/ 239649 w 588498"/>
                <a:gd name="connsiteY62" fmla="*/ 142955 h 461947"/>
                <a:gd name="connsiteX63" fmla="*/ 252603 w 588498"/>
                <a:gd name="connsiteY63" fmla="*/ 138907 h 461947"/>
                <a:gd name="connsiteX64" fmla="*/ 293894 w 588498"/>
                <a:gd name="connsiteY64" fmla="*/ 161171 h 461947"/>
                <a:gd name="connsiteX65" fmla="*/ 334375 w 588498"/>
                <a:gd name="connsiteY65" fmla="*/ 139716 h 461947"/>
                <a:gd name="connsiteX66" fmla="*/ 347329 w 588498"/>
                <a:gd name="connsiteY66" fmla="*/ 143765 h 461947"/>
                <a:gd name="connsiteX67" fmla="*/ 343281 w 588498"/>
                <a:gd name="connsiteY67" fmla="*/ 156718 h 461947"/>
                <a:gd name="connsiteX68" fmla="*/ 303204 w 588498"/>
                <a:gd name="connsiteY68" fmla="*/ 178174 h 461947"/>
                <a:gd name="connsiteX69" fmla="*/ 303204 w 588498"/>
                <a:gd name="connsiteY69" fmla="*/ 219464 h 461947"/>
                <a:gd name="connsiteX70" fmla="*/ 294299 w 588498"/>
                <a:gd name="connsiteY70" fmla="*/ 229180 h 461947"/>
                <a:gd name="connsiteX71" fmla="*/ 144113 w 588498"/>
                <a:gd name="connsiteY71" fmla="*/ 155504 h 461947"/>
                <a:gd name="connsiteX72" fmla="*/ 134398 w 588498"/>
                <a:gd name="connsiteY72" fmla="*/ 145789 h 461947"/>
                <a:gd name="connsiteX73" fmla="*/ 134398 w 588498"/>
                <a:gd name="connsiteY73" fmla="*/ 91544 h 461947"/>
                <a:gd name="connsiteX74" fmla="*/ 134398 w 588498"/>
                <a:gd name="connsiteY74" fmla="*/ 91544 h 461947"/>
                <a:gd name="connsiteX75" fmla="*/ 134803 w 588498"/>
                <a:gd name="connsiteY75" fmla="*/ 89115 h 461947"/>
                <a:gd name="connsiteX76" fmla="*/ 136017 w 588498"/>
                <a:gd name="connsiteY76" fmla="*/ 86281 h 461947"/>
                <a:gd name="connsiteX77" fmla="*/ 137636 w 588498"/>
                <a:gd name="connsiteY77" fmla="*/ 84257 h 461947"/>
                <a:gd name="connsiteX78" fmla="*/ 139255 w 588498"/>
                <a:gd name="connsiteY78" fmla="*/ 83043 h 461947"/>
                <a:gd name="connsiteX79" fmla="*/ 139660 w 588498"/>
                <a:gd name="connsiteY79" fmla="*/ 82638 h 461947"/>
                <a:gd name="connsiteX80" fmla="*/ 183785 w 588498"/>
                <a:gd name="connsiteY80" fmla="*/ 58754 h 461947"/>
                <a:gd name="connsiteX81" fmla="*/ 196739 w 588498"/>
                <a:gd name="connsiteY81" fmla="*/ 62802 h 461947"/>
                <a:gd name="connsiteX82" fmla="*/ 192691 w 588498"/>
                <a:gd name="connsiteY82" fmla="*/ 75756 h 461947"/>
                <a:gd name="connsiteX83" fmla="*/ 164354 w 588498"/>
                <a:gd name="connsiteY83" fmla="*/ 91139 h 461947"/>
                <a:gd name="connsiteX84" fmla="*/ 195120 w 588498"/>
                <a:gd name="connsiteY84" fmla="*/ 107331 h 461947"/>
                <a:gd name="connsiteX85" fmla="*/ 199168 w 588498"/>
                <a:gd name="connsiteY85" fmla="*/ 120285 h 461947"/>
                <a:gd name="connsiteX86" fmla="*/ 186214 w 588498"/>
                <a:gd name="connsiteY86" fmla="*/ 124333 h 461947"/>
                <a:gd name="connsiteX87" fmla="*/ 153829 w 588498"/>
                <a:gd name="connsiteY87" fmla="*/ 106927 h 461947"/>
                <a:gd name="connsiteX88" fmla="*/ 153829 w 588498"/>
                <a:gd name="connsiteY88" fmla="*/ 145384 h 461947"/>
                <a:gd name="connsiteX89" fmla="*/ 144113 w 588498"/>
                <a:gd name="connsiteY89" fmla="*/ 155504 h 461947"/>
                <a:gd name="connsiteX90" fmla="*/ 444484 w 588498"/>
                <a:gd name="connsiteY90" fmla="*/ 151861 h 461947"/>
                <a:gd name="connsiteX91" fmla="*/ 434768 w 588498"/>
                <a:gd name="connsiteY91" fmla="*/ 142145 h 461947"/>
                <a:gd name="connsiteX92" fmla="*/ 434768 w 588498"/>
                <a:gd name="connsiteY92" fmla="*/ 107736 h 461947"/>
                <a:gd name="connsiteX93" fmla="*/ 405622 w 588498"/>
                <a:gd name="connsiteY93" fmla="*/ 123524 h 461947"/>
                <a:gd name="connsiteX94" fmla="*/ 392668 w 588498"/>
                <a:gd name="connsiteY94" fmla="*/ 119476 h 461947"/>
                <a:gd name="connsiteX95" fmla="*/ 396716 w 588498"/>
                <a:gd name="connsiteY95" fmla="*/ 106522 h 461947"/>
                <a:gd name="connsiteX96" fmla="*/ 424243 w 588498"/>
                <a:gd name="connsiteY96" fmla="*/ 91948 h 461947"/>
                <a:gd name="connsiteX97" fmla="*/ 393883 w 588498"/>
                <a:gd name="connsiteY97" fmla="*/ 74946 h 461947"/>
                <a:gd name="connsiteX98" fmla="*/ 390239 w 588498"/>
                <a:gd name="connsiteY98" fmla="*/ 61992 h 461947"/>
                <a:gd name="connsiteX99" fmla="*/ 403193 w 588498"/>
                <a:gd name="connsiteY99" fmla="*/ 58349 h 461947"/>
                <a:gd name="connsiteX100" fmla="*/ 446508 w 588498"/>
                <a:gd name="connsiteY100" fmla="*/ 83043 h 461947"/>
                <a:gd name="connsiteX101" fmla="*/ 449342 w 588498"/>
                <a:gd name="connsiteY101" fmla="*/ 84257 h 461947"/>
                <a:gd name="connsiteX102" fmla="*/ 454200 w 588498"/>
                <a:gd name="connsiteY102" fmla="*/ 92353 h 461947"/>
                <a:gd name="connsiteX103" fmla="*/ 454200 w 588498"/>
                <a:gd name="connsiteY103" fmla="*/ 142955 h 461947"/>
                <a:gd name="connsiteX104" fmla="*/ 444484 w 588498"/>
                <a:gd name="connsiteY104" fmla="*/ 151861 h 461947"/>
                <a:gd name="connsiteX105" fmla="*/ 250174 w 588498"/>
                <a:gd name="connsiteY105" fmla="*/ 43776 h 461947"/>
                <a:gd name="connsiteX106" fmla="*/ 241673 w 588498"/>
                <a:gd name="connsiteY106" fmla="*/ 38918 h 461947"/>
                <a:gd name="connsiteX107" fmla="*/ 245721 w 588498"/>
                <a:gd name="connsiteY107" fmla="*/ 25964 h 461947"/>
                <a:gd name="connsiteX108" fmla="*/ 289846 w 588498"/>
                <a:gd name="connsiteY108" fmla="*/ 2080 h 461947"/>
                <a:gd name="connsiteX109" fmla="*/ 293894 w 588498"/>
                <a:gd name="connsiteY109" fmla="*/ 866 h 461947"/>
                <a:gd name="connsiteX110" fmla="*/ 302395 w 588498"/>
                <a:gd name="connsiteY110" fmla="*/ 1271 h 461947"/>
                <a:gd name="connsiteX111" fmla="*/ 344900 w 588498"/>
                <a:gd name="connsiteY111" fmla="*/ 25154 h 461947"/>
                <a:gd name="connsiteX112" fmla="*/ 348543 w 588498"/>
                <a:gd name="connsiteY112" fmla="*/ 38108 h 461947"/>
                <a:gd name="connsiteX113" fmla="*/ 335589 w 588498"/>
                <a:gd name="connsiteY113" fmla="*/ 41752 h 461947"/>
                <a:gd name="connsiteX114" fmla="*/ 296728 w 588498"/>
                <a:gd name="connsiteY114" fmla="*/ 19892 h 461947"/>
                <a:gd name="connsiteX115" fmla="*/ 255032 w 588498"/>
                <a:gd name="connsiteY115" fmla="*/ 42561 h 461947"/>
                <a:gd name="connsiteX116" fmla="*/ 250174 w 588498"/>
                <a:gd name="connsiteY116" fmla="*/ 43776 h 461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588498" h="461947">
                  <a:moveTo>
                    <a:pt x="294299" y="461947"/>
                  </a:moveTo>
                  <a:cubicBezTo>
                    <a:pt x="292679" y="461947"/>
                    <a:pt x="291060" y="461542"/>
                    <a:pt x="289846" y="460733"/>
                  </a:cubicBezTo>
                  <a:lnTo>
                    <a:pt x="5263" y="307714"/>
                  </a:lnTo>
                  <a:cubicBezTo>
                    <a:pt x="2024" y="306094"/>
                    <a:pt x="0" y="302856"/>
                    <a:pt x="0" y="299212"/>
                  </a:cubicBezTo>
                  <a:cubicBezTo>
                    <a:pt x="0" y="295569"/>
                    <a:pt x="2024" y="292331"/>
                    <a:pt x="5263" y="290711"/>
                  </a:cubicBezTo>
                  <a:lnTo>
                    <a:pt x="85011" y="248206"/>
                  </a:lnTo>
                  <a:cubicBezTo>
                    <a:pt x="89868" y="245777"/>
                    <a:pt x="95536" y="247397"/>
                    <a:pt x="97965" y="252254"/>
                  </a:cubicBezTo>
                  <a:cubicBezTo>
                    <a:pt x="100393" y="257112"/>
                    <a:pt x="98774" y="262779"/>
                    <a:pt x="93916" y="265208"/>
                  </a:cubicBezTo>
                  <a:lnTo>
                    <a:pt x="30361" y="299212"/>
                  </a:lnTo>
                  <a:lnTo>
                    <a:pt x="294299" y="441302"/>
                  </a:lnTo>
                  <a:lnTo>
                    <a:pt x="557832" y="299617"/>
                  </a:lnTo>
                  <a:lnTo>
                    <a:pt x="493871" y="263589"/>
                  </a:lnTo>
                  <a:cubicBezTo>
                    <a:pt x="489418" y="261160"/>
                    <a:pt x="487799" y="255088"/>
                    <a:pt x="490228" y="250635"/>
                  </a:cubicBezTo>
                  <a:cubicBezTo>
                    <a:pt x="493062" y="246182"/>
                    <a:pt x="498729" y="244563"/>
                    <a:pt x="503182" y="246992"/>
                  </a:cubicBezTo>
                  <a:lnTo>
                    <a:pt x="578882" y="289902"/>
                  </a:lnTo>
                  <a:cubicBezTo>
                    <a:pt x="582120" y="289902"/>
                    <a:pt x="585359" y="291926"/>
                    <a:pt x="587383" y="295164"/>
                  </a:cubicBezTo>
                  <a:cubicBezTo>
                    <a:pt x="589812" y="300022"/>
                    <a:pt x="588193" y="305690"/>
                    <a:pt x="583335" y="308118"/>
                  </a:cubicBezTo>
                  <a:lnTo>
                    <a:pt x="298752" y="461137"/>
                  </a:lnTo>
                  <a:cubicBezTo>
                    <a:pt x="297537" y="461542"/>
                    <a:pt x="295918" y="461947"/>
                    <a:pt x="294299" y="461947"/>
                  </a:cubicBezTo>
                  <a:close/>
                  <a:moveTo>
                    <a:pt x="294299" y="332812"/>
                  </a:moveTo>
                  <a:cubicBezTo>
                    <a:pt x="293489" y="332812"/>
                    <a:pt x="292679" y="332812"/>
                    <a:pt x="291870" y="332407"/>
                  </a:cubicBezTo>
                  <a:cubicBezTo>
                    <a:pt x="291060" y="332002"/>
                    <a:pt x="290251" y="332002"/>
                    <a:pt x="289441" y="331597"/>
                  </a:cubicBezTo>
                  <a:lnTo>
                    <a:pt x="245316" y="307714"/>
                  </a:lnTo>
                  <a:cubicBezTo>
                    <a:pt x="240458" y="305285"/>
                    <a:pt x="238839" y="299212"/>
                    <a:pt x="241268" y="294760"/>
                  </a:cubicBezTo>
                  <a:cubicBezTo>
                    <a:pt x="243697" y="289902"/>
                    <a:pt x="249769" y="288283"/>
                    <a:pt x="254222" y="290711"/>
                  </a:cubicBezTo>
                  <a:lnTo>
                    <a:pt x="284178" y="306904"/>
                  </a:lnTo>
                  <a:lnTo>
                    <a:pt x="284178" y="274114"/>
                  </a:lnTo>
                  <a:cubicBezTo>
                    <a:pt x="284178" y="268852"/>
                    <a:pt x="288631" y="264399"/>
                    <a:pt x="293894" y="264399"/>
                  </a:cubicBezTo>
                  <a:cubicBezTo>
                    <a:pt x="299156" y="264399"/>
                    <a:pt x="303609" y="268852"/>
                    <a:pt x="303609" y="274114"/>
                  </a:cubicBezTo>
                  <a:lnTo>
                    <a:pt x="303609" y="306904"/>
                  </a:lnTo>
                  <a:lnTo>
                    <a:pt x="334375" y="290307"/>
                  </a:lnTo>
                  <a:cubicBezTo>
                    <a:pt x="339233" y="287878"/>
                    <a:pt x="344900" y="289497"/>
                    <a:pt x="347329" y="294355"/>
                  </a:cubicBezTo>
                  <a:cubicBezTo>
                    <a:pt x="349758" y="299212"/>
                    <a:pt x="348139" y="304880"/>
                    <a:pt x="343281" y="307309"/>
                  </a:cubicBezTo>
                  <a:lnTo>
                    <a:pt x="298347" y="331193"/>
                  </a:lnTo>
                  <a:cubicBezTo>
                    <a:pt x="297537" y="331597"/>
                    <a:pt x="296728" y="332002"/>
                    <a:pt x="295918" y="332002"/>
                  </a:cubicBezTo>
                  <a:cubicBezTo>
                    <a:pt x="295918" y="332407"/>
                    <a:pt x="295108" y="332812"/>
                    <a:pt x="294299" y="332812"/>
                  </a:cubicBezTo>
                  <a:close/>
                  <a:moveTo>
                    <a:pt x="401169" y="274924"/>
                  </a:moveTo>
                  <a:cubicBezTo>
                    <a:pt x="397931" y="274924"/>
                    <a:pt x="394287" y="273305"/>
                    <a:pt x="392668" y="270066"/>
                  </a:cubicBezTo>
                  <a:cubicBezTo>
                    <a:pt x="390239" y="265208"/>
                    <a:pt x="391858" y="259541"/>
                    <a:pt x="396311" y="257112"/>
                  </a:cubicBezTo>
                  <a:lnTo>
                    <a:pt x="434768" y="235657"/>
                  </a:lnTo>
                  <a:lnTo>
                    <a:pt x="434768" y="192342"/>
                  </a:lnTo>
                  <a:cubicBezTo>
                    <a:pt x="434768" y="187079"/>
                    <a:pt x="439222" y="182627"/>
                    <a:pt x="444484" y="182627"/>
                  </a:cubicBezTo>
                  <a:cubicBezTo>
                    <a:pt x="449747" y="182627"/>
                    <a:pt x="454200" y="187079"/>
                    <a:pt x="454200" y="192342"/>
                  </a:cubicBezTo>
                  <a:lnTo>
                    <a:pt x="454200" y="241324"/>
                  </a:lnTo>
                  <a:cubicBezTo>
                    <a:pt x="454200" y="244968"/>
                    <a:pt x="452176" y="248206"/>
                    <a:pt x="449342" y="249825"/>
                  </a:cubicBezTo>
                  <a:lnTo>
                    <a:pt x="406027" y="273709"/>
                  </a:lnTo>
                  <a:cubicBezTo>
                    <a:pt x="404408" y="274519"/>
                    <a:pt x="402788" y="274924"/>
                    <a:pt x="401169" y="274924"/>
                  </a:cubicBezTo>
                  <a:close/>
                  <a:moveTo>
                    <a:pt x="186618" y="274114"/>
                  </a:moveTo>
                  <a:cubicBezTo>
                    <a:pt x="184999" y="274114"/>
                    <a:pt x="183380" y="273709"/>
                    <a:pt x="182166" y="272900"/>
                  </a:cubicBezTo>
                  <a:lnTo>
                    <a:pt x="139660" y="249825"/>
                  </a:lnTo>
                  <a:cubicBezTo>
                    <a:pt x="136422" y="248206"/>
                    <a:pt x="134803" y="244968"/>
                    <a:pt x="134803" y="241324"/>
                  </a:cubicBezTo>
                  <a:lnTo>
                    <a:pt x="134803" y="189103"/>
                  </a:lnTo>
                  <a:cubicBezTo>
                    <a:pt x="134803" y="183841"/>
                    <a:pt x="139255" y="179388"/>
                    <a:pt x="144518" y="179388"/>
                  </a:cubicBezTo>
                  <a:cubicBezTo>
                    <a:pt x="149781" y="179388"/>
                    <a:pt x="154233" y="183841"/>
                    <a:pt x="154233" y="189103"/>
                  </a:cubicBezTo>
                  <a:lnTo>
                    <a:pt x="154233" y="235252"/>
                  </a:lnTo>
                  <a:lnTo>
                    <a:pt x="191881" y="255898"/>
                  </a:lnTo>
                  <a:cubicBezTo>
                    <a:pt x="196739" y="258326"/>
                    <a:pt x="198358" y="264399"/>
                    <a:pt x="195929" y="268852"/>
                  </a:cubicBezTo>
                  <a:cubicBezTo>
                    <a:pt x="193500" y="272495"/>
                    <a:pt x="189857" y="274114"/>
                    <a:pt x="186618" y="274114"/>
                  </a:cubicBezTo>
                  <a:close/>
                  <a:moveTo>
                    <a:pt x="294299" y="229180"/>
                  </a:moveTo>
                  <a:cubicBezTo>
                    <a:pt x="289036" y="229180"/>
                    <a:pt x="284583" y="224727"/>
                    <a:pt x="284583" y="219464"/>
                  </a:cubicBezTo>
                  <a:lnTo>
                    <a:pt x="284583" y="178174"/>
                  </a:lnTo>
                  <a:lnTo>
                    <a:pt x="243697" y="155909"/>
                  </a:lnTo>
                  <a:cubicBezTo>
                    <a:pt x="238839" y="153480"/>
                    <a:pt x="237220" y="147408"/>
                    <a:pt x="239649" y="142955"/>
                  </a:cubicBezTo>
                  <a:cubicBezTo>
                    <a:pt x="242078" y="138097"/>
                    <a:pt x="248150" y="136478"/>
                    <a:pt x="252603" y="138907"/>
                  </a:cubicBezTo>
                  <a:lnTo>
                    <a:pt x="293894" y="161171"/>
                  </a:lnTo>
                  <a:lnTo>
                    <a:pt x="334375" y="139716"/>
                  </a:lnTo>
                  <a:cubicBezTo>
                    <a:pt x="339233" y="137287"/>
                    <a:pt x="344900" y="138907"/>
                    <a:pt x="347329" y="143765"/>
                  </a:cubicBezTo>
                  <a:cubicBezTo>
                    <a:pt x="349758" y="148622"/>
                    <a:pt x="348139" y="154290"/>
                    <a:pt x="343281" y="156718"/>
                  </a:cubicBezTo>
                  <a:lnTo>
                    <a:pt x="303204" y="178174"/>
                  </a:lnTo>
                  <a:lnTo>
                    <a:pt x="303204" y="219464"/>
                  </a:lnTo>
                  <a:cubicBezTo>
                    <a:pt x="304014" y="225132"/>
                    <a:pt x="299561" y="229180"/>
                    <a:pt x="294299" y="229180"/>
                  </a:cubicBezTo>
                  <a:close/>
                  <a:moveTo>
                    <a:pt x="144113" y="155504"/>
                  </a:moveTo>
                  <a:cubicBezTo>
                    <a:pt x="138851" y="155504"/>
                    <a:pt x="134398" y="151051"/>
                    <a:pt x="134398" y="145789"/>
                  </a:cubicBezTo>
                  <a:lnTo>
                    <a:pt x="134398" y="91544"/>
                  </a:lnTo>
                  <a:cubicBezTo>
                    <a:pt x="134398" y="91544"/>
                    <a:pt x="134398" y="91544"/>
                    <a:pt x="134398" y="91544"/>
                  </a:cubicBezTo>
                  <a:cubicBezTo>
                    <a:pt x="134398" y="90734"/>
                    <a:pt x="134398" y="89924"/>
                    <a:pt x="134803" y="89115"/>
                  </a:cubicBezTo>
                  <a:cubicBezTo>
                    <a:pt x="135207" y="88305"/>
                    <a:pt x="135207" y="87091"/>
                    <a:pt x="136017" y="86281"/>
                  </a:cubicBezTo>
                  <a:cubicBezTo>
                    <a:pt x="136422" y="85472"/>
                    <a:pt x="136827" y="85067"/>
                    <a:pt x="137636" y="84257"/>
                  </a:cubicBezTo>
                  <a:cubicBezTo>
                    <a:pt x="138041" y="83852"/>
                    <a:pt x="138851" y="83447"/>
                    <a:pt x="139255" y="83043"/>
                  </a:cubicBezTo>
                  <a:cubicBezTo>
                    <a:pt x="139255" y="83043"/>
                    <a:pt x="139660" y="82638"/>
                    <a:pt x="139660" y="82638"/>
                  </a:cubicBezTo>
                  <a:lnTo>
                    <a:pt x="183785" y="58754"/>
                  </a:lnTo>
                  <a:cubicBezTo>
                    <a:pt x="188643" y="56325"/>
                    <a:pt x="194310" y="57944"/>
                    <a:pt x="196739" y="62802"/>
                  </a:cubicBezTo>
                  <a:cubicBezTo>
                    <a:pt x="199168" y="67660"/>
                    <a:pt x="197548" y="73327"/>
                    <a:pt x="192691" y="75756"/>
                  </a:cubicBezTo>
                  <a:lnTo>
                    <a:pt x="164354" y="91139"/>
                  </a:lnTo>
                  <a:lnTo>
                    <a:pt x="195120" y="107331"/>
                  </a:lnTo>
                  <a:cubicBezTo>
                    <a:pt x="199977" y="109760"/>
                    <a:pt x="201597" y="115832"/>
                    <a:pt x="199168" y="120285"/>
                  </a:cubicBezTo>
                  <a:cubicBezTo>
                    <a:pt x="196739" y="125143"/>
                    <a:pt x="190667" y="126762"/>
                    <a:pt x="186214" y="124333"/>
                  </a:cubicBezTo>
                  <a:lnTo>
                    <a:pt x="153829" y="106927"/>
                  </a:lnTo>
                  <a:lnTo>
                    <a:pt x="153829" y="145384"/>
                  </a:lnTo>
                  <a:cubicBezTo>
                    <a:pt x="153829" y="151456"/>
                    <a:pt x="149376" y="155504"/>
                    <a:pt x="144113" y="155504"/>
                  </a:cubicBezTo>
                  <a:close/>
                  <a:moveTo>
                    <a:pt x="444484" y="151861"/>
                  </a:moveTo>
                  <a:cubicBezTo>
                    <a:pt x="439222" y="151861"/>
                    <a:pt x="434768" y="147408"/>
                    <a:pt x="434768" y="142145"/>
                  </a:cubicBezTo>
                  <a:lnTo>
                    <a:pt x="434768" y="107736"/>
                  </a:lnTo>
                  <a:lnTo>
                    <a:pt x="405622" y="123524"/>
                  </a:lnTo>
                  <a:cubicBezTo>
                    <a:pt x="400764" y="125953"/>
                    <a:pt x="395097" y="124333"/>
                    <a:pt x="392668" y="119476"/>
                  </a:cubicBezTo>
                  <a:cubicBezTo>
                    <a:pt x="390239" y="114618"/>
                    <a:pt x="391858" y="108951"/>
                    <a:pt x="396716" y="106522"/>
                  </a:cubicBezTo>
                  <a:lnTo>
                    <a:pt x="424243" y="91948"/>
                  </a:lnTo>
                  <a:lnTo>
                    <a:pt x="393883" y="74946"/>
                  </a:lnTo>
                  <a:cubicBezTo>
                    <a:pt x="389430" y="72113"/>
                    <a:pt x="387810" y="66445"/>
                    <a:pt x="390239" y="61992"/>
                  </a:cubicBezTo>
                  <a:cubicBezTo>
                    <a:pt x="392668" y="57539"/>
                    <a:pt x="398740" y="55920"/>
                    <a:pt x="403193" y="58349"/>
                  </a:cubicBezTo>
                  <a:lnTo>
                    <a:pt x="446508" y="83043"/>
                  </a:lnTo>
                  <a:cubicBezTo>
                    <a:pt x="447318" y="83447"/>
                    <a:pt x="448532" y="83447"/>
                    <a:pt x="449342" y="84257"/>
                  </a:cubicBezTo>
                  <a:cubicBezTo>
                    <a:pt x="452176" y="85876"/>
                    <a:pt x="454200" y="89115"/>
                    <a:pt x="454200" y="92353"/>
                  </a:cubicBezTo>
                  <a:lnTo>
                    <a:pt x="454200" y="142955"/>
                  </a:lnTo>
                  <a:cubicBezTo>
                    <a:pt x="454200" y="147408"/>
                    <a:pt x="450152" y="151861"/>
                    <a:pt x="444484" y="151861"/>
                  </a:cubicBezTo>
                  <a:close/>
                  <a:moveTo>
                    <a:pt x="250174" y="43776"/>
                  </a:moveTo>
                  <a:cubicBezTo>
                    <a:pt x="246936" y="43776"/>
                    <a:pt x="243292" y="41752"/>
                    <a:pt x="241673" y="38918"/>
                  </a:cubicBezTo>
                  <a:cubicBezTo>
                    <a:pt x="239244" y="34060"/>
                    <a:pt x="240863" y="28393"/>
                    <a:pt x="245721" y="25964"/>
                  </a:cubicBezTo>
                  <a:lnTo>
                    <a:pt x="289846" y="2080"/>
                  </a:lnTo>
                  <a:cubicBezTo>
                    <a:pt x="291060" y="1271"/>
                    <a:pt x="292275" y="866"/>
                    <a:pt x="293894" y="866"/>
                  </a:cubicBezTo>
                  <a:cubicBezTo>
                    <a:pt x="296728" y="-349"/>
                    <a:pt x="299966" y="-349"/>
                    <a:pt x="302395" y="1271"/>
                  </a:cubicBezTo>
                  <a:lnTo>
                    <a:pt x="344900" y="25154"/>
                  </a:lnTo>
                  <a:cubicBezTo>
                    <a:pt x="349353" y="27583"/>
                    <a:pt x="351377" y="33656"/>
                    <a:pt x="348543" y="38108"/>
                  </a:cubicBezTo>
                  <a:cubicBezTo>
                    <a:pt x="346115" y="42561"/>
                    <a:pt x="340043" y="44181"/>
                    <a:pt x="335589" y="41752"/>
                  </a:cubicBezTo>
                  <a:lnTo>
                    <a:pt x="296728" y="19892"/>
                  </a:lnTo>
                  <a:lnTo>
                    <a:pt x="255032" y="42561"/>
                  </a:lnTo>
                  <a:cubicBezTo>
                    <a:pt x="253413" y="43371"/>
                    <a:pt x="251793" y="43776"/>
                    <a:pt x="250174" y="43776"/>
                  </a:cubicBezTo>
                  <a:close/>
                </a:path>
              </a:pathLst>
            </a:custGeom>
            <a:solidFill>
              <a:schemeClr val="bg1"/>
            </a:solidFill>
            <a:ln w="40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861"/>
                </a:solidFill>
                <a:effectLst/>
                <a:uLnTx/>
                <a:uFillTx/>
                <a:latin typeface="ES Build Neutral"/>
                <a:ea typeface="+mn-ea"/>
                <a:cs typeface="+mn-cs"/>
              </a:endParaRPr>
            </a:p>
          </p:txBody>
        </p:sp>
        <p:grpSp>
          <p:nvGrpSpPr>
            <p:cNvPr id="19" name="Group 18">
              <a:extLst>
                <a:ext uri="{FF2B5EF4-FFF2-40B4-BE49-F238E27FC236}">
                  <a16:creationId xmlns:a16="http://schemas.microsoft.com/office/drawing/2014/main" id="{8DA6C863-7A52-6E26-CA1D-D4A26971407E}"/>
                </a:ext>
              </a:extLst>
            </p:cNvPr>
            <p:cNvGrpSpPr/>
            <p:nvPr/>
          </p:nvGrpSpPr>
          <p:grpSpPr>
            <a:xfrm>
              <a:off x="2717428" y="1711717"/>
              <a:ext cx="951143" cy="951645"/>
              <a:chOff x="3075428" y="1711717"/>
              <a:chExt cx="1180036" cy="1180659"/>
            </a:xfrm>
          </p:grpSpPr>
          <p:sp>
            <p:nvSpPr>
              <p:cNvPr id="135" name="Freeform 134">
                <a:extLst>
                  <a:ext uri="{FF2B5EF4-FFF2-40B4-BE49-F238E27FC236}">
                    <a16:creationId xmlns:a16="http://schemas.microsoft.com/office/drawing/2014/main" id="{4C277658-370B-0477-0A5E-C79599FB2859}"/>
                  </a:ext>
                </a:extLst>
              </p:cNvPr>
              <p:cNvSpPr/>
              <p:nvPr/>
            </p:nvSpPr>
            <p:spPr>
              <a:xfrm>
                <a:off x="3075428" y="1711717"/>
                <a:ext cx="1180036" cy="1180659"/>
              </a:xfrm>
              <a:custGeom>
                <a:avLst/>
                <a:gdLst>
                  <a:gd name="connsiteX0" fmla="*/ 1093102 w 1180036"/>
                  <a:gd name="connsiteY0" fmla="*/ 1180660 h 1180659"/>
                  <a:gd name="connsiteX1" fmla="*/ 86934 w 1180036"/>
                  <a:gd name="connsiteY1" fmla="*/ 1180660 h 1180659"/>
                  <a:gd name="connsiteX2" fmla="*/ 0 w 1180036"/>
                  <a:gd name="connsiteY2" fmla="*/ 1093680 h 1180659"/>
                  <a:gd name="connsiteX3" fmla="*/ 0 w 1180036"/>
                  <a:gd name="connsiteY3" fmla="*/ 86980 h 1180659"/>
                  <a:gd name="connsiteX4" fmla="*/ 86934 w 1180036"/>
                  <a:gd name="connsiteY4" fmla="*/ 0 h 1180659"/>
                  <a:gd name="connsiteX5" fmla="*/ 1093102 w 1180036"/>
                  <a:gd name="connsiteY5" fmla="*/ 0 h 1180659"/>
                  <a:gd name="connsiteX6" fmla="*/ 1180036 w 1180036"/>
                  <a:gd name="connsiteY6" fmla="*/ 86980 h 1180659"/>
                  <a:gd name="connsiteX7" fmla="*/ 1180036 w 1180036"/>
                  <a:gd name="connsiteY7" fmla="*/ 1093680 h 1180659"/>
                  <a:gd name="connsiteX8" fmla="*/ 1093102 w 1180036"/>
                  <a:gd name="connsiteY8" fmla="*/ 1180660 h 118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036" h="1180659">
                    <a:moveTo>
                      <a:pt x="1093102" y="1180660"/>
                    </a:moveTo>
                    <a:lnTo>
                      <a:pt x="86934" y="1180660"/>
                    </a:lnTo>
                    <a:cubicBezTo>
                      <a:pt x="38911" y="1180660"/>
                      <a:pt x="0" y="1141728"/>
                      <a:pt x="0" y="1093680"/>
                    </a:cubicBezTo>
                    <a:lnTo>
                      <a:pt x="0" y="86980"/>
                    </a:lnTo>
                    <a:cubicBezTo>
                      <a:pt x="0" y="38932"/>
                      <a:pt x="38911" y="0"/>
                      <a:pt x="86934" y="0"/>
                    </a:cubicBezTo>
                    <a:lnTo>
                      <a:pt x="1093102" y="0"/>
                    </a:lnTo>
                    <a:cubicBezTo>
                      <a:pt x="1141125" y="0"/>
                      <a:pt x="1180036" y="38932"/>
                      <a:pt x="1180036" y="86980"/>
                    </a:cubicBezTo>
                    <a:lnTo>
                      <a:pt x="1180036" y="1093680"/>
                    </a:lnTo>
                    <a:cubicBezTo>
                      <a:pt x="1180036" y="1141728"/>
                      <a:pt x="1141125" y="1180660"/>
                      <a:pt x="1093102" y="1180660"/>
                    </a:cubicBezTo>
                  </a:path>
                </a:pathLst>
              </a:custGeom>
              <a:solidFill>
                <a:schemeClr val="tx1"/>
              </a:solidFill>
              <a:ln w="0" cap="flat">
                <a:noFill/>
                <a:prstDash val="solid"/>
                <a:miter/>
              </a:ln>
            </p:spPr>
            <p:txBody>
              <a:bodyPr rtlCol="0" anchor="ctr"/>
              <a:lstStyle/>
              <a:p>
                <a:endParaRPr lang="en-US" sz="1400"/>
              </a:p>
            </p:txBody>
          </p:sp>
          <p:pic>
            <p:nvPicPr>
              <p:cNvPr id="9" name="Graphic 8">
                <a:extLst>
                  <a:ext uri="{FF2B5EF4-FFF2-40B4-BE49-F238E27FC236}">
                    <a16:creationId xmlns:a16="http://schemas.microsoft.com/office/drawing/2014/main" id="{8431C1B1-1E62-E493-30E1-840AB6327967}"/>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3340263" y="1824529"/>
                <a:ext cx="645068" cy="645068"/>
              </a:xfrm>
              <a:prstGeom prst="rect">
                <a:avLst/>
              </a:prstGeom>
            </p:spPr>
          </p:pic>
        </p:grpSp>
        <p:grpSp>
          <p:nvGrpSpPr>
            <p:cNvPr id="18" name="Group 17">
              <a:extLst>
                <a:ext uri="{FF2B5EF4-FFF2-40B4-BE49-F238E27FC236}">
                  <a16:creationId xmlns:a16="http://schemas.microsoft.com/office/drawing/2014/main" id="{4EF01B09-9CCF-0778-E76A-329E1EDBBC24}"/>
                </a:ext>
              </a:extLst>
            </p:cNvPr>
            <p:cNvGrpSpPr/>
            <p:nvPr/>
          </p:nvGrpSpPr>
          <p:grpSpPr>
            <a:xfrm>
              <a:off x="1608632" y="1711717"/>
              <a:ext cx="951143" cy="951645"/>
              <a:chOff x="1787632" y="1711717"/>
              <a:chExt cx="1180036" cy="1180659"/>
            </a:xfrm>
          </p:grpSpPr>
          <p:sp>
            <p:nvSpPr>
              <p:cNvPr id="62" name="Freeform 61">
                <a:extLst>
                  <a:ext uri="{FF2B5EF4-FFF2-40B4-BE49-F238E27FC236}">
                    <a16:creationId xmlns:a16="http://schemas.microsoft.com/office/drawing/2014/main" id="{1AC4BA3B-C803-2731-AD17-5CAFD295559B}"/>
                  </a:ext>
                </a:extLst>
              </p:cNvPr>
              <p:cNvSpPr/>
              <p:nvPr/>
            </p:nvSpPr>
            <p:spPr>
              <a:xfrm>
                <a:off x="1787632" y="1711717"/>
                <a:ext cx="1180036" cy="1180659"/>
              </a:xfrm>
              <a:custGeom>
                <a:avLst/>
                <a:gdLst>
                  <a:gd name="connsiteX0" fmla="*/ 1093102 w 1180036"/>
                  <a:gd name="connsiteY0" fmla="*/ 1180660 h 1180659"/>
                  <a:gd name="connsiteX1" fmla="*/ 86934 w 1180036"/>
                  <a:gd name="connsiteY1" fmla="*/ 1180660 h 1180659"/>
                  <a:gd name="connsiteX2" fmla="*/ 0 w 1180036"/>
                  <a:gd name="connsiteY2" fmla="*/ 1093680 h 1180659"/>
                  <a:gd name="connsiteX3" fmla="*/ 0 w 1180036"/>
                  <a:gd name="connsiteY3" fmla="*/ 86980 h 1180659"/>
                  <a:gd name="connsiteX4" fmla="*/ 86934 w 1180036"/>
                  <a:gd name="connsiteY4" fmla="*/ 0 h 1180659"/>
                  <a:gd name="connsiteX5" fmla="*/ 1093102 w 1180036"/>
                  <a:gd name="connsiteY5" fmla="*/ 0 h 1180659"/>
                  <a:gd name="connsiteX6" fmla="*/ 1180036 w 1180036"/>
                  <a:gd name="connsiteY6" fmla="*/ 86980 h 1180659"/>
                  <a:gd name="connsiteX7" fmla="*/ 1180036 w 1180036"/>
                  <a:gd name="connsiteY7" fmla="*/ 1093680 h 1180659"/>
                  <a:gd name="connsiteX8" fmla="*/ 1093102 w 1180036"/>
                  <a:gd name="connsiteY8" fmla="*/ 1180660 h 118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036" h="1180659">
                    <a:moveTo>
                      <a:pt x="1093102" y="1180660"/>
                    </a:moveTo>
                    <a:lnTo>
                      <a:pt x="86934" y="1180660"/>
                    </a:lnTo>
                    <a:cubicBezTo>
                      <a:pt x="38911" y="1180660"/>
                      <a:pt x="0" y="1141728"/>
                      <a:pt x="0" y="1093680"/>
                    </a:cubicBezTo>
                    <a:lnTo>
                      <a:pt x="0" y="86980"/>
                    </a:lnTo>
                    <a:cubicBezTo>
                      <a:pt x="0" y="38932"/>
                      <a:pt x="38911" y="0"/>
                      <a:pt x="86934" y="0"/>
                    </a:cubicBezTo>
                    <a:lnTo>
                      <a:pt x="1093102" y="0"/>
                    </a:lnTo>
                    <a:cubicBezTo>
                      <a:pt x="1141125" y="0"/>
                      <a:pt x="1180036" y="38932"/>
                      <a:pt x="1180036" y="86980"/>
                    </a:cubicBezTo>
                    <a:lnTo>
                      <a:pt x="1180036" y="1093680"/>
                    </a:lnTo>
                    <a:cubicBezTo>
                      <a:pt x="1180036" y="1141728"/>
                      <a:pt x="1141125" y="1180660"/>
                      <a:pt x="1093102" y="1180660"/>
                    </a:cubicBezTo>
                  </a:path>
                </a:pathLst>
              </a:custGeom>
              <a:solidFill>
                <a:schemeClr val="tx1"/>
              </a:solidFill>
              <a:ln w="0" cap="flat">
                <a:noFill/>
                <a:prstDash val="solid"/>
                <a:miter/>
              </a:ln>
            </p:spPr>
            <p:txBody>
              <a:bodyPr rtlCol="0" anchor="ctr"/>
              <a:lstStyle/>
              <a:p>
                <a:endParaRPr lang="en-US" sz="1400"/>
              </a:p>
            </p:txBody>
          </p:sp>
          <p:pic>
            <p:nvPicPr>
              <p:cNvPr id="12" name="Graphic 11">
                <a:extLst>
                  <a:ext uri="{FF2B5EF4-FFF2-40B4-BE49-F238E27FC236}">
                    <a16:creationId xmlns:a16="http://schemas.microsoft.com/office/drawing/2014/main" id="{481C77D7-26B4-3957-7008-3CD3B1818233}"/>
                  </a:ext>
                </a:extLst>
              </p:cNvPr>
              <p:cNvPicPr>
                <a:picLocks noChangeAspect="1"/>
              </p:cNvPicPr>
              <p:nvPr/>
            </p:nvPicPr>
            <p:blipFill>
              <a:blip r:embed="rId29">
                <a:extLst>
                  <a:ext uri="{96DAC541-7B7A-43D3-8B79-37D633B846F1}">
                    <asvg:svgBlip xmlns:asvg="http://schemas.microsoft.com/office/drawing/2016/SVG/main" r:embed="rId30"/>
                  </a:ext>
                </a:extLst>
              </a:blip>
              <a:srcRect/>
              <a:stretch/>
            </p:blipFill>
            <p:spPr>
              <a:xfrm>
                <a:off x="2049683" y="1836277"/>
                <a:ext cx="645068" cy="645068"/>
              </a:xfrm>
              <a:prstGeom prst="rect">
                <a:avLst/>
              </a:prstGeom>
            </p:spPr>
          </p:pic>
        </p:grpSp>
        <p:grpSp>
          <p:nvGrpSpPr>
            <p:cNvPr id="17" name="Group 16">
              <a:extLst>
                <a:ext uri="{FF2B5EF4-FFF2-40B4-BE49-F238E27FC236}">
                  <a16:creationId xmlns:a16="http://schemas.microsoft.com/office/drawing/2014/main" id="{C760053D-1423-F986-EA9C-886C0785E219}"/>
                </a:ext>
              </a:extLst>
            </p:cNvPr>
            <p:cNvGrpSpPr/>
            <p:nvPr/>
          </p:nvGrpSpPr>
          <p:grpSpPr>
            <a:xfrm>
              <a:off x="499836" y="1710438"/>
              <a:ext cx="951143" cy="951645"/>
              <a:chOff x="499836" y="1711717"/>
              <a:chExt cx="1180036" cy="1180659"/>
            </a:xfrm>
          </p:grpSpPr>
          <p:sp>
            <p:nvSpPr>
              <p:cNvPr id="7" name="Freeform 6">
                <a:extLst>
                  <a:ext uri="{FF2B5EF4-FFF2-40B4-BE49-F238E27FC236}">
                    <a16:creationId xmlns:a16="http://schemas.microsoft.com/office/drawing/2014/main" id="{B7D64E10-135A-A650-42A3-A0702D6DB6C8}"/>
                  </a:ext>
                </a:extLst>
              </p:cNvPr>
              <p:cNvSpPr/>
              <p:nvPr/>
            </p:nvSpPr>
            <p:spPr>
              <a:xfrm>
                <a:off x="499836" y="1711717"/>
                <a:ext cx="1180036" cy="1180659"/>
              </a:xfrm>
              <a:custGeom>
                <a:avLst/>
                <a:gdLst>
                  <a:gd name="connsiteX0" fmla="*/ 86934 w 1180036"/>
                  <a:gd name="connsiteY0" fmla="*/ 1180660 h 1180659"/>
                  <a:gd name="connsiteX1" fmla="*/ 1093102 w 1180036"/>
                  <a:gd name="connsiteY1" fmla="*/ 1180660 h 1180659"/>
                  <a:gd name="connsiteX2" fmla="*/ 1180036 w 1180036"/>
                  <a:gd name="connsiteY2" fmla="*/ 1093680 h 1180659"/>
                  <a:gd name="connsiteX3" fmla="*/ 1180036 w 1180036"/>
                  <a:gd name="connsiteY3" fmla="*/ 86980 h 1180659"/>
                  <a:gd name="connsiteX4" fmla="*/ 1093102 w 1180036"/>
                  <a:gd name="connsiteY4" fmla="*/ 0 h 1180659"/>
                  <a:gd name="connsiteX5" fmla="*/ 86934 w 1180036"/>
                  <a:gd name="connsiteY5" fmla="*/ 0 h 1180659"/>
                  <a:gd name="connsiteX6" fmla="*/ 0 w 1180036"/>
                  <a:gd name="connsiteY6" fmla="*/ 86980 h 1180659"/>
                  <a:gd name="connsiteX7" fmla="*/ 0 w 1180036"/>
                  <a:gd name="connsiteY7" fmla="*/ 1093680 h 1180659"/>
                  <a:gd name="connsiteX8" fmla="*/ 86934 w 1180036"/>
                  <a:gd name="connsiteY8" fmla="*/ 1180660 h 118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036" h="1180659">
                    <a:moveTo>
                      <a:pt x="86934" y="1180660"/>
                    </a:moveTo>
                    <a:lnTo>
                      <a:pt x="1093102" y="1180660"/>
                    </a:lnTo>
                    <a:cubicBezTo>
                      <a:pt x="1141125" y="1180660"/>
                      <a:pt x="1180036" y="1141728"/>
                      <a:pt x="1180036" y="1093680"/>
                    </a:cubicBezTo>
                    <a:lnTo>
                      <a:pt x="1180036" y="86980"/>
                    </a:lnTo>
                    <a:cubicBezTo>
                      <a:pt x="1180036" y="38932"/>
                      <a:pt x="1141125" y="0"/>
                      <a:pt x="1093102" y="0"/>
                    </a:cubicBezTo>
                    <a:lnTo>
                      <a:pt x="86934" y="0"/>
                    </a:lnTo>
                    <a:cubicBezTo>
                      <a:pt x="38911" y="0"/>
                      <a:pt x="0" y="38932"/>
                      <a:pt x="0" y="86980"/>
                    </a:cubicBezTo>
                    <a:lnTo>
                      <a:pt x="0" y="1093680"/>
                    </a:lnTo>
                    <a:cubicBezTo>
                      <a:pt x="0" y="1141728"/>
                      <a:pt x="38911" y="1180660"/>
                      <a:pt x="86934" y="1180660"/>
                    </a:cubicBezTo>
                  </a:path>
                </a:pathLst>
              </a:custGeom>
              <a:solidFill>
                <a:schemeClr val="tx1"/>
              </a:solidFill>
              <a:ln w="0" cap="flat">
                <a:noFill/>
                <a:prstDash val="solid"/>
                <a:miter/>
              </a:ln>
            </p:spPr>
            <p:txBody>
              <a:bodyPr rtlCol="0" anchor="ctr"/>
              <a:lstStyle/>
              <a:p>
                <a:endParaRPr lang="en-US" sz="1400"/>
              </a:p>
            </p:txBody>
          </p:sp>
          <p:pic>
            <p:nvPicPr>
              <p:cNvPr id="13" name="Graphic 12">
                <a:extLst>
                  <a:ext uri="{FF2B5EF4-FFF2-40B4-BE49-F238E27FC236}">
                    <a16:creationId xmlns:a16="http://schemas.microsoft.com/office/drawing/2014/main" id="{7EAD473B-786A-4146-E1FD-0A8EBDF0D870}"/>
                  </a:ext>
                </a:extLst>
              </p:cNvPr>
              <p:cNvPicPr>
                <a:picLocks noChangeAspect="1"/>
              </p:cNvPicPr>
              <p:nvPr/>
            </p:nvPicPr>
            <p:blipFill>
              <a:blip r:embed="rId31">
                <a:extLst>
                  <a:ext uri="{96DAC541-7B7A-43D3-8B79-37D633B846F1}">
                    <asvg:svgBlip xmlns:asvg="http://schemas.microsoft.com/office/drawing/2016/SVG/main" r:embed="rId32"/>
                  </a:ext>
                </a:extLst>
              </a:blip>
              <a:srcRect/>
              <a:stretch/>
            </p:blipFill>
            <p:spPr>
              <a:xfrm>
                <a:off x="782409" y="1831724"/>
                <a:ext cx="645068" cy="645068"/>
              </a:xfrm>
              <a:prstGeom prst="rect">
                <a:avLst/>
              </a:prstGeom>
            </p:spPr>
          </p:pic>
        </p:grpSp>
        <p:grpSp>
          <p:nvGrpSpPr>
            <p:cNvPr id="20" name="Group 19">
              <a:extLst>
                <a:ext uri="{FF2B5EF4-FFF2-40B4-BE49-F238E27FC236}">
                  <a16:creationId xmlns:a16="http://schemas.microsoft.com/office/drawing/2014/main" id="{D8A984CF-B213-3D30-1C1C-14AA701C1835}"/>
                </a:ext>
              </a:extLst>
            </p:cNvPr>
            <p:cNvGrpSpPr/>
            <p:nvPr/>
          </p:nvGrpSpPr>
          <p:grpSpPr>
            <a:xfrm>
              <a:off x="3826224" y="1711717"/>
              <a:ext cx="951143" cy="951645"/>
              <a:chOff x="4363224" y="1711717"/>
              <a:chExt cx="1180036" cy="1180659"/>
            </a:xfrm>
          </p:grpSpPr>
          <p:sp>
            <p:nvSpPr>
              <p:cNvPr id="148" name="Freeform 147">
                <a:extLst>
                  <a:ext uri="{FF2B5EF4-FFF2-40B4-BE49-F238E27FC236}">
                    <a16:creationId xmlns:a16="http://schemas.microsoft.com/office/drawing/2014/main" id="{05C3600D-D70B-A82F-585C-EDD22C1BBBB9}"/>
                  </a:ext>
                </a:extLst>
              </p:cNvPr>
              <p:cNvSpPr/>
              <p:nvPr/>
            </p:nvSpPr>
            <p:spPr>
              <a:xfrm>
                <a:off x="4363224" y="1711717"/>
                <a:ext cx="1180036" cy="1180659"/>
              </a:xfrm>
              <a:custGeom>
                <a:avLst/>
                <a:gdLst>
                  <a:gd name="connsiteX0" fmla="*/ 1093102 w 1180036"/>
                  <a:gd name="connsiteY0" fmla="*/ 1180660 h 1180659"/>
                  <a:gd name="connsiteX1" fmla="*/ 86934 w 1180036"/>
                  <a:gd name="connsiteY1" fmla="*/ 1180660 h 1180659"/>
                  <a:gd name="connsiteX2" fmla="*/ 0 w 1180036"/>
                  <a:gd name="connsiteY2" fmla="*/ 1093680 h 1180659"/>
                  <a:gd name="connsiteX3" fmla="*/ 0 w 1180036"/>
                  <a:gd name="connsiteY3" fmla="*/ 86980 h 1180659"/>
                  <a:gd name="connsiteX4" fmla="*/ 86934 w 1180036"/>
                  <a:gd name="connsiteY4" fmla="*/ 0 h 1180659"/>
                  <a:gd name="connsiteX5" fmla="*/ 1093102 w 1180036"/>
                  <a:gd name="connsiteY5" fmla="*/ 0 h 1180659"/>
                  <a:gd name="connsiteX6" fmla="*/ 1180036 w 1180036"/>
                  <a:gd name="connsiteY6" fmla="*/ 86980 h 1180659"/>
                  <a:gd name="connsiteX7" fmla="*/ 1180036 w 1180036"/>
                  <a:gd name="connsiteY7" fmla="*/ 1093680 h 1180659"/>
                  <a:gd name="connsiteX8" fmla="*/ 1093102 w 1180036"/>
                  <a:gd name="connsiteY8" fmla="*/ 1180660 h 118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036" h="1180659">
                    <a:moveTo>
                      <a:pt x="1093102" y="1180660"/>
                    </a:moveTo>
                    <a:lnTo>
                      <a:pt x="86934" y="1180660"/>
                    </a:lnTo>
                    <a:cubicBezTo>
                      <a:pt x="38911" y="1180660"/>
                      <a:pt x="0" y="1141728"/>
                      <a:pt x="0" y="1093680"/>
                    </a:cubicBezTo>
                    <a:lnTo>
                      <a:pt x="0" y="86980"/>
                    </a:lnTo>
                    <a:cubicBezTo>
                      <a:pt x="0" y="38932"/>
                      <a:pt x="38911" y="0"/>
                      <a:pt x="86934" y="0"/>
                    </a:cubicBezTo>
                    <a:lnTo>
                      <a:pt x="1093102" y="0"/>
                    </a:lnTo>
                    <a:cubicBezTo>
                      <a:pt x="1141125" y="0"/>
                      <a:pt x="1180036" y="38932"/>
                      <a:pt x="1180036" y="86980"/>
                    </a:cubicBezTo>
                    <a:lnTo>
                      <a:pt x="1180036" y="1093680"/>
                    </a:lnTo>
                    <a:cubicBezTo>
                      <a:pt x="1180036" y="1141728"/>
                      <a:pt x="1141125" y="1180660"/>
                      <a:pt x="1093102" y="1180660"/>
                    </a:cubicBezTo>
                  </a:path>
                </a:pathLst>
              </a:custGeom>
              <a:solidFill>
                <a:schemeClr val="tx1"/>
              </a:solidFill>
              <a:ln w="0" cap="flat">
                <a:noFill/>
                <a:prstDash val="solid"/>
                <a:miter/>
              </a:ln>
            </p:spPr>
            <p:txBody>
              <a:bodyPr rtlCol="0" anchor="ctr"/>
              <a:lstStyle/>
              <a:p>
                <a:endParaRPr lang="en-US" sz="1400"/>
              </a:p>
            </p:txBody>
          </p:sp>
          <p:pic>
            <p:nvPicPr>
              <p:cNvPr id="14" name="Graphic 13">
                <a:extLst>
                  <a:ext uri="{FF2B5EF4-FFF2-40B4-BE49-F238E27FC236}">
                    <a16:creationId xmlns:a16="http://schemas.microsoft.com/office/drawing/2014/main" id="{B75FE65F-F6A0-BDBE-4EB3-E60A410D33E1}"/>
                  </a:ext>
                </a:extLst>
              </p:cNvPr>
              <p:cNvPicPr>
                <a:picLocks noChangeAspect="1"/>
              </p:cNvPicPr>
              <p:nvPr/>
            </p:nvPicPr>
            <p:blipFill>
              <a:blip r:embed="rId33">
                <a:extLst>
                  <a:ext uri="{96DAC541-7B7A-43D3-8B79-37D633B846F1}">
                    <asvg:svgBlip xmlns:asvg="http://schemas.microsoft.com/office/drawing/2016/SVG/main" r:embed="rId34"/>
                  </a:ext>
                </a:extLst>
              </a:blip>
              <a:srcRect/>
              <a:stretch/>
            </p:blipFill>
            <p:spPr>
              <a:xfrm>
                <a:off x="4629538" y="1829558"/>
                <a:ext cx="645068" cy="645068"/>
              </a:xfrm>
              <a:prstGeom prst="rect">
                <a:avLst/>
              </a:prstGeom>
            </p:spPr>
          </p:pic>
        </p:grpSp>
        <p:sp>
          <p:nvSpPr>
            <p:cNvPr id="164" name="Freeform 163">
              <a:extLst>
                <a:ext uri="{FF2B5EF4-FFF2-40B4-BE49-F238E27FC236}">
                  <a16:creationId xmlns:a16="http://schemas.microsoft.com/office/drawing/2014/main" id="{2E7880DF-0601-4137-FD18-76F19CE41A33}"/>
                </a:ext>
              </a:extLst>
            </p:cNvPr>
            <p:cNvSpPr/>
            <p:nvPr/>
          </p:nvSpPr>
          <p:spPr>
            <a:xfrm>
              <a:off x="7156348" y="1703573"/>
              <a:ext cx="951143" cy="951645"/>
            </a:xfrm>
            <a:custGeom>
              <a:avLst/>
              <a:gdLst>
                <a:gd name="connsiteX0" fmla="*/ 1093102 w 1180036"/>
                <a:gd name="connsiteY0" fmla="*/ 1180660 h 1180659"/>
                <a:gd name="connsiteX1" fmla="*/ 86934 w 1180036"/>
                <a:gd name="connsiteY1" fmla="*/ 1180660 h 1180659"/>
                <a:gd name="connsiteX2" fmla="*/ 0 w 1180036"/>
                <a:gd name="connsiteY2" fmla="*/ 1093680 h 1180659"/>
                <a:gd name="connsiteX3" fmla="*/ 0 w 1180036"/>
                <a:gd name="connsiteY3" fmla="*/ 86980 h 1180659"/>
                <a:gd name="connsiteX4" fmla="*/ 86934 w 1180036"/>
                <a:gd name="connsiteY4" fmla="*/ 0 h 1180659"/>
                <a:gd name="connsiteX5" fmla="*/ 1093102 w 1180036"/>
                <a:gd name="connsiteY5" fmla="*/ 0 h 1180659"/>
                <a:gd name="connsiteX6" fmla="*/ 1180036 w 1180036"/>
                <a:gd name="connsiteY6" fmla="*/ 86980 h 1180659"/>
                <a:gd name="connsiteX7" fmla="*/ 1180036 w 1180036"/>
                <a:gd name="connsiteY7" fmla="*/ 1093680 h 1180659"/>
                <a:gd name="connsiteX8" fmla="*/ 1093102 w 1180036"/>
                <a:gd name="connsiteY8" fmla="*/ 1180660 h 118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036" h="1180659">
                  <a:moveTo>
                    <a:pt x="1093102" y="1180660"/>
                  </a:moveTo>
                  <a:lnTo>
                    <a:pt x="86934" y="1180660"/>
                  </a:lnTo>
                  <a:cubicBezTo>
                    <a:pt x="38911" y="1180660"/>
                    <a:pt x="0" y="1141728"/>
                    <a:pt x="0" y="1093680"/>
                  </a:cubicBezTo>
                  <a:lnTo>
                    <a:pt x="0" y="86980"/>
                  </a:lnTo>
                  <a:cubicBezTo>
                    <a:pt x="0" y="38932"/>
                    <a:pt x="38911" y="0"/>
                    <a:pt x="86934" y="0"/>
                  </a:cubicBezTo>
                  <a:lnTo>
                    <a:pt x="1093102" y="0"/>
                  </a:lnTo>
                  <a:cubicBezTo>
                    <a:pt x="1141125" y="0"/>
                    <a:pt x="1180036" y="38932"/>
                    <a:pt x="1180036" y="86980"/>
                  </a:cubicBezTo>
                  <a:lnTo>
                    <a:pt x="1180036" y="1093680"/>
                  </a:lnTo>
                  <a:cubicBezTo>
                    <a:pt x="1180036" y="1141728"/>
                    <a:pt x="1141125" y="1180660"/>
                    <a:pt x="1093102" y="1180660"/>
                  </a:cubicBezTo>
                </a:path>
              </a:pathLst>
            </a:custGeom>
            <a:solidFill>
              <a:schemeClr val="tx1"/>
            </a:solidFill>
            <a:ln w="0" cap="flat">
              <a:noFill/>
              <a:prstDash val="solid"/>
              <a:miter/>
            </a:ln>
          </p:spPr>
          <p:txBody>
            <a:bodyPr rtlCol="0" anchor="ctr"/>
            <a:lstStyle/>
            <a:p>
              <a:endParaRPr lang="en-US" sz="1400"/>
            </a:p>
          </p:txBody>
        </p:sp>
        <p:sp>
          <p:nvSpPr>
            <p:cNvPr id="171" name="TextBox 170">
              <a:extLst>
                <a:ext uri="{FF2B5EF4-FFF2-40B4-BE49-F238E27FC236}">
                  <a16:creationId xmlns:a16="http://schemas.microsoft.com/office/drawing/2014/main" id="{6C8E6810-D663-615C-DB60-1BF1CD717C1E}"/>
                </a:ext>
              </a:extLst>
            </p:cNvPr>
            <p:cNvSpPr txBox="1"/>
            <p:nvPr/>
          </p:nvSpPr>
          <p:spPr>
            <a:xfrm>
              <a:off x="7156348" y="2299413"/>
              <a:ext cx="954879" cy="246221"/>
            </a:xfrm>
            <a:prstGeom prst="rect">
              <a:avLst/>
            </a:prstGeom>
            <a:noFill/>
          </p:spPr>
          <p:txBody>
            <a:bodyPr wrap="square" rtlCol="0">
              <a:spAutoFit/>
            </a:bodyPr>
            <a:lstStyle/>
            <a:p>
              <a:pPr algn="ctr"/>
              <a:r>
                <a:rPr lang="en-US" sz="1000" b="1">
                  <a:solidFill>
                    <a:schemeClr val="bg1"/>
                  </a:solidFill>
                  <a:latin typeface="ES Build SemiBold" pitchFamily="2" charset="77"/>
                  <a:ea typeface="ES Build SemiBold" pitchFamily="2" charset="77"/>
                  <a:cs typeface="Microsoft Sans Serif" panose="020B0604020202020204" pitchFamily="34" charset="0"/>
                </a:rPr>
                <a:t>Containers</a:t>
              </a:r>
            </a:p>
          </p:txBody>
        </p:sp>
        <p:pic>
          <p:nvPicPr>
            <p:cNvPr id="15" name="Graphic 14">
              <a:extLst>
                <a:ext uri="{FF2B5EF4-FFF2-40B4-BE49-F238E27FC236}">
                  <a16:creationId xmlns:a16="http://schemas.microsoft.com/office/drawing/2014/main" id="{D42AE985-B5DA-873D-1362-759E6C206543}"/>
                </a:ext>
              </a:extLst>
            </p:cNvPr>
            <p:cNvPicPr>
              <a:picLocks noChangeAspect="1"/>
            </p:cNvPicPr>
            <p:nvPr/>
          </p:nvPicPr>
          <p:blipFill>
            <a:blip r:embed="rId35">
              <a:extLst>
                <a:ext uri="{96DAC541-7B7A-43D3-8B79-37D633B846F1}">
                  <asvg:svgBlip xmlns:asvg="http://schemas.microsoft.com/office/drawing/2016/SVG/main" r:embed="rId36"/>
                </a:ext>
              </a:extLst>
            </a:blip>
            <a:srcRect/>
            <a:stretch/>
          </p:blipFill>
          <p:spPr>
            <a:xfrm>
              <a:off x="7369139" y="1807929"/>
              <a:ext cx="519943" cy="519943"/>
            </a:xfrm>
            <a:prstGeom prst="rect">
              <a:avLst/>
            </a:prstGeom>
          </p:spPr>
        </p:pic>
        <p:grpSp>
          <p:nvGrpSpPr>
            <p:cNvPr id="21" name="Group 20">
              <a:extLst>
                <a:ext uri="{FF2B5EF4-FFF2-40B4-BE49-F238E27FC236}">
                  <a16:creationId xmlns:a16="http://schemas.microsoft.com/office/drawing/2014/main" id="{8E5F0ECD-9EF7-F6D4-515A-782B829F5488}"/>
                </a:ext>
              </a:extLst>
            </p:cNvPr>
            <p:cNvGrpSpPr/>
            <p:nvPr/>
          </p:nvGrpSpPr>
          <p:grpSpPr>
            <a:xfrm>
              <a:off x="6047552" y="1711717"/>
              <a:ext cx="951143" cy="951645"/>
              <a:chOff x="5651020" y="1711718"/>
              <a:chExt cx="1180036" cy="1180659"/>
            </a:xfrm>
          </p:grpSpPr>
          <p:sp>
            <p:nvSpPr>
              <p:cNvPr id="156" name="Freeform 155">
                <a:extLst>
                  <a:ext uri="{FF2B5EF4-FFF2-40B4-BE49-F238E27FC236}">
                    <a16:creationId xmlns:a16="http://schemas.microsoft.com/office/drawing/2014/main" id="{185D5E7C-E872-D2CA-E883-D4F2E963FA29}"/>
                  </a:ext>
                </a:extLst>
              </p:cNvPr>
              <p:cNvSpPr/>
              <p:nvPr/>
            </p:nvSpPr>
            <p:spPr>
              <a:xfrm>
                <a:off x="5651020" y="1711718"/>
                <a:ext cx="1180036" cy="1180659"/>
              </a:xfrm>
              <a:custGeom>
                <a:avLst/>
                <a:gdLst>
                  <a:gd name="connsiteX0" fmla="*/ 1093102 w 1180036"/>
                  <a:gd name="connsiteY0" fmla="*/ 1180660 h 1180659"/>
                  <a:gd name="connsiteX1" fmla="*/ 86934 w 1180036"/>
                  <a:gd name="connsiteY1" fmla="*/ 1180660 h 1180659"/>
                  <a:gd name="connsiteX2" fmla="*/ 0 w 1180036"/>
                  <a:gd name="connsiteY2" fmla="*/ 1093680 h 1180659"/>
                  <a:gd name="connsiteX3" fmla="*/ 0 w 1180036"/>
                  <a:gd name="connsiteY3" fmla="*/ 86980 h 1180659"/>
                  <a:gd name="connsiteX4" fmla="*/ 86934 w 1180036"/>
                  <a:gd name="connsiteY4" fmla="*/ 0 h 1180659"/>
                  <a:gd name="connsiteX5" fmla="*/ 1093102 w 1180036"/>
                  <a:gd name="connsiteY5" fmla="*/ 0 h 1180659"/>
                  <a:gd name="connsiteX6" fmla="*/ 1180036 w 1180036"/>
                  <a:gd name="connsiteY6" fmla="*/ 86980 h 1180659"/>
                  <a:gd name="connsiteX7" fmla="*/ 1180036 w 1180036"/>
                  <a:gd name="connsiteY7" fmla="*/ 1093680 h 1180659"/>
                  <a:gd name="connsiteX8" fmla="*/ 1093102 w 1180036"/>
                  <a:gd name="connsiteY8" fmla="*/ 1180660 h 118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036" h="1180659">
                    <a:moveTo>
                      <a:pt x="1093102" y="1180660"/>
                    </a:moveTo>
                    <a:lnTo>
                      <a:pt x="86934" y="1180660"/>
                    </a:lnTo>
                    <a:cubicBezTo>
                      <a:pt x="38911" y="1180660"/>
                      <a:pt x="0" y="1141728"/>
                      <a:pt x="0" y="1093680"/>
                    </a:cubicBezTo>
                    <a:lnTo>
                      <a:pt x="0" y="86980"/>
                    </a:lnTo>
                    <a:cubicBezTo>
                      <a:pt x="0" y="38932"/>
                      <a:pt x="38911" y="0"/>
                      <a:pt x="86934" y="0"/>
                    </a:cubicBezTo>
                    <a:lnTo>
                      <a:pt x="1093102" y="0"/>
                    </a:lnTo>
                    <a:cubicBezTo>
                      <a:pt x="1141125" y="0"/>
                      <a:pt x="1180036" y="38932"/>
                      <a:pt x="1180036" y="86980"/>
                    </a:cubicBezTo>
                    <a:lnTo>
                      <a:pt x="1180036" y="1093680"/>
                    </a:lnTo>
                    <a:cubicBezTo>
                      <a:pt x="1180036" y="1141728"/>
                      <a:pt x="1141125" y="1180660"/>
                      <a:pt x="1093102" y="1180660"/>
                    </a:cubicBezTo>
                  </a:path>
                </a:pathLst>
              </a:custGeom>
              <a:solidFill>
                <a:schemeClr val="tx1"/>
              </a:solidFill>
              <a:ln w="0" cap="flat">
                <a:noFill/>
                <a:prstDash val="solid"/>
                <a:miter/>
              </a:ln>
            </p:spPr>
            <p:txBody>
              <a:bodyPr rtlCol="0" anchor="ctr"/>
              <a:lstStyle/>
              <a:p>
                <a:endParaRPr lang="en-US" sz="1400"/>
              </a:p>
            </p:txBody>
          </p:sp>
          <p:pic>
            <p:nvPicPr>
              <p:cNvPr id="16" name="Graphic 15">
                <a:extLst>
                  <a:ext uri="{FF2B5EF4-FFF2-40B4-BE49-F238E27FC236}">
                    <a16:creationId xmlns:a16="http://schemas.microsoft.com/office/drawing/2014/main" id="{A89574EA-D6FA-C2EF-DE18-4401CBFC04BA}"/>
                  </a:ext>
                </a:extLst>
              </p:cNvPr>
              <p:cNvPicPr>
                <a:picLocks noChangeAspect="1"/>
              </p:cNvPicPr>
              <p:nvPr/>
            </p:nvPicPr>
            <p:blipFill>
              <a:blip r:embed="rId37">
                <a:extLst>
                  <a:ext uri="{96DAC541-7B7A-43D3-8B79-37D633B846F1}">
                    <asvg:svgBlip xmlns:asvg="http://schemas.microsoft.com/office/drawing/2016/SVG/main" r:embed="rId38"/>
                  </a:ext>
                </a:extLst>
              </a:blip>
              <a:srcRect/>
              <a:stretch/>
            </p:blipFill>
            <p:spPr>
              <a:xfrm>
                <a:off x="5915966" y="1819326"/>
                <a:ext cx="645068" cy="645068"/>
              </a:xfrm>
              <a:prstGeom prst="rect">
                <a:avLst/>
              </a:prstGeom>
            </p:spPr>
          </p:pic>
        </p:grpSp>
        <p:sp>
          <p:nvSpPr>
            <p:cNvPr id="46" name="Freeform 45">
              <a:extLst>
                <a:ext uri="{FF2B5EF4-FFF2-40B4-BE49-F238E27FC236}">
                  <a16:creationId xmlns:a16="http://schemas.microsoft.com/office/drawing/2014/main" id="{BE94AC5C-DADD-9D56-162B-B6CACB0C86F8}"/>
                </a:ext>
              </a:extLst>
            </p:cNvPr>
            <p:cNvSpPr/>
            <p:nvPr/>
          </p:nvSpPr>
          <p:spPr>
            <a:xfrm>
              <a:off x="4935020" y="1710437"/>
              <a:ext cx="951143" cy="951644"/>
            </a:xfrm>
            <a:custGeom>
              <a:avLst/>
              <a:gdLst>
                <a:gd name="connsiteX0" fmla="*/ 1093102 w 1180036"/>
                <a:gd name="connsiteY0" fmla="*/ 1180660 h 1180659"/>
                <a:gd name="connsiteX1" fmla="*/ 86934 w 1180036"/>
                <a:gd name="connsiteY1" fmla="*/ 1180660 h 1180659"/>
                <a:gd name="connsiteX2" fmla="*/ 0 w 1180036"/>
                <a:gd name="connsiteY2" fmla="*/ 1093680 h 1180659"/>
                <a:gd name="connsiteX3" fmla="*/ 0 w 1180036"/>
                <a:gd name="connsiteY3" fmla="*/ 86980 h 1180659"/>
                <a:gd name="connsiteX4" fmla="*/ 86934 w 1180036"/>
                <a:gd name="connsiteY4" fmla="*/ 0 h 1180659"/>
                <a:gd name="connsiteX5" fmla="*/ 1093102 w 1180036"/>
                <a:gd name="connsiteY5" fmla="*/ 0 h 1180659"/>
                <a:gd name="connsiteX6" fmla="*/ 1180036 w 1180036"/>
                <a:gd name="connsiteY6" fmla="*/ 86980 h 1180659"/>
                <a:gd name="connsiteX7" fmla="*/ 1180036 w 1180036"/>
                <a:gd name="connsiteY7" fmla="*/ 1093680 h 1180659"/>
                <a:gd name="connsiteX8" fmla="*/ 1093102 w 1180036"/>
                <a:gd name="connsiteY8" fmla="*/ 1180660 h 118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036" h="1180659">
                  <a:moveTo>
                    <a:pt x="1093102" y="1180660"/>
                  </a:moveTo>
                  <a:lnTo>
                    <a:pt x="86934" y="1180660"/>
                  </a:lnTo>
                  <a:cubicBezTo>
                    <a:pt x="38911" y="1180660"/>
                    <a:pt x="0" y="1141728"/>
                    <a:pt x="0" y="1093680"/>
                  </a:cubicBezTo>
                  <a:lnTo>
                    <a:pt x="0" y="86980"/>
                  </a:lnTo>
                  <a:cubicBezTo>
                    <a:pt x="0" y="38932"/>
                    <a:pt x="38911" y="0"/>
                    <a:pt x="86934" y="0"/>
                  </a:cubicBezTo>
                  <a:lnTo>
                    <a:pt x="1093102" y="0"/>
                  </a:lnTo>
                  <a:cubicBezTo>
                    <a:pt x="1141125" y="0"/>
                    <a:pt x="1180036" y="38932"/>
                    <a:pt x="1180036" y="86980"/>
                  </a:cubicBezTo>
                  <a:lnTo>
                    <a:pt x="1180036" y="1093680"/>
                  </a:lnTo>
                  <a:cubicBezTo>
                    <a:pt x="1180036" y="1141728"/>
                    <a:pt x="1141125" y="1180660"/>
                    <a:pt x="1093102" y="1180660"/>
                  </a:cubicBezTo>
                </a:path>
              </a:pathLst>
            </a:custGeom>
            <a:solidFill>
              <a:schemeClr val="tx1"/>
            </a:solidFill>
            <a:ln w="0" cap="flat">
              <a:noFill/>
              <a:prstDash val="solid"/>
              <a:miter/>
            </a:ln>
          </p:spPr>
          <p:txBody>
            <a:bodyPr rtlCol="0" anchor="ctr"/>
            <a:lstStyle/>
            <a:p>
              <a:endParaRPr lang="en-US" sz="1400"/>
            </a:p>
          </p:txBody>
        </p:sp>
        <p:sp>
          <p:nvSpPr>
            <p:cNvPr id="47" name="TextBox 46">
              <a:extLst>
                <a:ext uri="{FF2B5EF4-FFF2-40B4-BE49-F238E27FC236}">
                  <a16:creationId xmlns:a16="http://schemas.microsoft.com/office/drawing/2014/main" id="{A69EE3B8-23D6-26E8-5986-E3F82D3C4331}"/>
                </a:ext>
              </a:extLst>
            </p:cNvPr>
            <p:cNvSpPr txBox="1"/>
            <p:nvPr/>
          </p:nvSpPr>
          <p:spPr>
            <a:xfrm>
              <a:off x="4942361" y="2299413"/>
              <a:ext cx="943801" cy="355225"/>
            </a:xfrm>
            <a:prstGeom prst="rect">
              <a:avLst/>
            </a:prstGeom>
            <a:noFill/>
          </p:spPr>
          <p:txBody>
            <a:bodyPr wrap="square" rtlCol="0">
              <a:spAutoFit/>
            </a:bodyPr>
            <a:lstStyle/>
            <a:p>
              <a:pPr algn="ctr">
                <a:lnSpc>
                  <a:spcPts val="1000"/>
                </a:lnSpc>
              </a:pPr>
              <a:r>
                <a:rPr lang="en-US" sz="1000" b="1">
                  <a:solidFill>
                    <a:schemeClr val="bg1"/>
                  </a:solidFill>
                  <a:latin typeface="ES Build SemiBold" pitchFamily="2" charset="77"/>
                  <a:ea typeface="ES Build SemiBold" pitchFamily="2" charset="77"/>
                  <a:cs typeface="Microsoft Sans Serif" panose="020B0604020202020204" pitchFamily="34" charset="0"/>
                </a:rPr>
                <a:t>Unstructured data</a:t>
              </a:r>
            </a:p>
          </p:txBody>
        </p:sp>
        <p:pic>
          <p:nvPicPr>
            <p:cNvPr id="45" name="Graphic 44">
              <a:extLst>
                <a:ext uri="{FF2B5EF4-FFF2-40B4-BE49-F238E27FC236}">
                  <a16:creationId xmlns:a16="http://schemas.microsoft.com/office/drawing/2014/main" id="{17E6F4C1-564B-EC44-AEDD-F7495271FE06}"/>
                </a:ext>
              </a:extLst>
            </p:cNvPr>
            <p:cNvPicPr>
              <a:picLocks noChangeAspect="1"/>
            </p:cNvPicPr>
            <p:nvPr/>
          </p:nvPicPr>
          <p:blipFill>
            <a:blip r:embed="rId39">
              <a:extLst>
                <a:ext uri="{96DAC541-7B7A-43D3-8B79-37D633B846F1}">
                  <asvg:svgBlip xmlns:asvg="http://schemas.microsoft.com/office/drawing/2016/SVG/main" r:embed="rId40"/>
                </a:ext>
              </a:extLst>
            </a:blip>
            <a:srcRect/>
            <a:stretch/>
          </p:blipFill>
          <p:spPr>
            <a:xfrm>
              <a:off x="5147812" y="1802647"/>
              <a:ext cx="519943" cy="519943"/>
            </a:xfrm>
            <a:prstGeom prst="rect">
              <a:avLst/>
            </a:prstGeom>
          </p:spPr>
        </p:pic>
        <p:sp>
          <p:nvSpPr>
            <p:cNvPr id="157" name="TextBox 156">
              <a:extLst>
                <a:ext uri="{FF2B5EF4-FFF2-40B4-BE49-F238E27FC236}">
                  <a16:creationId xmlns:a16="http://schemas.microsoft.com/office/drawing/2014/main" id="{795BF267-DA25-197B-56B2-DAB0D396010A}"/>
                </a:ext>
              </a:extLst>
            </p:cNvPr>
            <p:cNvSpPr txBox="1"/>
            <p:nvPr/>
          </p:nvSpPr>
          <p:spPr>
            <a:xfrm>
              <a:off x="487285" y="2299413"/>
              <a:ext cx="954879" cy="246221"/>
            </a:xfrm>
            <a:prstGeom prst="rect">
              <a:avLst/>
            </a:prstGeom>
            <a:noFill/>
          </p:spPr>
          <p:txBody>
            <a:bodyPr wrap="square" rtlCol="0">
              <a:spAutoFit/>
            </a:bodyPr>
            <a:lstStyle/>
            <a:p>
              <a:pPr algn="ctr"/>
              <a:r>
                <a:rPr lang="en-US" sz="1000" b="1">
                  <a:solidFill>
                    <a:schemeClr val="bg1"/>
                  </a:solidFill>
                  <a:latin typeface="ES Build SemiBold" pitchFamily="2" charset="77"/>
                  <a:ea typeface="ES Build SemiBold" pitchFamily="2" charset="77"/>
                  <a:cs typeface="Microsoft Sans Serif" panose="020B0604020202020204" pitchFamily="34" charset="0"/>
                </a:rPr>
                <a:t>Cloud</a:t>
              </a:r>
            </a:p>
          </p:txBody>
        </p:sp>
        <p:sp>
          <p:nvSpPr>
            <p:cNvPr id="163" name="TextBox 162">
              <a:extLst>
                <a:ext uri="{FF2B5EF4-FFF2-40B4-BE49-F238E27FC236}">
                  <a16:creationId xmlns:a16="http://schemas.microsoft.com/office/drawing/2014/main" id="{A90FF635-F1F2-8240-4F71-18E00D560D91}"/>
                </a:ext>
              </a:extLst>
            </p:cNvPr>
            <p:cNvSpPr txBox="1"/>
            <p:nvPr/>
          </p:nvSpPr>
          <p:spPr>
            <a:xfrm>
              <a:off x="1608504" y="2299413"/>
              <a:ext cx="954879" cy="246221"/>
            </a:xfrm>
            <a:prstGeom prst="rect">
              <a:avLst/>
            </a:prstGeom>
            <a:noFill/>
          </p:spPr>
          <p:txBody>
            <a:bodyPr wrap="square" rtlCol="0">
              <a:spAutoFit/>
            </a:bodyPr>
            <a:lstStyle/>
            <a:p>
              <a:pPr algn="ctr"/>
              <a:r>
                <a:rPr lang="en-US" sz="1000" b="1">
                  <a:solidFill>
                    <a:schemeClr val="bg1"/>
                  </a:solidFill>
                  <a:latin typeface="ES Build SemiBold" pitchFamily="2" charset="77"/>
                  <a:ea typeface="ES Build SemiBold" pitchFamily="2" charset="77"/>
                  <a:cs typeface="Microsoft Sans Serif" panose="020B0604020202020204" pitchFamily="34" charset="0"/>
                </a:rPr>
                <a:t>Virtual</a:t>
              </a:r>
            </a:p>
          </p:txBody>
        </p:sp>
        <p:sp>
          <p:nvSpPr>
            <p:cNvPr id="168" name="TextBox 167">
              <a:extLst>
                <a:ext uri="{FF2B5EF4-FFF2-40B4-BE49-F238E27FC236}">
                  <a16:creationId xmlns:a16="http://schemas.microsoft.com/office/drawing/2014/main" id="{8BF2D57F-C395-DC53-89D6-2E4B31622E15}"/>
                </a:ext>
              </a:extLst>
            </p:cNvPr>
            <p:cNvSpPr txBox="1"/>
            <p:nvPr/>
          </p:nvSpPr>
          <p:spPr>
            <a:xfrm>
              <a:off x="2709152" y="2299413"/>
              <a:ext cx="954879" cy="246221"/>
            </a:xfrm>
            <a:prstGeom prst="rect">
              <a:avLst/>
            </a:prstGeom>
            <a:noFill/>
          </p:spPr>
          <p:txBody>
            <a:bodyPr wrap="square" rtlCol="0">
              <a:spAutoFit/>
            </a:bodyPr>
            <a:lstStyle/>
            <a:p>
              <a:pPr algn="ctr"/>
              <a:r>
                <a:rPr lang="en-US" sz="1000" b="1">
                  <a:solidFill>
                    <a:schemeClr val="bg1"/>
                  </a:solidFill>
                  <a:latin typeface="ES Build SemiBold" pitchFamily="2" charset="77"/>
                  <a:ea typeface="ES Build SemiBold" pitchFamily="2" charset="77"/>
                  <a:cs typeface="Microsoft Sans Serif" panose="020B0604020202020204" pitchFamily="34" charset="0"/>
                </a:rPr>
                <a:t>Physical</a:t>
              </a:r>
            </a:p>
          </p:txBody>
        </p:sp>
        <p:sp>
          <p:nvSpPr>
            <p:cNvPr id="169" name="TextBox 168">
              <a:extLst>
                <a:ext uri="{FF2B5EF4-FFF2-40B4-BE49-F238E27FC236}">
                  <a16:creationId xmlns:a16="http://schemas.microsoft.com/office/drawing/2014/main" id="{A7E28AD9-6806-ED16-E7E6-80B284D4BCB9}"/>
                </a:ext>
              </a:extLst>
            </p:cNvPr>
            <p:cNvSpPr txBox="1"/>
            <p:nvPr/>
          </p:nvSpPr>
          <p:spPr>
            <a:xfrm>
              <a:off x="3834483" y="2299413"/>
              <a:ext cx="954879" cy="246221"/>
            </a:xfrm>
            <a:prstGeom prst="rect">
              <a:avLst/>
            </a:prstGeom>
            <a:noFill/>
          </p:spPr>
          <p:txBody>
            <a:bodyPr wrap="square" rtlCol="0">
              <a:spAutoFit/>
            </a:bodyPr>
            <a:lstStyle/>
            <a:p>
              <a:pPr algn="ctr"/>
              <a:r>
                <a:rPr lang="en-US" sz="1000" b="1">
                  <a:solidFill>
                    <a:schemeClr val="bg1"/>
                  </a:solidFill>
                  <a:latin typeface="ES Build SemiBold" pitchFamily="2" charset="77"/>
                  <a:ea typeface="ES Build SemiBold" pitchFamily="2" charset="77"/>
                  <a:cs typeface="Microsoft Sans Serif" panose="020B0604020202020204" pitchFamily="34" charset="0"/>
                </a:rPr>
                <a:t>Apps</a:t>
              </a:r>
            </a:p>
          </p:txBody>
        </p:sp>
        <p:sp>
          <p:nvSpPr>
            <p:cNvPr id="170" name="TextBox 169">
              <a:extLst>
                <a:ext uri="{FF2B5EF4-FFF2-40B4-BE49-F238E27FC236}">
                  <a16:creationId xmlns:a16="http://schemas.microsoft.com/office/drawing/2014/main" id="{B778A112-4E0F-15D1-1552-54BCCF2CDA3F}"/>
                </a:ext>
              </a:extLst>
            </p:cNvPr>
            <p:cNvSpPr txBox="1"/>
            <p:nvPr/>
          </p:nvSpPr>
          <p:spPr>
            <a:xfrm>
              <a:off x="6054894" y="2299413"/>
              <a:ext cx="943801" cy="226985"/>
            </a:xfrm>
            <a:prstGeom prst="rect">
              <a:avLst/>
            </a:prstGeom>
            <a:noFill/>
          </p:spPr>
          <p:txBody>
            <a:bodyPr wrap="square" rtlCol="0">
              <a:spAutoFit/>
            </a:bodyPr>
            <a:lstStyle/>
            <a:p>
              <a:pPr algn="ctr">
                <a:lnSpc>
                  <a:spcPts val="1000"/>
                </a:lnSpc>
              </a:pPr>
              <a:r>
                <a:rPr lang="en-US" sz="1000" b="1">
                  <a:solidFill>
                    <a:schemeClr val="bg1"/>
                  </a:solidFill>
                  <a:latin typeface="ES Build SemiBold" pitchFamily="2" charset="77"/>
                  <a:ea typeface="ES Build SemiBold" pitchFamily="2" charset="77"/>
                  <a:cs typeface="Microsoft Sans Serif" panose="020B0604020202020204" pitchFamily="34" charset="0"/>
                </a:rPr>
                <a:t>SaaS</a:t>
              </a:r>
            </a:p>
          </p:txBody>
        </p:sp>
      </p:grpSp>
      <p:sp>
        <p:nvSpPr>
          <p:cNvPr id="10" name="Rounded Rectangle 9">
            <a:extLst>
              <a:ext uri="{FF2B5EF4-FFF2-40B4-BE49-F238E27FC236}">
                <a16:creationId xmlns:a16="http://schemas.microsoft.com/office/drawing/2014/main" id="{26F80439-F954-C600-623B-EC6A03C78E51}"/>
              </a:ext>
            </a:extLst>
          </p:cNvPr>
          <p:cNvSpPr/>
          <p:nvPr/>
        </p:nvSpPr>
        <p:spPr>
          <a:xfrm>
            <a:off x="6897976" y="5355431"/>
            <a:ext cx="924939" cy="346901"/>
          </a:xfrm>
          <a:prstGeom prst="roundRect">
            <a:avLst/>
          </a:prstGeom>
          <a:noFill/>
          <a:ln>
            <a:solidFill>
              <a:srgbClr val="8E71F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a:solidFill>
                <a:schemeClr val="bg1"/>
              </a:solidFill>
              <a:latin typeface="ES Build" pitchFamily="50" charset="0"/>
              <a:cs typeface="Microsoft Sans Serif" panose="020B0604020202020204" pitchFamily="34" charset="0"/>
            </a:endParaRPr>
          </a:p>
        </p:txBody>
      </p:sp>
      <p:sp>
        <p:nvSpPr>
          <p:cNvPr id="39" name="TextBox 38">
            <a:extLst>
              <a:ext uri="{FF2B5EF4-FFF2-40B4-BE49-F238E27FC236}">
                <a16:creationId xmlns:a16="http://schemas.microsoft.com/office/drawing/2014/main" id="{E49BD059-DB81-F169-2527-94AEE4B07223}"/>
              </a:ext>
            </a:extLst>
          </p:cNvPr>
          <p:cNvSpPr txBox="1"/>
          <p:nvPr/>
        </p:nvSpPr>
        <p:spPr>
          <a:xfrm>
            <a:off x="6817197" y="5370864"/>
            <a:ext cx="1075066" cy="355225"/>
          </a:xfrm>
          <a:prstGeom prst="rect">
            <a:avLst/>
          </a:prstGeom>
          <a:noFill/>
        </p:spPr>
        <p:txBody>
          <a:bodyPr wrap="square" rtlCol="0">
            <a:spAutoFit/>
          </a:bodyPr>
          <a:lstStyle/>
          <a:p>
            <a:pPr algn="ctr">
              <a:lnSpc>
                <a:spcPts val="1000"/>
              </a:lnSpc>
            </a:pPr>
            <a:r>
              <a:rPr lang="en-US" sz="1000" b="1">
                <a:solidFill>
                  <a:schemeClr val="tx1"/>
                </a:solidFill>
                <a:latin typeface="ES Build"/>
                <a:ea typeface="ES Build"/>
                <a:cs typeface="Microsoft Sans Serif"/>
              </a:rPr>
              <a:t>more coming soon</a:t>
            </a:r>
            <a:endParaRPr lang="en-US" sz="1000" b="1"/>
          </a:p>
        </p:txBody>
      </p:sp>
      <p:grpSp>
        <p:nvGrpSpPr>
          <p:cNvPr id="23" name="Group 22">
            <a:extLst>
              <a:ext uri="{FF2B5EF4-FFF2-40B4-BE49-F238E27FC236}">
                <a16:creationId xmlns:a16="http://schemas.microsoft.com/office/drawing/2014/main" id="{09F8A68C-C5D3-9163-25B4-30FDDF12DECA}"/>
              </a:ext>
            </a:extLst>
          </p:cNvPr>
          <p:cNvGrpSpPr/>
          <p:nvPr/>
        </p:nvGrpSpPr>
        <p:grpSpPr>
          <a:xfrm>
            <a:off x="1919587" y="5271955"/>
            <a:ext cx="1075066" cy="444634"/>
            <a:chOff x="3134679" y="5846811"/>
            <a:chExt cx="1075066" cy="444634"/>
          </a:xfrm>
        </p:grpSpPr>
        <p:pic>
          <p:nvPicPr>
            <p:cNvPr id="8" name="Graphic 7">
              <a:extLst>
                <a:ext uri="{FF2B5EF4-FFF2-40B4-BE49-F238E27FC236}">
                  <a16:creationId xmlns:a16="http://schemas.microsoft.com/office/drawing/2014/main" id="{CCCEA291-B2A5-D09D-5CE5-23EA4F812BF4}"/>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3536388" y="5846811"/>
              <a:ext cx="284588" cy="284588"/>
            </a:xfrm>
            <a:prstGeom prst="rect">
              <a:avLst/>
            </a:prstGeom>
          </p:spPr>
        </p:pic>
        <p:sp>
          <p:nvSpPr>
            <p:cNvPr id="11" name="TextBox 10">
              <a:extLst>
                <a:ext uri="{FF2B5EF4-FFF2-40B4-BE49-F238E27FC236}">
                  <a16:creationId xmlns:a16="http://schemas.microsoft.com/office/drawing/2014/main" id="{5D449327-B03D-14F5-8668-055F668A6538}"/>
                </a:ext>
              </a:extLst>
            </p:cNvPr>
            <p:cNvSpPr txBox="1"/>
            <p:nvPr/>
          </p:nvSpPr>
          <p:spPr>
            <a:xfrm>
              <a:off x="3134679" y="6064460"/>
              <a:ext cx="1075066" cy="226985"/>
            </a:xfrm>
            <a:prstGeom prst="rect">
              <a:avLst/>
            </a:prstGeom>
            <a:noFill/>
          </p:spPr>
          <p:txBody>
            <a:bodyPr wrap="square" rtlCol="0">
              <a:spAutoFit/>
            </a:bodyPr>
            <a:lstStyle/>
            <a:p>
              <a:pPr algn="ctr">
                <a:lnSpc>
                  <a:spcPts val="1000"/>
                </a:lnSpc>
              </a:pPr>
              <a:r>
                <a:rPr lang="en-US" sz="800">
                  <a:solidFill>
                    <a:schemeClr val="tx1"/>
                  </a:solidFill>
                  <a:latin typeface="ES Build"/>
                  <a:ea typeface="ES Build"/>
                  <a:cs typeface="Microsoft Sans Serif"/>
                </a:rPr>
                <a:t>Object Storage</a:t>
              </a:r>
              <a:endParaRPr lang="en-US" sz="800"/>
            </a:p>
          </p:txBody>
        </p:sp>
      </p:grpSp>
    </p:spTree>
    <p:extLst>
      <p:ext uri="{BB962C8B-B14F-4D97-AF65-F5344CB8AC3E}">
        <p14:creationId xmlns:p14="http://schemas.microsoft.com/office/powerpoint/2010/main" val="259940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50"/>
                                        <p:tgtEl>
                                          <p:spTgt spid="4"/>
                                        </p:tgtEl>
                                      </p:cBhvr>
                                    </p:animEffect>
                                  </p:childTnLst>
                                </p:cTn>
                              </p:par>
                              <p:par>
                                <p:cTn id="8" presetID="35" presetClass="path" presetSubtype="0" accel="50000" decel="50000" fill="hold" nodeType="withEffect">
                                  <p:stCondLst>
                                    <p:cond delay="0"/>
                                  </p:stCondLst>
                                  <p:childTnLst>
                                    <p:animMotion origin="layout" path="M 1.45833E-6 -7.40741E-7 L -0.03112 -7.40741E-7 " pathEditMode="relative" rAng="0" ptsTypes="AA">
                                      <p:cBhvr>
                                        <p:cTn id="9" dur="500" fill="hold"/>
                                        <p:tgtEl>
                                          <p:spTgt spid="4"/>
                                        </p:tgtEl>
                                        <p:attrNameLst>
                                          <p:attrName>ppt_x</p:attrName>
                                          <p:attrName>ppt_y</p:attrName>
                                        </p:attrNameLst>
                                      </p:cBhvr>
                                      <p:rCtr x="-156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361FDED6-492D-BA8E-D889-E54682420B9B}"/>
              </a:ext>
            </a:extLst>
          </p:cNvPr>
          <p:cNvSpPr>
            <a:spLocks noGrp="1"/>
          </p:cNvSpPr>
          <p:nvPr>
            <p:ph type="title"/>
          </p:nvPr>
        </p:nvSpPr>
        <p:spPr/>
        <p:txBody>
          <a:bodyPr/>
          <a:lstStyle/>
          <a:p>
            <a:pPr algn="ctr"/>
            <a:r>
              <a:rPr lang="en-US">
                <a:solidFill>
                  <a:schemeClr val="tx1"/>
                </a:solidFill>
              </a:rPr>
              <a:t>Veeam has the most comprehensive backup capabilities</a:t>
            </a:r>
            <a:endParaRPr lang="en-US"/>
          </a:p>
        </p:txBody>
      </p:sp>
      <p:sp>
        <p:nvSpPr>
          <p:cNvPr id="13" name="Subtitle 12">
            <a:extLst>
              <a:ext uri="{FF2B5EF4-FFF2-40B4-BE49-F238E27FC236}">
                <a16:creationId xmlns:a16="http://schemas.microsoft.com/office/drawing/2014/main" id="{BCF88F5D-BB0E-78E2-DD17-938763A13E6F}"/>
              </a:ext>
            </a:extLst>
          </p:cNvPr>
          <p:cNvSpPr>
            <a:spLocks noGrp="1"/>
          </p:cNvSpPr>
          <p:nvPr>
            <p:ph type="subTitle" idx="1"/>
          </p:nvPr>
        </p:nvSpPr>
        <p:spPr/>
        <p:txBody>
          <a:bodyPr/>
          <a:lstStyle/>
          <a:p>
            <a:pPr algn="ctr"/>
            <a:r>
              <a:rPr lang="en-US" dirty="0">
                <a:solidFill>
                  <a:schemeClr val="accent2"/>
                </a:solidFill>
              </a:rPr>
              <a:t>Industry best Recovery Point Objective (RPO) = minimal to no data loss</a:t>
            </a:r>
          </a:p>
          <a:p>
            <a:pPr algn="ctr"/>
            <a:endParaRPr lang="en-US" dirty="0"/>
          </a:p>
        </p:txBody>
      </p:sp>
      <p:sp>
        <p:nvSpPr>
          <p:cNvPr id="48" name="DATA" hidden="1">
            <a:extLst>
              <a:ext uri="{FF2B5EF4-FFF2-40B4-BE49-F238E27FC236}">
                <a16:creationId xmlns:a16="http://schemas.microsoft.com/office/drawing/2014/main" id="{2B88B156-4636-7916-673E-890A44A4DA32}"/>
              </a:ext>
            </a:extLst>
          </p:cNvPr>
          <p:cNvSpPr txBox="1">
            <a:spLocks/>
          </p:cNvSpPr>
          <p:nvPr/>
        </p:nvSpPr>
        <p:spPr>
          <a:xfrm>
            <a:off x="-3431761" y="-1120854"/>
            <a:ext cx="18861657" cy="806374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1800" b="1" i="0" u="none" strike="noStrike" kern="1200" cap="none" spc="-3000" normalizeH="0" baseline="0" noProof="0">
                <a:ln>
                  <a:noFill/>
                </a:ln>
                <a:solidFill>
                  <a:srgbClr val="FFFFFF">
                    <a:lumMod val="85000"/>
                    <a:alpha val="0"/>
                  </a:srgbClr>
                </a:solidFill>
                <a:effectLst/>
                <a:uLnTx/>
                <a:uFillTx/>
                <a:latin typeface="ES Build Full Bauhaus" pitchFamily="2" charset="77"/>
                <a:ea typeface="ES Build Full Bauhaus" pitchFamily="2" charset="77"/>
                <a:cs typeface="+mn-cs"/>
              </a:rPr>
              <a:t>DATA</a:t>
            </a:r>
          </a:p>
        </p:txBody>
      </p:sp>
      <p:pic>
        <p:nvPicPr>
          <p:cNvPr id="49" name="arrows" hidden="1">
            <a:extLst>
              <a:ext uri="{FF2B5EF4-FFF2-40B4-BE49-F238E27FC236}">
                <a16:creationId xmlns:a16="http://schemas.microsoft.com/office/drawing/2014/main" id="{85ED38B0-FA0C-8591-F4E0-9E2975FDA141}"/>
              </a:ext>
            </a:extLst>
          </p:cNvPr>
          <p:cNvPicPr>
            <a:picLocks/>
          </p:cNvPicPr>
          <p:nvPr/>
        </p:nvPicPr>
        <p:blipFill>
          <a:blip r:embed="rId3">
            <a:extLst>
              <a:ext uri="{96DAC541-7B7A-43D3-8B79-37D633B846F1}">
                <asvg:svgBlip xmlns:asvg="http://schemas.microsoft.com/office/drawing/2016/SVG/main" r:embed="rId4"/>
              </a:ext>
            </a:extLst>
          </a:blip>
          <a:stretch>
            <a:fillRect/>
          </a:stretch>
        </p:blipFill>
        <p:spPr>
          <a:xfrm rot="900000">
            <a:off x="-2299955" y="-4357202"/>
            <a:ext cx="16937654" cy="16937654"/>
          </a:xfrm>
          <a:prstGeom prst="rect">
            <a:avLst/>
          </a:prstGeom>
        </p:spPr>
      </p:pic>
      <p:sp>
        <p:nvSpPr>
          <p:cNvPr id="50" name="donut" hidden="1">
            <a:extLst>
              <a:ext uri="{FF2B5EF4-FFF2-40B4-BE49-F238E27FC236}">
                <a16:creationId xmlns:a16="http://schemas.microsoft.com/office/drawing/2014/main" id="{ADB3C278-F744-657A-9922-AA9475DA6DC1}"/>
              </a:ext>
            </a:extLst>
          </p:cNvPr>
          <p:cNvSpPr>
            <a:spLocks/>
          </p:cNvSpPr>
          <p:nvPr/>
        </p:nvSpPr>
        <p:spPr>
          <a:xfrm>
            <a:off x="-8201342" y="-8185938"/>
            <a:ext cx="15727680" cy="15680239"/>
          </a:xfrm>
          <a:prstGeom prst="donut">
            <a:avLst>
              <a:gd name="adj" fmla="val 2748"/>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3200" b="0" i="0" u="none" strike="noStrike" kern="1200" cap="none" spc="0" normalizeH="0" baseline="0" noProof="0">
                <a:ln>
                  <a:noFill/>
                </a:ln>
                <a:solidFill>
                  <a:schemeClr val="bg1"/>
                </a:solidFill>
                <a:effectLst/>
                <a:uLnTx/>
                <a:uFillTx/>
                <a:latin typeface="ES Build" pitchFamily="50" charset="0"/>
                <a:ea typeface="+mn-ea"/>
                <a:cs typeface="Microsoft Sans Serif" panose="020B0604020202020204" pitchFamily="34" charset="0"/>
              </a:rPr>
              <a:t>DATA</a:t>
            </a:r>
          </a:p>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3200" b="0" i="0" u="none" strike="noStrike" kern="1200" cap="none" spc="0" normalizeH="0" baseline="0" noProof="0">
                <a:ln>
                  <a:noFill/>
                </a:ln>
                <a:solidFill>
                  <a:schemeClr val="bg1"/>
                </a:solidFill>
                <a:effectLst/>
                <a:uLnTx/>
                <a:uFillTx/>
                <a:latin typeface="ES Build" pitchFamily="50" charset="0"/>
                <a:ea typeface="+mn-ea"/>
                <a:cs typeface="Microsoft Sans Serif" panose="020B0604020202020204" pitchFamily="34" charset="0"/>
              </a:rPr>
              <a:t>RESILIENCE</a:t>
            </a:r>
          </a:p>
        </p:txBody>
      </p:sp>
      <p:grpSp>
        <p:nvGrpSpPr>
          <p:cNvPr id="2" name="Group 1">
            <a:extLst>
              <a:ext uri="{FF2B5EF4-FFF2-40B4-BE49-F238E27FC236}">
                <a16:creationId xmlns:a16="http://schemas.microsoft.com/office/drawing/2014/main" id="{FB58C1B2-0F0B-9A56-EA6D-2F67C93AC46B}"/>
              </a:ext>
            </a:extLst>
          </p:cNvPr>
          <p:cNvGrpSpPr/>
          <p:nvPr/>
        </p:nvGrpSpPr>
        <p:grpSpPr>
          <a:xfrm>
            <a:off x="493289" y="1638576"/>
            <a:ext cx="11019043" cy="4507103"/>
            <a:chOff x="493289" y="1638576"/>
            <a:chExt cx="11019043" cy="4507103"/>
          </a:xfrm>
        </p:grpSpPr>
        <p:sp>
          <p:nvSpPr>
            <p:cNvPr id="15" name="D1">
              <a:extLst>
                <a:ext uri="{FF2B5EF4-FFF2-40B4-BE49-F238E27FC236}">
                  <a16:creationId xmlns:a16="http://schemas.microsoft.com/office/drawing/2014/main" id="{F9F1A452-CAA8-F001-A24A-175B52DB89C9}"/>
                </a:ext>
              </a:extLst>
            </p:cNvPr>
            <p:cNvSpPr/>
            <p:nvPr/>
          </p:nvSpPr>
          <p:spPr>
            <a:xfrm>
              <a:off x="493289" y="1638999"/>
              <a:ext cx="11019043" cy="4506679"/>
            </a:xfrm>
            <a:prstGeom prst="roundRect">
              <a:avLst>
                <a:gd name="adj" fmla="val 1854"/>
              </a:avLst>
            </a:prstGeom>
            <a:solidFill>
              <a:schemeClr val="bg1"/>
            </a:solidFill>
            <a:ln>
              <a:noFill/>
            </a:ln>
            <a:effectLst>
              <a:outerShdw blurRad="381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defRPr/>
              </a:pPr>
              <a:endParaRPr lang="en-US" sz="2400">
                <a:solidFill>
                  <a:srgbClr val="FFFFFF"/>
                </a:solidFill>
                <a:latin typeface="ES Build" pitchFamily="50" charset="0"/>
                <a:cs typeface="Microsoft Sans Serif" panose="020B0604020202020204" pitchFamily="34" charset="0"/>
              </a:endParaRPr>
            </a:p>
          </p:txBody>
        </p:sp>
        <p:sp>
          <p:nvSpPr>
            <p:cNvPr id="235" name="Freeform 234">
              <a:extLst>
                <a:ext uri="{FF2B5EF4-FFF2-40B4-BE49-F238E27FC236}">
                  <a16:creationId xmlns:a16="http://schemas.microsoft.com/office/drawing/2014/main" id="{A3AB2225-616F-1DC1-A53B-CCFD7052E306}"/>
                </a:ext>
              </a:extLst>
            </p:cNvPr>
            <p:cNvSpPr/>
            <p:nvPr/>
          </p:nvSpPr>
          <p:spPr>
            <a:xfrm>
              <a:off x="493289" y="1638576"/>
              <a:ext cx="2812314" cy="4507103"/>
            </a:xfrm>
            <a:custGeom>
              <a:avLst/>
              <a:gdLst>
                <a:gd name="connsiteX0" fmla="*/ 74744 w 2812314"/>
                <a:gd name="connsiteY0" fmla="*/ 0 h 4507103"/>
                <a:gd name="connsiteX1" fmla="*/ 2812314 w 2812314"/>
                <a:gd name="connsiteY1" fmla="*/ 0 h 4507103"/>
                <a:gd name="connsiteX2" fmla="*/ 2812314 w 2812314"/>
                <a:gd name="connsiteY2" fmla="*/ 4507103 h 4507103"/>
                <a:gd name="connsiteX3" fmla="*/ 74744 w 2812314"/>
                <a:gd name="connsiteY3" fmla="*/ 4507103 h 4507103"/>
                <a:gd name="connsiteX4" fmla="*/ 0 w 2812314"/>
                <a:gd name="connsiteY4" fmla="*/ 4432359 h 4507103"/>
                <a:gd name="connsiteX5" fmla="*/ 0 w 2812314"/>
                <a:gd name="connsiteY5" fmla="*/ 74744 h 4507103"/>
                <a:gd name="connsiteX6" fmla="*/ 74744 w 2812314"/>
                <a:gd name="connsiteY6" fmla="*/ 0 h 4507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12314" h="4507103">
                  <a:moveTo>
                    <a:pt x="74744" y="0"/>
                  </a:moveTo>
                  <a:lnTo>
                    <a:pt x="2812314" y="0"/>
                  </a:lnTo>
                  <a:lnTo>
                    <a:pt x="2812314" y="4507103"/>
                  </a:lnTo>
                  <a:lnTo>
                    <a:pt x="74744" y="4507103"/>
                  </a:lnTo>
                  <a:cubicBezTo>
                    <a:pt x="33464" y="4507103"/>
                    <a:pt x="0" y="4473639"/>
                    <a:pt x="0" y="4432359"/>
                  </a:cubicBezTo>
                  <a:lnTo>
                    <a:pt x="0" y="74744"/>
                  </a:lnTo>
                  <a:cubicBezTo>
                    <a:pt x="0" y="33464"/>
                    <a:pt x="33464" y="0"/>
                    <a:pt x="74744"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6000"/>
                </a:lnSpc>
              </a:pPr>
              <a:endParaRPr lang="en-US">
                <a:solidFill>
                  <a:schemeClr val="bg1"/>
                </a:solidFill>
                <a:latin typeface="ES Build" pitchFamily="50" charset="0"/>
                <a:cs typeface="Microsoft Sans Serif" panose="020B0604020202020204" pitchFamily="34" charset="0"/>
              </a:endParaRPr>
            </a:p>
          </p:txBody>
        </p:sp>
        <p:sp>
          <p:nvSpPr>
            <p:cNvPr id="17" name="TextBox 16">
              <a:extLst>
                <a:ext uri="{FF2B5EF4-FFF2-40B4-BE49-F238E27FC236}">
                  <a16:creationId xmlns:a16="http://schemas.microsoft.com/office/drawing/2014/main" id="{D5B14FCC-2048-9344-2511-D58271638DFB}"/>
                </a:ext>
              </a:extLst>
            </p:cNvPr>
            <p:cNvSpPr txBox="1"/>
            <p:nvPr/>
          </p:nvSpPr>
          <p:spPr>
            <a:xfrm>
              <a:off x="502179" y="4618670"/>
              <a:ext cx="2803424" cy="411123"/>
            </a:xfrm>
            <a:prstGeom prst="rect">
              <a:avLst/>
            </a:prstGeom>
            <a:noFill/>
            <a:ln>
              <a:noFill/>
            </a:ln>
          </p:spPr>
          <p:txBody>
            <a:bodyPr wrap="square" anchor="t">
              <a:noAutofit/>
            </a:bodyPr>
            <a:lstStyle>
              <a:defPPr>
                <a:defRPr lang="en-US"/>
              </a:defPPr>
              <a:lvl1pPr marR="0" lvl="0" indent="0" fontAlgn="auto">
                <a:lnSpc>
                  <a:spcPct val="100000"/>
                </a:lnSpc>
                <a:spcBef>
                  <a:spcPts val="0"/>
                </a:spcBef>
                <a:spcAft>
                  <a:spcPts val="0"/>
                </a:spcAft>
                <a:buClrTx/>
                <a:buSzTx/>
                <a:buFontTx/>
                <a:buNone/>
                <a:tabLst/>
                <a:defRPr kumimoji="0" sz="2200" b="1" i="0" u="none" strike="noStrike" cap="none" spc="0" normalizeH="0" baseline="0">
                  <a:ln>
                    <a:noFill/>
                  </a:ln>
                  <a:solidFill>
                    <a:srgbClr val="FFFFFF"/>
                  </a:solidFill>
                  <a:effectLst/>
                  <a:uLnTx/>
                  <a:uFillTx/>
                  <a:latin typeface="ES Build Neutral"/>
                </a:defRPr>
              </a:lvl1pPr>
            </a:lstStyle>
            <a:p>
              <a:pPr algn="ctr">
                <a:defRPr/>
              </a:pPr>
              <a:r>
                <a:rPr lang="en-US" sz="2800" dirty="0">
                  <a:solidFill>
                    <a:schemeClr val="bg1"/>
                  </a:solidFill>
                </a:rPr>
                <a:t>Data Backup</a:t>
              </a:r>
            </a:p>
          </p:txBody>
        </p:sp>
        <p:pic>
          <p:nvPicPr>
            <p:cNvPr id="19" name="Graphic 18">
              <a:extLst>
                <a:ext uri="{FF2B5EF4-FFF2-40B4-BE49-F238E27FC236}">
                  <a16:creationId xmlns:a16="http://schemas.microsoft.com/office/drawing/2014/main" id="{A9345E54-4125-3611-0FD7-103598E24C42}"/>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920371" y="2466665"/>
              <a:ext cx="1921493" cy="1921493"/>
            </a:xfrm>
            <a:prstGeom prst="rect">
              <a:avLst/>
            </a:prstGeom>
          </p:spPr>
        </p:pic>
        <p:sp>
          <p:nvSpPr>
            <p:cNvPr id="4" name="Rounded Rectangle 3">
              <a:extLst>
                <a:ext uri="{FF2B5EF4-FFF2-40B4-BE49-F238E27FC236}">
                  <a16:creationId xmlns:a16="http://schemas.microsoft.com/office/drawing/2014/main" id="{F2FC3300-BCDA-537A-1858-97E9338027C8}"/>
                </a:ext>
              </a:extLst>
            </p:cNvPr>
            <p:cNvSpPr/>
            <p:nvPr/>
          </p:nvSpPr>
          <p:spPr>
            <a:xfrm>
              <a:off x="769049" y="1936362"/>
              <a:ext cx="10572051" cy="4114800"/>
            </a:xfrm>
            <a:prstGeom prst="roundRect">
              <a:avLst>
                <a:gd name="adj" fmla="val 1966"/>
              </a:avLst>
            </a:prstGeom>
            <a:noFill/>
            <a:ln w="66675" cap="sq">
              <a:no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a:solidFill>
                  <a:schemeClr val="bg1"/>
                </a:solidFill>
                <a:latin typeface="ES Build" pitchFamily="50" charset="0"/>
                <a:cs typeface="Microsoft Sans Serif" panose="020B0604020202020204" pitchFamily="34" charset="0"/>
              </a:endParaRPr>
            </a:p>
          </p:txBody>
        </p:sp>
      </p:grpSp>
      <p:sp>
        <p:nvSpPr>
          <p:cNvPr id="3" name="TextBox 2">
            <a:extLst>
              <a:ext uri="{FF2B5EF4-FFF2-40B4-BE49-F238E27FC236}">
                <a16:creationId xmlns:a16="http://schemas.microsoft.com/office/drawing/2014/main" id="{EB3107B9-EDEB-7C15-9363-54061F95B65D}"/>
              </a:ext>
            </a:extLst>
          </p:cNvPr>
          <p:cNvSpPr txBox="1"/>
          <p:nvPr/>
        </p:nvSpPr>
        <p:spPr>
          <a:xfrm>
            <a:off x="3646714" y="4115020"/>
            <a:ext cx="1839686" cy="790409"/>
          </a:xfrm>
          <a:prstGeom prst="rect">
            <a:avLst/>
          </a:prstGeom>
          <a:noFill/>
        </p:spPr>
        <p:txBody>
          <a:bodyPr wrap="square" lIns="0" tIns="0" rIns="0" bIns="0">
            <a:spAutoFit/>
          </a:bodyPr>
          <a:lstStyle/>
          <a:p>
            <a:pPr marR="0" lvl="0" algn="ctr">
              <a:lnSpc>
                <a:spcPct val="107000"/>
              </a:lnSpc>
              <a:spcBef>
                <a:spcPts val="0"/>
              </a:spcBef>
              <a:spcAft>
                <a:spcPts val="0"/>
              </a:spcAft>
            </a:pPr>
            <a:r>
              <a:rPr lang="en-US" sz="1600" kern="100" dirty="0">
                <a:ea typeface="Calibri" panose="020F0502020204030204" pitchFamily="34" charset="0"/>
                <a:cs typeface="Times New Roman" panose="02020603050405020304" pitchFamily="18" charset="0"/>
              </a:rPr>
              <a:t>Broad coverage with platform-native backup</a:t>
            </a:r>
          </a:p>
        </p:txBody>
      </p:sp>
      <p:grpSp>
        <p:nvGrpSpPr>
          <p:cNvPr id="8" name="Group 7">
            <a:extLst>
              <a:ext uri="{FF2B5EF4-FFF2-40B4-BE49-F238E27FC236}">
                <a16:creationId xmlns:a16="http://schemas.microsoft.com/office/drawing/2014/main" id="{862BAC82-2345-7DC0-2F09-4A57664A0ED0}"/>
              </a:ext>
            </a:extLst>
          </p:cNvPr>
          <p:cNvGrpSpPr>
            <a:grpSpLocks noChangeAspect="1"/>
          </p:cNvGrpSpPr>
          <p:nvPr/>
        </p:nvGrpSpPr>
        <p:grpSpPr>
          <a:xfrm>
            <a:off x="4036345" y="2962758"/>
            <a:ext cx="1024526" cy="1024525"/>
            <a:chOff x="1071877" y="2156499"/>
            <a:chExt cx="2749677" cy="2749675"/>
          </a:xfrm>
        </p:grpSpPr>
        <p:sp>
          <p:nvSpPr>
            <p:cNvPr id="9" name="Oval 8">
              <a:extLst>
                <a:ext uri="{FF2B5EF4-FFF2-40B4-BE49-F238E27FC236}">
                  <a16:creationId xmlns:a16="http://schemas.microsoft.com/office/drawing/2014/main" id="{D9CD9529-896B-3D61-C27F-8C3681C058FB}"/>
                </a:ext>
              </a:extLst>
            </p:cNvPr>
            <p:cNvSpPr/>
            <p:nvPr/>
          </p:nvSpPr>
          <p:spPr bwMode="auto">
            <a:xfrm>
              <a:off x="1071877" y="2156499"/>
              <a:ext cx="2749677" cy="2749675"/>
            </a:xfrm>
            <a:prstGeom prst="ellipse">
              <a:avLst/>
            </a:prstGeom>
            <a:solidFill>
              <a:schemeClr val="accent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ctr" anchorCtr="0" forceAA="0" compatLnSpc="1">
              <a:prstTxWarp prst="textNoShape">
                <a:avLst/>
              </a:prstTxWarp>
              <a:noAutofit/>
            </a:bodyPr>
            <a:lstStyle/>
            <a:p>
              <a:pPr algn="ctr" defTabSz="1218768" fontAlgn="base">
                <a:spcBef>
                  <a:spcPct val="0"/>
                </a:spcBef>
                <a:spcAft>
                  <a:spcPct val="0"/>
                </a:spcAft>
              </a:pPr>
              <a:r>
                <a:rPr lang="en-US" sz="2400">
                  <a:gradFill>
                    <a:gsLst>
                      <a:gs pos="0">
                        <a:srgbClr val="FFFFFF"/>
                      </a:gs>
                      <a:gs pos="100000">
                        <a:srgbClr val="FFFFFF"/>
                      </a:gs>
                    </a:gsLst>
                    <a:lin ang="5400000" scaled="0"/>
                  </a:gradFill>
                  <a:latin typeface="+mj-lt"/>
                  <a:cs typeface="Segoe UI" pitchFamily="34" charset="0"/>
                </a:rPr>
                <a:t>   </a:t>
              </a:r>
            </a:p>
          </p:txBody>
        </p:sp>
        <p:pic>
          <p:nvPicPr>
            <p:cNvPr id="11" name="Graphic 10">
              <a:extLst>
                <a:ext uri="{FF2B5EF4-FFF2-40B4-BE49-F238E27FC236}">
                  <a16:creationId xmlns:a16="http://schemas.microsoft.com/office/drawing/2014/main" id="{A68C8AD7-3125-934C-914E-C39115D58081}"/>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1588427" y="2670197"/>
              <a:ext cx="1722277" cy="1722277"/>
            </a:xfrm>
            <a:prstGeom prst="rect">
              <a:avLst/>
            </a:prstGeom>
          </p:spPr>
        </p:pic>
      </p:grpSp>
      <p:sp>
        <p:nvSpPr>
          <p:cNvPr id="14" name="TextBox 13">
            <a:extLst>
              <a:ext uri="{FF2B5EF4-FFF2-40B4-BE49-F238E27FC236}">
                <a16:creationId xmlns:a16="http://schemas.microsoft.com/office/drawing/2014/main" id="{62B8A0DD-7753-8B4C-1600-2689CCC3AD69}"/>
              </a:ext>
            </a:extLst>
          </p:cNvPr>
          <p:cNvSpPr txBox="1"/>
          <p:nvPr/>
        </p:nvSpPr>
        <p:spPr>
          <a:xfrm>
            <a:off x="5554352" y="4115020"/>
            <a:ext cx="1951343" cy="790409"/>
          </a:xfrm>
          <a:prstGeom prst="rect">
            <a:avLst/>
          </a:prstGeom>
          <a:noFill/>
        </p:spPr>
        <p:txBody>
          <a:bodyPr wrap="square" lIns="0" tIns="0" rIns="0" bIns="0">
            <a:spAutoFit/>
          </a:bodyPr>
          <a:lstStyle/>
          <a:p>
            <a:pPr marR="0" lvl="0" algn="ctr">
              <a:lnSpc>
                <a:spcPct val="107000"/>
              </a:lnSpc>
              <a:spcBef>
                <a:spcPts val="0"/>
              </a:spcBef>
              <a:spcAft>
                <a:spcPts val="0"/>
              </a:spcAft>
            </a:pPr>
            <a:r>
              <a:rPr lang="en-US" sz="1600" kern="100" dirty="0">
                <a:ea typeface="Calibri" panose="020F0502020204030204" pitchFamily="34" charset="0"/>
                <a:cs typeface="Times New Roman" panose="02020603050405020304" pitchFamily="18" charset="0"/>
              </a:rPr>
              <a:t>Optimized RPOs </a:t>
            </a:r>
          </a:p>
          <a:p>
            <a:pPr marR="0" lvl="0" algn="ctr">
              <a:lnSpc>
                <a:spcPct val="107000"/>
              </a:lnSpc>
              <a:spcBef>
                <a:spcPts val="0"/>
              </a:spcBef>
              <a:spcAft>
                <a:spcPts val="0"/>
              </a:spcAft>
            </a:pPr>
            <a:r>
              <a:rPr lang="en-US" sz="1600" kern="100" dirty="0">
                <a:ea typeface="Calibri" panose="020F0502020204030204" pitchFamily="34" charset="0"/>
                <a:cs typeface="Times New Roman" panose="02020603050405020304" pitchFamily="18" charset="0"/>
              </a:rPr>
              <a:t>and RTOs with </a:t>
            </a:r>
          </a:p>
          <a:p>
            <a:pPr marR="0" lvl="0" algn="ctr">
              <a:lnSpc>
                <a:spcPct val="107000"/>
              </a:lnSpc>
              <a:spcBef>
                <a:spcPts val="0"/>
              </a:spcBef>
              <a:spcAft>
                <a:spcPts val="0"/>
              </a:spcAft>
            </a:pPr>
            <a:r>
              <a:rPr lang="en-US" sz="1600" kern="100" dirty="0">
                <a:ea typeface="Calibri" panose="020F0502020204030204" pitchFamily="34" charset="0"/>
                <a:cs typeface="Times New Roman" panose="02020603050405020304" pitchFamily="18" charset="0"/>
              </a:rPr>
              <a:t>4-in-1 protection</a:t>
            </a:r>
          </a:p>
        </p:txBody>
      </p:sp>
      <p:grpSp>
        <p:nvGrpSpPr>
          <p:cNvPr id="16" name="Group 15">
            <a:extLst>
              <a:ext uri="{FF2B5EF4-FFF2-40B4-BE49-F238E27FC236}">
                <a16:creationId xmlns:a16="http://schemas.microsoft.com/office/drawing/2014/main" id="{07E20C1D-7968-3938-0D5C-9059C22F0DA1}"/>
              </a:ext>
            </a:extLst>
          </p:cNvPr>
          <p:cNvGrpSpPr>
            <a:grpSpLocks noChangeAspect="1"/>
          </p:cNvGrpSpPr>
          <p:nvPr/>
        </p:nvGrpSpPr>
        <p:grpSpPr>
          <a:xfrm>
            <a:off x="6013108" y="2962758"/>
            <a:ext cx="1024526" cy="1024525"/>
            <a:chOff x="1071877" y="2156499"/>
            <a:chExt cx="2749677" cy="2749675"/>
          </a:xfrm>
        </p:grpSpPr>
        <p:sp>
          <p:nvSpPr>
            <p:cNvPr id="18" name="Oval 17">
              <a:extLst>
                <a:ext uri="{FF2B5EF4-FFF2-40B4-BE49-F238E27FC236}">
                  <a16:creationId xmlns:a16="http://schemas.microsoft.com/office/drawing/2014/main" id="{057D8C90-B959-5C79-3250-88DA51272591}"/>
                </a:ext>
              </a:extLst>
            </p:cNvPr>
            <p:cNvSpPr/>
            <p:nvPr/>
          </p:nvSpPr>
          <p:spPr bwMode="auto">
            <a:xfrm>
              <a:off x="1071877" y="2156499"/>
              <a:ext cx="2749677" cy="2749675"/>
            </a:xfrm>
            <a:prstGeom prst="ellipse">
              <a:avLst/>
            </a:prstGeom>
            <a:solidFill>
              <a:schemeClr val="accent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ctr" anchorCtr="0" forceAA="0" compatLnSpc="1">
              <a:prstTxWarp prst="textNoShape">
                <a:avLst/>
              </a:prstTxWarp>
              <a:noAutofit/>
            </a:bodyPr>
            <a:lstStyle/>
            <a:p>
              <a:pPr algn="ctr" defTabSz="1218768" fontAlgn="base">
                <a:spcBef>
                  <a:spcPct val="0"/>
                </a:spcBef>
                <a:spcAft>
                  <a:spcPct val="0"/>
                </a:spcAft>
              </a:pPr>
              <a:r>
                <a:rPr lang="en-US" sz="2400">
                  <a:gradFill>
                    <a:gsLst>
                      <a:gs pos="0">
                        <a:srgbClr val="FFFFFF"/>
                      </a:gs>
                      <a:gs pos="100000">
                        <a:srgbClr val="FFFFFF"/>
                      </a:gs>
                    </a:gsLst>
                    <a:lin ang="5400000" scaled="0"/>
                  </a:gradFill>
                  <a:latin typeface="+mj-lt"/>
                  <a:cs typeface="Segoe UI" pitchFamily="34" charset="0"/>
                </a:rPr>
                <a:t>   </a:t>
              </a:r>
            </a:p>
          </p:txBody>
        </p:sp>
        <p:pic>
          <p:nvPicPr>
            <p:cNvPr id="20" name="Graphic 19">
              <a:extLst>
                <a:ext uri="{FF2B5EF4-FFF2-40B4-BE49-F238E27FC236}">
                  <a16:creationId xmlns:a16="http://schemas.microsoft.com/office/drawing/2014/main" id="{E46228CB-0E7E-DFAD-A81F-9D5A1E197CE6}"/>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1498854" y="2592287"/>
              <a:ext cx="1937973" cy="1937973"/>
            </a:xfrm>
            <a:prstGeom prst="rect">
              <a:avLst/>
            </a:prstGeom>
          </p:spPr>
        </p:pic>
      </p:grpSp>
      <p:sp>
        <p:nvSpPr>
          <p:cNvPr id="21" name="TextBox 20">
            <a:extLst>
              <a:ext uri="{FF2B5EF4-FFF2-40B4-BE49-F238E27FC236}">
                <a16:creationId xmlns:a16="http://schemas.microsoft.com/office/drawing/2014/main" id="{22C49D95-13A2-7D2F-E713-B2A0A5CECB8D}"/>
              </a:ext>
            </a:extLst>
          </p:cNvPr>
          <p:cNvSpPr txBox="1"/>
          <p:nvPr/>
        </p:nvSpPr>
        <p:spPr>
          <a:xfrm>
            <a:off x="7366224" y="4115020"/>
            <a:ext cx="2242789" cy="790409"/>
          </a:xfrm>
          <a:prstGeom prst="rect">
            <a:avLst/>
          </a:prstGeom>
          <a:noFill/>
        </p:spPr>
        <p:txBody>
          <a:bodyPr wrap="square" lIns="0" tIns="0" rIns="0" bIns="0">
            <a:spAutoFit/>
          </a:bodyPr>
          <a:lstStyle/>
          <a:p>
            <a:pPr marR="0" lvl="0" algn="ctr">
              <a:lnSpc>
                <a:spcPct val="107000"/>
              </a:lnSpc>
              <a:spcBef>
                <a:spcPts val="0"/>
              </a:spcBef>
              <a:spcAft>
                <a:spcPts val="600"/>
              </a:spcAft>
            </a:pPr>
            <a:r>
              <a:rPr lang="en-US" sz="1600" kern="100" dirty="0">
                <a:ea typeface="Calibri" panose="020F0502020204030204" pitchFamily="34" charset="0"/>
                <a:cs typeface="Times New Roman" panose="02020603050405020304" pitchFamily="18" charset="0"/>
              </a:rPr>
              <a:t>Automated recoverability testing with </a:t>
            </a:r>
            <a:r>
              <a:rPr lang="en-US" sz="1600" kern="100" dirty="0" err="1">
                <a:ea typeface="Calibri" panose="020F0502020204030204" pitchFamily="34" charset="0"/>
                <a:cs typeface="Times New Roman" panose="02020603050405020304" pitchFamily="18" charset="0"/>
              </a:rPr>
              <a:t>SureBackup</a:t>
            </a:r>
            <a:endParaRPr lang="en-US" sz="1600" kern="100" dirty="0">
              <a:ea typeface="Calibri" panose="020F0502020204030204" pitchFamily="34" charset="0"/>
              <a:cs typeface="Times New Roman" panose="02020603050405020304" pitchFamily="18" charset="0"/>
            </a:endParaRPr>
          </a:p>
        </p:txBody>
      </p:sp>
      <p:grpSp>
        <p:nvGrpSpPr>
          <p:cNvPr id="22" name="Group 21">
            <a:extLst>
              <a:ext uri="{FF2B5EF4-FFF2-40B4-BE49-F238E27FC236}">
                <a16:creationId xmlns:a16="http://schemas.microsoft.com/office/drawing/2014/main" id="{9440447D-757E-471B-39FF-6693C97FF682}"/>
              </a:ext>
            </a:extLst>
          </p:cNvPr>
          <p:cNvGrpSpPr>
            <a:grpSpLocks noChangeAspect="1"/>
          </p:cNvGrpSpPr>
          <p:nvPr/>
        </p:nvGrpSpPr>
        <p:grpSpPr>
          <a:xfrm>
            <a:off x="7975357" y="2962758"/>
            <a:ext cx="1024526" cy="1024525"/>
            <a:chOff x="1071877" y="2156499"/>
            <a:chExt cx="2749677" cy="2749675"/>
          </a:xfrm>
        </p:grpSpPr>
        <p:sp>
          <p:nvSpPr>
            <p:cNvPr id="23" name="Oval 22">
              <a:extLst>
                <a:ext uri="{FF2B5EF4-FFF2-40B4-BE49-F238E27FC236}">
                  <a16:creationId xmlns:a16="http://schemas.microsoft.com/office/drawing/2014/main" id="{17522D27-FB59-50BB-2EAF-DD0B6FC4D2DC}"/>
                </a:ext>
              </a:extLst>
            </p:cNvPr>
            <p:cNvSpPr/>
            <p:nvPr/>
          </p:nvSpPr>
          <p:spPr bwMode="auto">
            <a:xfrm>
              <a:off x="1071877" y="2156499"/>
              <a:ext cx="2749677" cy="2749675"/>
            </a:xfrm>
            <a:prstGeom prst="ellipse">
              <a:avLst/>
            </a:prstGeom>
            <a:solidFill>
              <a:schemeClr val="accent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ctr" anchorCtr="0" forceAA="0" compatLnSpc="1">
              <a:prstTxWarp prst="textNoShape">
                <a:avLst/>
              </a:prstTxWarp>
              <a:noAutofit/>
            </a:bodyPr>
            <a:lstStyle/>
            <a:p>
              <a:pPr algn="ctr" defTabSz="1218768" fontAlgn="base">
                <a:spcBef>
                  <a:spcPct val="0"/>
                </a:spcBef>
                <a:spcAft>
                  <a:spcPct val="0"/>
                </a:spcAft>
              </a:pPr>
              <a:r>
                <a:rPr lang="en-US" sz="2400">
                  <a:gradFill>
                    <a:gsLst>
                      <a:gs pos="0">
                        <a:srgbClr val="FFFFFF"/>
                      </a:gs>
                      <a:gs pos="100000">
                        <a:srgbClr val="FFFFFF"/>
                      </a:gs>
                    </a:gsLst>
                    <a:lin ang="5400000" scaled="0"/>
                  </a:gradFill>
                  <a:latin typeface="+mj-lt"/>
                  <a:cs typeface="Segoe UI" pitchFamily="34" charset="0"/>
                </a:rPr>
                <a:t>   </a:t>
              </a:r>
            </a:p>
          </p:txBody>
        </p:sp>
        <p:pic>
          <p:nvPicPr>
            <p:cNvPr id="24" name="Graphic 23">
              <a:extLst>
                <a:ext uri="{FF2B5EF4-FFF2-40B4-BE49-F238E27FC236}">
                  <a16:creationId xmlns:a16="http://schemas.microsoft.com/office/drawing/2014/main" id="{FFAEDC83-0676-692C-86ED-73712E976A68}"/>
                </a:ext>
              </a:extLst>
            </p:cNvPr>
            <p:cNvPicPr preferRelativeResize="0">
              <a:picLocks noChangeAspect="1"/>
            </p:cNvPicPr>
            <p:nvPr/>
          </p:nvPicPr>
          <p:blipFill>
            <a:blip r:embed="rId11">
              <a:extLst>
                <a:ext uri="{96DAC541-7B7A-43D3-8B79-37D633B846F1}">
                  <asvg:svgBlip xmlns:asvg="http://schemas.microsoft.com/office/drawing/2016/SVG/main" r:embed="rId12"/>
                </a:ext>
              </a:extLst>
            </a:blip>
            <a:srcRect/>
            <a:stretch/>
          </p:blipFill>
          <p:spPr>
            <a:xfrm>
              <a:off x="1585577" y="2670197"/>
              <a:ext cx="1722277" cy="1722277"/>
            </a:xfrm>
            <a:prstGeom prst="rect">
              <a:avLst/>
            </a:prstGeom>
          </p:spPr>
        </p:pic>
      </p:grpSp>
      <p:sp>
        <p:nvSpPr>
          <p:cNvPr id="25" name="TextBox 24">
            <a:extLst>
              <a:ext uri="{FF2B5EF4-FFF2-40B4-BE49-F238E27FC236}">
                <a16:creationId xmlns:a16="http://schemas.microsoft.com/office/drawing/2014/main" id="{FF7DB33D-9191-DAAC-56F2-55C8DF6925B2}"/>
              </a:ext>
            </a:extLst>
          </p:cNvPr>
          <p:cNvSpPr txBox="1"/>
          <p:nvPr/>
        </p:nvSpPr>
        <p:spPr>
          <a:xfrm>
            <a:off x="9416139" y="4115020"/>
            <a:ext cx="1951343" cy="790409"/>
          </a:xfrm>
          <a:prstGeom prst="rect">
            <a:avLst/>
          </a:prstGeom>
          <a:noFill/>
        </p:spPr>
        <p:txBody>
          <a:bodyPr wrap="square" lIns="0" tIns="0" rIns="0" bIns="0">
            <a:spAutoFit/>
          </a:bodyPr>
          <a:lstStyle/>
          <a:p>
            <a:pPr marR="0" lvl="0" algn="ctr">
              <a:lnSpc>
                <a:spcPct val="107000"/>
              </a:lnSpc>
              <a:spcBef>
                <a:spcPts val="0"/>
              </a:spcBef>
              <a:spcAft>
                <a:spcPts val="800"/>
              </a:spcAft>
            </a:pPr>
            <a:r>
              <a:rPr lang="en-US" sz="1600" dirty="0">
                <a:ea typeface="Calibri" panose="020F0502020204030204" pitchFamily="34" charset="0"/>
                <a:cs typeface="Times New Roman" panose="02020603050405020304" pitchFamily="18" charset="0"/>
              </a:rPr>
              <a:t>Unified backup management at enterprise scale</a:t>
            </a:r>
            <a:endParaRPr lang="en-US" sz="1600" dirty="0">
              <a:solidFill>
                <a:schemeClr val="bg1"/>
              </a:solidFill>
              <a:cs typeface="Microsoft Sans Serif" panose="020B0604020202020204" pitchFamily="34" charset="0"/>
            </a:endParaRPr>
          </a:p>
        </p:txBody>
      </p:sp>
      <p:grpSp>
        <p:nvGrpSpPr>
          <p:cNvPr id="26" name="Group 25">
            <a:extLst>
              <a:ext uri="{FF2B5EF4-FFF2-40B4-BE49-F238E27FC236}">
                <a16:creationId xmlns:a16="http://schemas.microsoft.com/office/drawing/2014/main" id="{304EC7F2-7A7F-252B-5239-2129490C6215}"/>
              </a:ext>
            </a:extLst>
          </p:cNvPr>
          <p:cNvGrpSpPr>
            <a:grpSpLocks noChangeAspect="1"/>
          </p:cNvGrpSpPr>
          <p:nvPr/>
        </p:nvGrpSpPr>
        <p:grpSpPr>
          <a:xfrm>
            <a:off x="9879549" y="2962758"/>
            <a:ext cx="1024526" cy="1024525"/>
            <a:chOff x="1071877" y="2156499"/>
            <a:chExt cx="2749677" cy="2749675"/>
          </a:xfrm>
        </p:grpSpPr>
        <p:sp>
          <p:nvSpPr>
            <p:cNvPr id="32" name="Oval 31">
              <a:extLst>
                <a:ext uri="{FF2B5EF4-FFF2-40B4-BE49-F238E27FC236}">
                  <a16:creationId xmlns:a16="http://schemas.microsoft.com/office/drawing/2014/main" id="{09AAB576-A363-D169-629B-5AB40A3B7ACE}"/>
                </a:ext>
              </a:extLst>
            </p:cNvPr>
            <p:cNvSpPr/>
            <p:nvPr/>
          </p:nvSpPr>
          <p:spPr bwMode="auto">
            <a:xfrm>
              <a:off x="1071877" y="2156499"/>
              <a:ext cx="2749677" cy="2749675"/>
            </a:xfrm>
            <a:prstGeom prst="ellipse">
              <a:avLst/>
            </a:prstGeom>
            <a:solidFill>
              <a:schemeClr val="accent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ctr" anchorCtr="0" forceAA="0" compatLnSpc="1">
              <a:prstTxWarp prst="textNoShape">
                <a:avLst/>
              </a:prstTxWarp>
              <a:noAutofit/>
            </a:bodyPr>
            <a:lstStyle/>
            <a:p>
              <a:pPr algn="ctr" defTabSz="1218768" fontAlgn="base">
                <a:spcBef>
                  <a:spcPct val="0"/>
                </a:spcBef>
                <a:spcAft>
                  <a:spcPct val="0"/>
                </a:spcAft>
              </a:pPr>
              <a:r>
                <a:rPr lang="en-US" sz="2400">
                  <a:gradFill>
                    <a:gsLst>
                      <a:gs pos="0">
                        <a:srgbClr val="FFFFFF"/>
                      </a:gs>
                      <a:gs pos="100000">
                        <a:srgbClr val="FFFFFF"/>
                      </a:gs>
                    </a:gsLst>
                    <a:lin ang="5400000" scaled="0"/>
                  </a:gradFill>
                  <a:latin typeface="+mj-lt"/>
                  <a:cs typeface="Segoe UI" pitchFamily="34" charset="0"/>
                </a:rPr>
                <a:t>   </a:t>
              </a:r>
            </a:p>
          </p:txBody>
        </p:sp>
        <p:pic>
          <p:nvPicPr>
            <p:cNvPr id="33" name="Graphic 32">
              <a:extLst>
                <a:ext uri="{FF2B5EF4-FFF2-40B4-BE49-F238E27FC236}">
                  <a16:creationId xmlns:a16="http://schemas.microsoft.com/office/drawing/2014/main" id="{6EFAABAA-C7EE-54D8-79EF-A047AE2EB605}"/>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1583473" y="2665986"/>
              <a:ext cx="1726488" cy="1726488"/>
            </a:xfrm>
            <a:prstGeom prst="rect">
              <a:avLst/>
            </a:prstGeom>
          </p:spPr>
        </p:pic>
      </p:grpSp>
    </p:spTree>
    <p:extLst>
      <p:ext uri="{BB962C8B-B14F-4D97-AF65-F5344CB8AC3E}">
        <p14:creationId xmlns:p14="http://schemas.microsoft.com/office/powerpoint/2010/main" val="15447056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250"/>
                                        <p:tgtEl>
                                          <p:spTgt spid="8"/>
                                        </p:tgtEl>
                                      </p:cBhvr>
                                    </p:animEffect>
                                  </p:childTnLst>
                                </p:cTn>
                              </p:par>
                              <p:par>
                                <p:cTn id="8" presetID="42" presetClass="path" presetSubtype="0" decel="100000" fill="hold" nodeType="withEffect">
                                  <p:stCondLst>
                                    <p:cond delay="0"/>
                                  </p:stCondLst>
                                  <p:childTnLst>
                                    <p:animMotion origin="layout" path="M -4.16667E-6 -0.03472 L -4.16667E-6 -2.96296E-6 " pathEditMode="relative" rAng="0" ptsTypes="AA">
                                      <p:cBhvr>
                                        <p:cTn id="9" dur="500" fill="hold"/>
                                        <p:tgtEl>
                                          <p:spTgt spid="8"/>
                                        </p:tgtEl>
                                        <p:attrNameLst>
                                          <p:attrName>ppt_x</p:attrName>
                                          <p:attrName>ppt_y</p:attrName>
                                        </p:attrNameLst>
                                      </p:cBhvr>
                                      <p:rCtr x="0" y="1736"/>
                                    </p:animMotion>
                                  </p:childTnLst>
                                </p:cTn>
                              </p:par>
                              <p:par>
                                <p:cTn id="10" presetID="10" presetClass="entr" presetSubtype="0" fill="hold" nodeType="withEffect">
                                  <p:stCondLst>
                                    <p:cond delay="25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250"/>
                                        <p:tgtEl>
                                          <p:spTgt spid="16"/>
                                        </p:tgtEl>
                                      </p:cBhvr>
                                    </p:animEffect>
                                  </p:childTnLst>
                                </p:cTn>
                              </p:par>
                              <p:par>
                                <p:cTn id="13" presetID="42" presetClass="path" presetSubtype="0" decel="100000" fill="hold" nodeType="withEffect">
                                  <p:stCondLst>
                                    <p:cond delay="250"/>
                                  </p:stCondLst>
                                  <p:childTnLst>
                                    <p:animMotion origin="layout" path="M 4.16667E-6 -0.03472 L 4.16667E-6 -2.96296E-6 " pathEditMode="relative" rAng="0" ptsTypes="AA">
                                      <p:cBhvr>
                                        <p:cTn id="14" dur="500" fill="hold"/>
                                        <p:tgtEl>
                                          <p:spTgt spid="16"/>
                                        </p:tgtEl>
                                        <p:attrNameLst>
                                          <p:attrName>ppt_x</p:attrName>
                                          <p:attrName>ppt_y</p:attrName>
                                        </p:attrNameLst>
                                      </p:cBhvr>
                                      <p:rCtr x="0" y="1736"/>
                                    </p:animMotion>
                                  </p:childTnLst>
                                </p:cTn>
                              </p:par>
                              <p:par>
                                <p:cTn id="15" presetID="10" presetClass="entr" presetSubtype="0" fill="hold" nodeType="withEffect">
                                  <p:stCondLst>
                                    <p:cond delay="50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250"/>
                                        <p:tgtEl>
                                          <p:spTgt spid="22"/>
                                        </p:tgtEl>
                                      </p:cBhvr>
                                    </p:animEffect>
                                  </p:childTnLst>
                                </p:cTn>
                              </p:par>
                              <p:par>
                                <p:cTn id="18" presetID="42" presetClass="path" presetSubtype="0" decel="100000" fill="hold" nodeType="withEffect">
                                  <p:stCondLst>
                                    <p:cond delay="500"/>
                                  </p:stCondLst>
                                  <p:childTnLst>
                                    <p:animMotion origin="layout" path="M 2.70833E-6 -0.03472 L 2.70833E-6 -2.96296E-6 " pathEditMode="relative" rAng="0" ptsTypes="AA">
                                      <p:cBhvr>
                                        <p:cTn id="19" dur="500" fill="hold"/>
                                        <p:tgtEl>
                                          <p:spTgt spid="22"/>
                                        </p:tgtEl>
                                        <p:attrNameLst>
                                          <p:attrName>ppt_x</p:attrName>
                                          <p:attrName>ppt_y</p:attrName>
                                        </p:attrNameLst>
                                      </p:cBhvr>
                                      <p:rCtr x="0" y="1736"/>
                                    </p:animMotion>
                                  </p:childTnLst>
                                </p:cTn>
                              </p:par>
                              <p:par>
                                <p:cTn id="20" presetID="10" presetClass="entr" presetSubtype="0" fill="hold" nodeType="withEffect">
                                  <p:stCondLst>
                                    <p:cond delay="75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250"/>
                                        <p:tgtEl>
                                          <p:spTgt spid="26"/>
                                        </p:tgtEl>
                                      </p:cBhvr>
                                    </p:animEffect>
                                  </p:childTnLst>
                                </p:cTn>
                              </p:par>
                              <p:par>
                                <p:cTn id="23" presetID="42" presetClass="path" presetSubtype="0" decel="100000" fill="hold" nodeType="withEffect">
                                  <p:stCondLst>
                                    <p:cond delay="750"/>
                                  </p:stCondLst>
                                  <p:childTnLst>
                                    <p:animMotion origin="layout" path="M 1.25E-6 -0.03472 L 1.25E-6 -2.96296E-6 " pathEditMode="relative" rAng="0" ptsTypes="AA">
                                      <p:cBhvr>
                                        <p:cTn id="24" dur="500" fill="hold"/>
                                        <p:tgtEl>
                                          <p:spTgt spid="26"/>
                                        </p:tgtEl>
                                        <p:attrNameLst>
                                          <p:attrName>ppt_x</p:attrName>
                                          <p:attrName>ppt_y</p:attrName>
                                        </p:attrNameLst>
                                      </p:cBhvr>
                                      <p:rCtr x="0" y="1736"/>
                                    </p:animMotion>
                                  </p:childTnLst>
                                </p:cTn>
                              </p:par>
                              <p:par>
                                <p:cTn id="25" presetID="10" presetClass="entr" presetSubtype="0" fill="hold" grpId="0" nodeType="withEffect">
                                  <p:stCondLst>
                                    <p:cond delay="0"/>
                                  </p:stCondLst>
                                  <p:childTnLst>
                                    <p:set>
                                      <p:cBhvr>
                                        <p:cTn id="26" dur="1" fill="hold">
                                          <p:stCondLst>
                                            <p:cond delay="0"/>
                                          </p:stCondLst>
                                        </p:cTn>
                                        <p:tgtEl>
                                          <p:spTgt spid="3"/>
                                        </p:tgtEl>
                                        <p:attrNameLst>
                                          <p:attrName>style.visibility</p:attrName>
                                        </p:attrNameLst>
                                      </p:cBhvr>
                                      <p:to>
                                        <p:strVal val="visible"/>
                                      </p:to>
                                    </p:set>
                                    <p:animEffect transition="in" filter="fade">
                                      <p:cBhvr>
                                        <p:cTn id="27" dur="250"/>
                                        <p:tgtEl>
                                          <p:spTgt spid="3"/>
                                        </p:tgtEl>
                                      </p:cBhvr>
                                    </p:animEffect>
                                  </p:childTnLst>
                                </p:cTn>
                              </p:par>
                              <p:par>
                                <p:cTn id="28" presetID="42" presetClass="path" presetSubtype="0" decel="100000" fill="hold" grpId="1" nodeType="withEffect">
                                  <p:stCondLst>
                                    <p:cond delay="0"/>
                                  </p:stCondLst>
                                  <p:childTnLst>
                                    <p:animMotion origin="layout" path="M 8.33333E-7 0.03889 L 8.33333E-7 1.11111E-6 " pathEditMode="relative" rAng="0" ptsTypes="AA">
                                      <p:cBhvr>
                                        <p:cTn id="29" dur="500" fill="hold"/>
                                        <p:tgtEl>
                                          <p:spTgt spid="3"/>
                                        </p:tgtEl>
                                        <p:attrNameLst>
                                          <p:attrName>ppt_x</p:attrName>
                                          <p:attrName>ppt_y</p:attrName>
                                        </p:attrNameLst>
                                      </p:cBhvr>
                                      <p:rCtr x="0" y="-1944"/>
                                    </p:animMotion>
                                  </p:childTnLst>
                                </p:cTn>
                              </p:par>
                              <p:par>
                                <p:cTn id="30" presetID="10" presetClass="entr" presetSubtype="0" fill="hold" grpId="0" nodeType="withEffect">
                                  <p:stCondLst>
                                    <p:cond delay="250"/>
                                  </p:stCondLst>
                                  <p:childTnLst>
                                    <p:set>
                                      <p:cBhvr>
                                        <p:cTn id="31" dur="1" fill="hold">
                                          <p:stCondLst>
                                            <p:cond delay="0"/>
                                          </p:stCondLst>
                                        </p:cTn>
                                        <p:tgtEl>
                                          <p:spTgt spid="14"/>
                                        </p:tgtEl>
                                        <p:attrNameLst>
                                          <p:attrName>style.visibility</p:attrName>
                                        </p:attrNameLst>
                                      </p:cBhvr>
                                      <p:to>
                                        <p:strVal val="visible"/>
                                      </p:to>
                                    </p:set>
                                    <p:animEffect transition="in" filter="fade">
                                      <p:cBhvr>
                                        <p:cTn id="32" dur="250"/>
                                        <p:tgtEl>
                                          <p:spTgt spid="14"/>
                                        </p:tgtEl>
                                      </p:cBhvr>
                                    </p:animEffect>
                                  </p:childTnLst>
                                </p:cTn>
                              </p:par>
                              <p:par>
                                <p:cTn id="33" presetID="42" presetClass="path" presetSubtype="0" decel="100000" fill="hold" grpId="1" nodeType="withEffect">
                                  <p:stCondLst>
                                    <p:cond delay="250"/>
                                  </p:stCondLst>
                                  <p:childTnLst>
                                    <p:animMotion origin="layout" path="M 3.125E-6 0.03889 L 3.125E-6 1.11111E-6 " pathEditMode="relative" rAng="0" ptsTypes="AA">
                                      <p:cBhvr>
                                        <p:cTn id="34" dur="500" fill="hold"/>
                                        <p:tgtEl>
                                          <p:spTgt spid="14"/>
                                        </p:tgtEl>
                                        <p:attrNameLst>
                                          <p:attrName>ppt_x</p:attrName>
                                          <p:attrName>ppt_y</p:attrName>
                                        </p:attrNameLst>
                                      </p:cBhvr>
                                      <p:rCtr x="0" y="-1944"/>
                                    </p:animMotion>
                                  </p:childTnLst>
                                </p:cTn>
                              </p:par>
                              <p:par>
                                <p:cTn id="35" presetID="10" presetClass="entr" presetSubtype="0" fill="hold" grpId="0" nodeType="withEffect">
                                  <p:stCondLst>
                                    <p:cond delay="500"/>
                                  </p:stCondLst>
                                  <p:childTnLst>
                                    <p:set>
                                      <p:cBhvr>
                                        <p:cTn id="36" dur="1" fill="hold">
                                          <p:stCondLst>
                                            <p:cond delay="0"/>
                                          </p:stCondLst>
                                        </p:cTn>
                                        <p:tgtEl>
                                          <p:spTgt spid="21"/>
                                        </p:tgtEl>
                                        <p:attrNameLst>
                                          <p:attrName>style.visibility</p:attrName>
                                        </p:attrNameLst>
                                      </p:cBhvr>
                                      <p:to>
                                        <p:strVal val="visible"/>
                                      </p:to>
                                    </p:set>
                                    <p:animEffect transition="in" filter="fade">
                                      <p:cBhvr>
                                        <p:cTn id="37" dur="250"/>
                                        <p:tgtEl>
                                          <p:spTgt spid="21"/>
                                        </p:tgtEl>
                                      </p:cBhvr>
                                    </p:animEffect>
                                  </p:childTnLst>
                                </p:cTn>
                              </p:par>
                              <p:par>
                                <p:cTn id="38" presetID="42" presetClass="path" presetSubtype="0" decel="100000" fill="hold" grpId="1" nodeType="withEffect">
                                  <p:stCondLst>
                                    <p:cond delay="500"/>
                                  </p:stCondLst>
                                  <p:childTnLst>
                                    <p:animMotion origin="layout" path="M -3.75E-6 0.03889 L -3.75E-6 1.11111E-6 " pathEditMode="relative" rAng="0" ptsTypes="AA">
                                      <p:cBhvr>
                                        <p:cTn id="39" dur="500" fill="hold"/>
                                        <p:tgtEl>
                                          <p:spTgt spid="21"/>
                                        </p:tgtEl>
                                        <p:attrNameLst>
                                          <p:attrName>ppt_x</p:attrName>
                                          <p:attrName>ppt_y</p:attrName>
                                        </p:attrNameLst>
                                      </p:cBhvr>
                                      <p:rCtr x="0" y="-1944"/>
                                    </p:animMotion>
                                  </p:childTnLst>
                                </p:cTn>
                              </p:par>
                              <p:par>
                                <p:cTn id="40" presetID="10" presetClass="entr" presetSubtype="0" fill="hold" grpId="0" nodeType="withEffect">
                                  <p:stCondLst>
                                    <p:cond delay="750"/>
                                  </p:stCondLst>
                                  <p:childTnLst>
                                    <p:set>
                                      <p:cBhvr>
                                        <p:cTn id="41" dur="1" fill="hold">
                                          <p:stCondLst>
                                            <p:cond delay="0"/>
                                          </p:stCondLst>
                                        </p:cTn>
                                        <p:tgtEl>
                                          <p:spTgt spid="25"/>
                                        </p:tgtEl>
                                        <p:attrNameLst>
                                          <p:attrName>style.visibility</p:attrName>
                                        </p:attrNameLst>
                                      </p:cBhvr>
                                      <p:to>
                                        <p:strVal val="visible"/>
                                      </p:to>
                                    </p:set>
                                    <p:animEffect transition="in" filter="fade">
                                      <p:cBhvr>
                                        <p:cTn id="42" dur="250"/>
                                        <p:tgtEl>
                                          <p:spTgt spid="25"/>
                                        </p:tgtEl>
                                      </p:cBhvr>
                                    </p:animEffect>
                                  </p:childTnLst>
                                </p:cTn>
                              </p:par>
                              <p:par>
                                <p:cTn id="43" presetID="42" presetClass="path" presetSubtype="0" decel="100000" fill="hold" grpId="1" nodeType="withEffect">
                                  <p:stCondLst>
                                    <p:cond delay="750"/>
                                  </p:stCondLst>
                                  <p:childTnLst>
                                    <p:animMotion origin="layout" path="M -3.75E-6 0.03889 L -3.75E-6 1.11111E-6 " pathEditMode="relative" rAng="0" ptsTypes="AA">
                                      <p:cBhvr>
                                        <p:cTn id="44" dur="500" fill="hold"/>
                                        <p:tgtEl>
                                          <p:spTgt spid="25"/>
                                        </p:tgtEl>
                                        <p:attrNameLst>
                                          <p:attrName>ppt_x</p:attrName>
                                          <p:attrName>ppt_y</p:attrName>
                                        </p:attrNameLst>
                                      </p:cBhvr>
                                      <p:rCtr x="0" y="-19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14" grpId="0"/>
      <p:bldP spid="14" grpId="1"/>
      <p:bldP spid="21" grpId="0"/>
      <p:bldP spid="21" grpId="1"/>
      <p:bldP spid="25" grpId="0"/>
      <p:bldP spid="25" grpId="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D1">
            <a:extLst>
              <a:ext uri="{FF2B5EF4-FFF2-40B4-BE49-F238E27FC236}">
                <a16:creationId xmlns:a16="http://schemas.microsoft.com/office/drawing/2014/main" id="{F9F1A452-CAA8-F001-A24A-175B52DB89C9}"/>
              </a:ext>
            </a:extLst>
          </p:cNvPr>
          <p:cNvSpPr/>
          <p:nvPr/>
        </p:nvSpPr>
        <p:spPr>
          <a:xfrm>
            <a:off x="502179" y="1639000"/>
            <a:ext cx="11019043" cy="4506679"/>
          </a:xfrm>
          <a:prstGeom prst="roundRect">
            <a:avLst>
              <a:gd name="adj" fmla="val 1854"/>
            </a:avLst>
          </a:prstGeom>
          <a:solidFill>
            <a:schemeClr val="bg1"/>
          </a:solidFill>
          <a:ln>
            <a:noFill/>
          </a:ln>
          <a:effectLst>
            <a:outerShdw blurRad="381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defRPr/>
            </a:pPr>
            <a:endParaRPr lang="en-US" sz="2400">
              <a:solidFill>
                <a:srgbClr val="FFFFFF"/>
              </a:solidFill>
              <a:latin typeface="ES Build" pitchFamily="50" charset="0"/>
              <a:cs typeface="Microsoft Sans Serif" panose="020B0604020202020204" pitchFamily="34" charset="0"/>
            </a:endParaRPr>
          </a:p>
        </p:txBody>
      </p:sp>
      <p:sp>
        <p:nvSpPr>
          <p:cNvPr id="235" name="Freeform 234">
            <a:extLst>
              <a:ext uri="{FF2B5EF4-FFF2-40B4-BE49-F238E27FC236}">
                <a16:creationId xmlns:a16="http://schemas.microsoft.com/office/drawing/2014/main" id="{A3AB2225-616F-1DC1-A53B-CCFD7052E306}"/>
              </a:ext>
            </a:extLst>
          </p:cNvPr>
          <p:cNvSpPr/>
          <p:nvPr/>
        </p:nvSpPr>
        <p:spPr>
          <a:xfrm>
            <a:off x="493289" y="1638576"/>
            <a:ext cx="2812314" cy="4507103"/>
          </a:xfrm>
          <a:custGeom>
            <a:avLst/>
            <a:gdLst>
              <a:gd name="connsiteX0" fmla="*/ 74744 w 2812314"/>
              <a:gd name="connsiteY0" fmla="*/ 0 h 4507103"/>
              <a:gd name="connsiteX1" fmla="*/ 2812314 w 2812314"/>
              <a:gd name="connsiteY1" fmla="*/ 0 h 4507103"/>
              <a:gd name="connsiteX2" fmla="*/ 2812314 w 2812314"/>
              <a:gd name="connsiteY2" fmla="*/ 4507103 h 4507103"/>
              <a:gd name="connsiteX3" fmla="*/ 74744 w 2812314"/>
              <a:gd name="connsiteY3" fmla="*/ 4507103 h 4507103"/>
              <a:gd name="connsiteX4" fmla="*/ 0 w 2812314"/>
              <a:gd name="connsiteY4" fmla="*/ 4432359 h 4507103"/>
              <a:gd name="connsiteX5" fmla="*/ 0 w 2812314"/>
              <a:gd name="connsiteY5" fmla="*/ 74744 h 4507103"/>
              <a:gd name="connsiteX6" fmla="*/ 74744 w 2812314"/>
              <a:gd name="connsiteY6" fmla="*/ 0 h 4507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12314" h="4507103">
                <a:moveTo>
                  <a:pt x="74744" y="0"/>
                </a:moveTo>
                <a:lnTo>
                  <a:pt x="2812314" y="0"/>
                </a:lnTo>
                <a:lnTo>
                  <a:pt x="2812314" y="4507103"/>
                </a:lnTo>
                <a:lnTo>
                  <a:pt x="74744" y="4507103"/>
                </a:lnTo>
                <a:cubicBezTo>
                  <a:pt x="33464" y="4507103"/>
                  <a:pt x="0" y="4473639"/>
                  <a:pt x="0" y="4432359"/>
                </a:cubicBezTo>
                <a:lnTo>
                  <a:pt x="0" y="74744"/>
                </a:lnTo>
                <a:cubicBezTo>
                  <a:pt x="0" y="33464"/>
                  <a:pt x="33464" y="0"/>
                  <a:pt x="74744" y="0"/>
                </a:cubicBezTo>
                <a:close/>
              </a:path>
            </a:pathLst>
          </a:custGeom>
          <a:solidFill>
            <a:srgbClr val="8E71F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6000"/>
              </a:lnSpc>
            </a:pPr>
            <a:endParaRPr lang="en-US">
              <a:solidFill>
                <a:schemeClr val="bg1"/>
              </a:solidFill>
              <a:latin typeface="ES Build" pitchFamily="50" charset="0"/>
              <a:cs typeface="Microsoft Sans Serif" panose="020B0604020202020204" pitchFamily="34" charset="0"/>
            </a:endParaRPr>
          </a:p>
        </p:txBody>
      </p:sp>
      <p:sp>
        <p:nvSpPr>
          <p:cNvPr id="17" name="TextBox 16">
            <a:extLst>
              <a:ext uri="{FF2B5EF4-FFF2-40B4-BE49-F238E27FC236}">
                <a16:creationId xmlns:a16="http://schemas.microsoft.com/office/drawing/2014/main" id="{D5B14FCC-2048-9344-2511-D58271638DFB}"/>
              </a:ext>
            </a:extLst>
          </p:cNvPr>
          <p:cNvSpPr txBox="1"/>
          <p:nvPr/>
        </p:nvSpPr>
        <p:spPr>
          <a:xfrm>
            <a:off x="502179" y="4688342"/>
            <a:ext cx="2803424" cy="411123"/>
          </a:xfrm>
          <a:prstGeom prst="rect">
            <a:avLst/>
          </a:prstGeom>
          <a:noFill/>
          <a:ln>
            <a:noFill/>
          </a:ln>
        </p:spPr>
        <p:txBody>
          <a:bodyPr wrap="square" anchor="t">
            <a:noAutofit/>
          </a:bodyPr>
          <a:lstStyle>
            <a:defPPr>
              <a:defRPr lang="en-US"/>
            </a:defPPr>
            <a:lvl1pPr marR="0" lvl="0" indent="0" fontAlgn="auto">
              <a:lnSpc>
                <a:spcPct val="100000"/>
              </a:lnSpc>
              <a:spcBef>
                <a:spcPts val="0"/>
              </a:spcBef>
              <a:spcAft>
                <a:spcPts val="0"/>
              </a:spcAft>
              <a:buClrTx/>
              <a:buSzTx/>
              <a:buFontTx/>
              <a:buNone/>
              <a:tabLst/>
              <a:defRPr kumimoji="0" sz="2200" b="1" i="0" u="none" strike="noStrike" cap="none" spc="0" normalizeH="0" baseline="0">
                <a:ln>
                  <a:noFill/>
                </a:ln>
                <a:solidFill>
                  <a:srgbClr val="FFFFFF"/>
                </a:solidFill>
                <a:effectLst/>
                <a:uLnTx/>
                <a:uFillTx/>
                <a:latin typeface="ES Build Neutral"/>
              </a:defRPr>
            </a:lvl1pPr>
          </a:lstStyle>
          <a:p>
            <a:pPr algn="ctr">
              <a:lnSpc>
                <a:spcPct val="80000"/>
              </a:lnSpc>
            </a:pPr>
            <a:r>
              <a:rPr lang="en-US" sz="2800">
                <a:solidFill>
                  <a:srgbClr val="FFFFFF"/>
                </a:solidFill>
                <a:latin typeface="ES Build" pitchFamily="50" charset="0"/>
                <a:cs typeface="Microsoft Sans Serif" panose="020B0604020202020204" pitchFamily="34" charset="0"/>
              </a:rPr>
              <a:t>Data Recovery</a:t>
            </a:r>
          </a:p>
        </p:txBody>
      </p:sp>
      <p:pic>
        <p:nvPicPr>
          <p:cNvPr id="19" name="Graphic 18">
            <a:extLst>
              <a:ext uri="{FF2B5EF4-FFF2-40B4-BE49-F238E27FC236}">
                <a16:creationId xmlns:a16="http://schemas.microsoft.com/office/drawing/2014/main" id="{A9345E54-4125-3611-0FD7-103598E24C42}"/>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920371" y="2466665"/>
            <a:ext cx="1921493" cy="1921493"/>
          </a:xfrm>
          <a:prstGeom prst="rect">
            <a:avLst/>
          </a:prstGeom>
        </p:spPr>
      </p:pic>
      <p:sp>
        <p:nvSpPr>
          <p:cNvPr id="12" name="Title 11">
            <a:extLst>
              <a:ext uri="{FF2B5EF4-FFF2-40B4-BE49-F238E27FC236}">
                <a16:creationId xmlns:a16="http://schemas.microsoft.com/office/drawing/2014/main" id="{361FDED6-492D-BA8E-D889-E54682420B9B}"/>
              </a:ext>
            </a:extLst>
          </p:cNvPr>
          <p:cNvSpPr>
            <a:spLocks noGrp="1"/>
          </p:cNvSpPr>
          <p:nvPr>
            <p:ph type="title"/>
          </p:nvPr>
        </p:nvSpPr>
        <p:spPr>
          <a:xfrm>
            <a:off x="493289" y="342900"/>
            <a:ext cx="11288807" cy="682625"/>
          </a:xfrm>
        </p:spPr>
        <p:txBody>
          <a:bodyPr/>
          <a:lstStyle/>
          <a:p>
            <a:pPr algn="ctr"/>
            <a:r>
              <a:rPr lang="en-US" sz="2800"/>
              <a:t>Veeam enables the fastest recovery with industry-leading RPOs and RTOs</a:t>
            </a:r>
          </a:p>
        </p:txBody>
      </p:sp>
      <p:sp>
        <p:nvSpPr>
          <p:cNvPr id="13" name="Subtitle 12">
            <a:extLst>
              <a:ext uri="{FF2B5EF4-FFF2-40B4-BE49-F238E27FC236}">
                <a16:creationId xmlns:a16="http://schemas.microsoft.com/office/drawing/2014/main" id="{BCF88F5D-BB0E-78E2-DD17-938763A13E6F}"/>
              </a:ext>
            </a:extLst>
          </p:cNvPr>
          <p:cNvSpPr>
            <a:spLocks noGrp="1"/>
          </p:cNvSpPr>
          <p:nvPr>
            <p:ph type="subTitle" idx="1"/>
          </p:nvPr>
        </p:nvSpPr>
        <p:spPr>
          <a:xfrm>
            <a:off x="502179" y="1032607"/>
            <a:ext cx="11194511" cy="338993"/>
          </a:xfrm>
        </p:spPr>
        <p:txBody>
          <a:bodyPr/>
          <a:lstStyle/>
          <a:p>
            <a:pPr algn="ctr"/>
            <a:r>
              <a:rPr lang="en-US">
                <a:solidFill>
                  <a:srgbClr val="8E71F4"/>
                </a:solidFill>
              </a:rPr>
              <a:t>5x faster recovery</a:t>
            </a:r>
            <a:r>
              <a:rPr lang="en-US" baseline="30000">
                <a:solidFill>
                  <a:srgbClr val="8E71F4"/>
                </a:solidFill>
              </a:rPr>
              <a:t>1</a:t>
            </a:r>
            <a:r>
              <a:rPr lang="en-US">
                <a:solidFill>
                  <a:srgbClr val="8E71F4"/>
                </a:solidFill>
              </a:rPr>
              <a:t> speeds vs competition • Flexible, portable, granular recovery</a:t>
            </a:r>
          </a:p>
        </p:txBody>
      </p:sp>
      <p:sp>
        <p:nvSpPr>
          <p:cNvPr id="48" name="DATA" hidden="1">
            <a:extLst>
              <a:ext uri="{FF2B5EF4-FFF2-40B4-BE49-F238E27FC236}">
                <a16:creationId xmlns:a16="http://schemas.microsoft.com/office/drawing/2014/main" id="{2B88B156-4636-7916-673E-890A44A4DA32}"/>
              </a:ext>
            </a:extLst>
          </p:cNvPr>
          <p:cNvSpPr txBox="1">
            <a:spLocks/>
          </p:cNvSpPr>
          <p:nvPr/>
        </p:nvSpPr>
        <p:spPr>
          <a:xfrm>
            <a:off x="-3431761" y="-1120854"/>
            <a:ext cx="18861657" cy="806374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1800" b="1" i="0" u="none" strike="noStrike" kern="1200" cap="none" spc="-3000" normalizeH="0" baseline="0" noProof="0">
                <a:ln>
                  <a:noFill/>
                </a:ln>
                <a:solidFill>
                  <a:srgbClr val="FFFFFF">
                    <a:lumMod val="85000"/>
                    <a:alpha val="0"/>
                  </a:srgbClr>
                </a:solidFill>
                <a:effectLst/>
                <a:uLnTx/>
                <a:uFillTx/>
                <a:latin typeface="ES Build Full Bauhaus" pitchFamily="2" charset="77"/>
                <a:ea typeface="ES Build Full Bauhaus" pitchFamily="2" charset="77"/>
                <a:cs typeface="+mn-cs"/>
              </a:rPr>
              <a:t>DATA</a:t>
            </a:r>
          </a:p>
        </p:txBody>
      </p:sp>
      <p:pic>
        <p:nvPicPr>
          <p:cNvPr id="49" name="arrows" hidden="1">
            <a:extLst>
              <a:ext uri="{FF2B5EF4-FFF2-40B4-BE49-F238E27FC236}">
                <a16:creationId xmlns:a16="http://schemas.microsoft.com/office/drawing/2014/main" id="{85ED38B0-FA0C-8591-F4E0-9E2975FDA141}"/>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rot="900000">
            <a:off x="-2299955" y="-4357202"/>
            <a:ext cx="16937654" cy="16937654"/>
          </a:xfrm>
          <a:prstGeom prst="rect">
            <a:avLst/>
          </a:prstGeom>
        </p:spPr>
      </p:pic>
      <p:sp>
        <p:nvSpPr>
          <p:cNvPr id="50" name="donut" hidden="1">
            <a:extLst>
              <a:ext uri="{FF2B5EF4-FFF2-40B4-BE49-F238E27FC236}">
                <a16:creationId xmlns:a16="http://schemas.microsoft.com/office/drawing/2014/main" id="{ADB3C278-F744-657A-9922-AA9475DA6DC1}"/>
              </a:ext>
            </a:extLst>
          </p:cNvPr>
          <p:cNvSpPr>
            <a:spLocks/>
          </p:cNvSpPr>
          <p:nvPr/>
        </p:nvSpPr>
        <p:spPr>
          <a:xfrm>
            <a:off x="-8201342" y="-8185938"/>
            <a:ext cx="15727680" cy="15680239"/>
          </a:xfrm>
          <a:prstGeom prst="donut">
            <a:avLst>
              <a:gd name="adj" fmla="val 2748"/>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3200" b="0" i="0" u="none" strike="noStrike" kern="1200" cap="none" spc="0" normalizeH="0" baseline="0" noProof="0">
                <a:ln>
                  <a:noFill/>
                </a:ln>
                <a:solidFill>
                  <a:schemeClr val="bg1"/>
                </a:solidFill>
                <a:effectLst/>
                <a:uLnTx/>
                <a:uFillTx/>
                <a:latin typeface="ES Build" pitchFamily="50" charset="0"/>
                <a:ea typeface="+mn-ea"/>
                <a:cs typeface="Microsoft Sans Serif" panose="020B0604020202020204" pitchFamily="34" charset="0"/>
              </a:rPr>
              <a:t>DATA</a:t>
            </a:r>
          </a:p>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3200" b="0" i="0" u="none" strike="noStrike" kern="1200" cap="none" spc="0" normalizeH="0" baseline="0" noProof="0">
                <a:ln>
                  <a:noFill/>
                </a:ln>
                <a:solidFill>
                  <a:schemeClr val="bg1"/>
                </a:solidFill>
                <a:effectLst/>
                <a:uLnTx/>
                <a:uFillTx/>
                <a:latin typeface="ES Build" pitchFamily="50" charset="0"/>
                <a:ea typeface="+mn-ea"/>
                <a:cs typeface="Microsoft Sans Serif" panose="020B0604020202020204" pitchFamily="34" charset="0"/>
              </a:rPr>
              <a:t>RESILIENCE</a:t>
            </a:r>
          </a:p>
        </p:txBody>
      </p:sp>
      <p:sp>
        <p:nvSpPr>
          <p:cNvPr id="4" name="Rounded Rectangle 3">
            <a:extLst>
              <a:ext uri="{FF2B5EF4-FFF2-40B4-BE49-F238E27FC236}">
                <a16:creationId xmlns:a16="http://schemas.microsoft.com/office/drawing/2014/main" id="{F2FC3300-BCDA-537A-1858-97E9338027C8}"/>
              </a:ext>
            </a:extLst>
          </p:cNvPr>
          <p:cNvSpPr/>
          <p:nvPr/>
        </p:nvSpPr>
        <p:spPr>
          <a:xfrm>
            <a:off x="769049" y="1936362"/>
            <a:ext cx="10572051" cy="4114800"/>
          </a:xfrm>
          <a:prstGeom prst="roundRect">
            <a:avLst>
              <a:gd name="adj" fmla="val 1966"/>
            </a:avLst>
          </a:prstGeom>
          <a:noFill/>
          <a:ln w="66675" cap="sq">
            <a:no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a:solidFill>
                <a:schemeClr val="bg1"/>
              </a:solidFill>
              <a:latin typeface="ES Build" pitchFamily="50" charset="0"/>
              <a:cs typeface="Microsoft Sans Serif" panose="020B0604020202020204" pitchFamily="34" charset="0"/>
            </a:endParaRPr>
          </a:p>
        </p:txBody>
      </p:sp>
      <p:sp>
        <p:nvSpPr>
          <p:cNvPr id="3" name="TextBox 2">
            <a:extLst>
              <a:ext uri="{FF2B5EF4-FFF2-40B4-BE49-F238E27FC236}">
                <a16:creationId xmlns:a16="http://schemas.microsoft.com/office/drawing/2014/main" id="{471F7E00-35BA-46EA-E524-FDFFF32E84F6}"/>
              </a:ext>
            </a:extLst>
          </p:cNvPr>
          <p:cNvSpPr txBox="1"/>
          <p:nvPr/>
        </p:nvSpPr>
        <p:spPr>
          <a:xfrm>
            <a:off x="3646714" y="4115020"/>
            <a:ext cx="1839686" cy="790409"/>
          </a:xfrm>
          <a:prstGeom prst="rect">
            <a:avLst/>
          </a:prstGeom>
          <a:noFill/>
        </p:spPr>
        <p:txBody>
          <a:bodyPr wrap="square" lIns="0" tIns="0" rIns="0" bIns="0">
            <a:spAutoFit/>
          </a:bodyPr>
          <a:lstStyle/>
          <a:p>
            <a:pPr marR="0" lvl="0" algn="ctr">
              <a:lnSpc>
                <a:spcPct val="107000"/>
              </a:lnSpc>
              <a:spcBef>
                <a:spcPts val="0"/>
              </a:spcBef>
              <a:spcAft>
                <a:spcPts val="0"/>
              </a:spcAft>
            </a:pPr>
            <a:r>
              <a:rPr lang="en-US" sz="1600" kern="100">
                <a:ea typeface="Calibri" panose="020F0502020204030204" pitchFamily="34" charset="0"/>
                <a:cs typeface="Times New Roman" panose="02020603050405020304" pitchFamily="18" charset="0"/>
              </a:rPr>
              <a:t>Reduced </a:t>
            </a:r>
          </a:p>
          <a:p>
            <a:pPr marR="0" lvl="0" algn="ctr">
              <a:lnSpc>
                <a:spcPct val="107000"/>
              </a:lnSpc>
              <a:spcBef>
                <a:spcPts val="0"/>
              </a:spcBef>
              <a:spcAft>
                <a:spcPts val="0"/>
              </a:spcAft>
            </a:pPr>
            <a:r>
              <a:rPr lang="en-US" sz="1600" kern="100">
                <a:ea typeface="Calibri" panose="020F0502020204030204" pitchFamily="34" charset="0"/>
                <a:cs typeface="Times New Roman" panose="02020603050405020304" pitchFamily="18" charset="0"/>
              </a:rPr>
              <a:t>downtime with Instant Recovery</a:t>
            </a:r>
          </a:p>
        </p:txBody>
      </p:sp>
      <p:sp>
        <p:nvSpPr>
          <p:cNvPr id="8" name="TextBox 7">
            <a:extLst>
              <a:ext uri="{FF2B5EF4-FFF2-40B4-BE49-F238E27FC236}">
                <a16:creationId xmlns:a16="http://schemas.microsoft.com/office/drawing/2014/main" id="{ED7BA8DB-EDE9-EF5E-2BBE-7D91E0C4008B}"/>
              </a:ext>
            </a:extLst>
          </p:cNvPr>
          <p:cNvSpPr txBox="1"/>
          <p:nvPr/>
        </p:nvSpPr>
        <p:spPr>
          <a:xfrm>
            <a:off x="5554352" y="4115020"/>
            <a:ext cx="1951343" cy="790409"/>
          </a:xfrm>
          <a:prstGeom prst="rect">
            <a:avLst/>
          </a:prstGeom>
          <a:noFill/>
        </p:spPr>
        <p:txBody>
          <a:bodyPr wrap="square" lIns="0" tIns="0" rIns="0" bIns="0">
            <a:spAutoFit/>
          </a:bodyPr>
          <a:lstStyle/>
          <a:p>
            <a:pPr marR="0" lvl="0" algn="ctr">
              <a:lnSpc>
                <a:spcPct val="107000"/>
              </a:lnSpc>
              <a:spcBef>
                <a:spcPts val="0"/>
              </a:spcBef>
              <a:spcAft>
                <a:spcPts val="0"/>
              </a:spcAft>
            </a:pPr>
            <a:r>
              <a:rPr lang="en-US" sz="1600" kern="100">
                <a:ea typeface="Calibri" panose="020F0502020204030204" pitchFamily="34" charset="0"/>
                <a:cs typeface="Times New Roman" panose="02020603050405020304" pitchFamily="18" charset="0"/>
              </a:rPr>
              <a:t>Granular search </a:t>
            </a:r>
          </a:p>
          <a:p>
            <a:pPr marR="0" lvl="0" algn="ctr">
              <a:lnSpc>
                <a:spcPct val="107000"/>
              </a:lnSpc>
              <a:spcBef>
                <a:spcPts val="0"/>
              </a:spcBef>
              <a:spcAft>
                <a:spcPts val="0"/>
              </a:spcAft>
            </a:pPr>
            <a:r>
              <a:rPr lang="en-US" sz="1600" kern="100">
                <a:ea typeface="Calibri" panose="020F0502020204030204" pitchFamily="34" charset="0"/>
                <a:cs typeface="Times New Roman" panose="02020603050405020304" pitchFamily="18" charset="0"/>
              </a:rPr>
              <a:t>and recovery </a:t>
            </a:r>
          </a:p>
          <a:p>
            <a:pPr marR="0" lvl="0" algn="ctr">
              <a:lnSpc>
                <a:spcPct val="107000"/>
              </a:lnSpc>
              <a:spcBef>
                <a:spcPts val="0"/>
              </a:spcBef>
              <a:spcAft>
                <a:spcPts val="0"/>
              </a:spcAft>
            </a:pPr>
            <a:r>
              <a:rPr lang="en-US" sz="1600" kern="100">
                <a:ea typeface="Calibri" panose="020F0502020204030204" pitchFamily="34" charset="0"/>
                <a:cs typeface="Times New Roman" panose="02020603050405020304" pitchFamily="18" charset="0"/>
              </a:rPr>
              <a:t>across platforms</a:t>
            </a:r>
          </a:p>
        </p:txBody>
      </p:sp>
      <p:sp>
        <p:nvSpPr>
          <p:cNvPr id="14" name="TextBox 13">
            <a:extLst>
              <a:ext uri="{FF2B5EF4-FFF2-40B4-BE49-F238E27FC236}">
                <a16:creationId xmlns:a16="http://schemas.microsoft.com/office/drawing/2014/main" id="{8EFDA7CB-2539-BCB5-7CEB-62EFBA15EE95}"/>
              </a:ext>
            </a:extLst>
          </p:cNvPr>
          <p:cNvSpPr txBox="1"/>
          <p:nvPr/>
        </p:nvSpPr>
        <p:spPr>
          <a:xfrm>
            <a:off x="7366224" y="4115020"/>
            <a:ext cx="2242789" cy="790409"/>
          </a:xfrm>
          <a:prstGeom prst="rect">
            <a:avLst/>
          </a:prstGeom>
          <a:noFill/>
        </p:spPr>
        <p:txBody>
          <a:bodyPr wrap="square" lIns="0" tIns="0" rIns="0" bIns="0">
            <a:spAutoFit/>
          </a:bodyPr>
          <a:lstStyle/>
          <a:p>
            <a:pPr marR="0" lvl="0" algn="ctr">
              <a:lnSpc>
                <a:spcPct val="107000"/>
              </a:lnSpc>
              <a:spcBef>
                <a:spcPts val="0"/>
              </a:spcBef>
            </a:pPr>
            <a:r>
              <a:rPr lang="en-US" sz="1600" kern="100">
                <a:ea typeface="Calibri" panose="020F0502020204030204" pitchFamily="34" charset="0"/>
                <a:cs typeface="Times New Roman" panose="02020603050405020304" pitchFamily="18" charset="0"/>
              </a:rPr>
              <a:t>Advanced disaster recovery planning </a:t>
            </a:r>
          </a:p>
          <a:p>
            <a:pPr marR="0" lvl="0" algn="ctr">
              <a:lnSpc>
                <a:spcPct val="107000"/>
              </a:lnSpc>
              <a:spcBef>
                <a:spcPts val="0"/>
              </a:spcBef>
              <a:spcAft>
                <a:spcPts val="600"/>
              </a:spcAft>
            </a:pPr>
            <a:r>
              <a:rPr lang="en-US" sz="1600" kern="100">
                <a:ea typeface="Calibri" panose="020F0502020204030204" pitchFamily="34" charset="0"/>
                <a:cs typeface="Times New Roman" panose="02020603050405020304" pitchFamily="18" charset="0"/>
              </a:rPr>
              <a:t>and orchestration</a:t>
            </a:r>
          </a:p>
        </p:txBody>
      </p:sp>
      <p:sp>
        <p:nvSpPr>
          <p:cNvPr id="21" name="TextBox 20">
            <a:extLst>
              <a:ext uri="{FF2B5EF4-FFF2-40B4-BE49-F238E27FC236}">
                <a16:creationId xmlns:a16="http://schemas.microsoft.com/office/drawing/2014/main" id="{773E02D2-CA03-BA86-D906-5CE6D5FE5AC1}"/>
              </a:ext>
            </a:extLst>
          </p:cNvPr>
          <p:cNvSpPr txBox="1"/>
          <p:nvPr/>
        </p:nvSpPr>
        <p:spPr>
          <a:xfrm>
            <a:off x="9416139" y="4115020"/>
            <a:ext cx="1951343" cy="790409"/>
          </a:xfrm>
          <a:prstGeom prst="rect">
            <a:avLst/>
          </a:prstGeom>
          <a:noFill/>
        </p:spPr>
        <p:txBody>
          <a:bodyPr wrap="square" lIns="0" tIns="0" rIns="0" bIns="0">
            <a:spAutoFit/>
          </a:bodyPr>
          <a:lstStyle/>
          <a:p>
            <a:pPr marR="0" lvl="0" algn="ctr">
              <a:lnSpc>
                <a:spcPct val="107000"/>
              </a:lnSpc>
              <a:spcBef>
                <a:spcPts val="0"/>
              </a:spcBef>
            </a:pPr>
            <a:r>
              <a:rPr lang="en-US" sz="1600">
                <a:ea typeface="Calibri" panose="020F0502020204030204" pitchFamily="34" charset="0"/>
                <a:cs typeface="Times New Roman" panose="02020603050405020304" pitchFamily="18" charset="0"/>
              </a:rPr>
              <a:t>Clean, verified recovery at scale </a:t>
            </a:r>
          </a:p>
          <a:p>
            <a:pPr marR="0" lvl="0" algn="ctr">
              <a:lnSpc>
                <a:spcPct val="107000"/>
              </a:lnSpc>
              <a:spcBef>
                <a:spcPts val="0"/>
              </a:spcBef>
            </a:pPr>
            <a:r>
              <a:rPr lang="en-US" sz="1600">
                <a:ea typeface="Calibri" panose="020F0502020204030204" pitchFamily="34" charset="0"/>
                <a:cs typeface="Times New Roman" panose="02020603050405020304" pitchFamily="18" charset="0"/>
              </a:rPr>
              <a:t>with Secure Restore</a:t>
            </a:r>
            <a:endParaRPr lang="en-US" sz="1600">
              <a:solidFill>
                <a:schemeClr val="bg1"/>
              </a:solidFill>
              <a:cs typeface="Microsoft Sans Serif" panose="020B0604020202020204" pitchFamily="34" charset="0"/>
            </a:endParaRPr>
          </a:p>
        </p:txBody>
      </p:sp>
      <p:grpSp>
        <p:nvGrpSpPr>
          <p:cNvPr id="2" name="Group 1">
            <a:extLst>
              <a:ext uri="{FF2B5EF4-FFF2-40B4-BE49-F238E27FC236}">
                <a16:creationId xmlns:a16="http://schemas.microsoft.com/office/drawing/2014/main" id="{17549989-C967-4B78-A2C0-42F4D99A29DA}"/>
              </a:ext>
            </a:extLst>
          </p:cNvPr>
          <p:cNvGrpSpPr/>
          <p:nvPr/>
        </p:nvGrpSpPr>
        <p:grpSpPr>
          <a:xfrm>
            <a:off x="4036345" y="2962758"/>
            <a:ext cx="1024526" cy="1024525"/>
            <a:chOff x="4036345" y="2962758"/>
            <a:chExt cx="1024526" cy="1024525"/>
          </a:xfrm>
        </p:grpSpPr>
        <p:grpSp>
          <p:nvGrpSpPr>
            <p:cNvPr id="5" name="Group 4">
              <a:extLst>
                <a:ext uri="{FF2B5EF4-FFF2-40B4-BE49-F238E27FC236}">
                  <a16:creationId xmlns:a16="http://schemas.microsoft.com/office/drawing/2014/main" id="{29243EC3-0F83-D710-815E-B44AF6B6290E}"/>
                </a:ext>
              </a:extLst>
            </p:cNvPr>
            <p:cNvGrpSpPr>
              <a:grpSpLocks noChangeAspect="1"/>
            </p:cNvGrpSpPr>
            <p:nvPr/>
          </p:nvGrpSpPr>
          <p:grpSpPr>
            <a:xfrm>
              <a:off x="4036345" y="2962758"/>
              <a:ext cx="1024526" cy="1024525"/>
              <a:chOff x="1071877" y="2156499"/>
              <a:chExt cx="2749677" cy="2749675"/>
            </a:xfrm>
            <a:solidFill>
              <a:srgbClr val="8E71F4"/>
            </a:solidFill>
          </p:grpSpPr>
          <p:sp>
            <p:nvSpPr>
              <p:cNvPr id="6" name="Oval 5">
                <a:extLst>
                  <a:ext uri="{FF2B5EF4-FFF2-40B4-BE49-F238E27FC236}">
                    <a16:creationId xmlns:a16="http://schemas.microsoft.com/office/drawing/2014/main" id="{30BA0A9C-0181-5076-7C40-3A49BC543794}"/>
                  </a:ext>
                </a:extLst>
              </p:cNvPr>
              <p:cNvSpPr/>
              <p:nvPr/>
            </p:nvSpPr>
            <p:spPr bwMode="auto">
              <a:xfrm>
                <a:off x="1071877" y="2156499"/>
                <a:ext cx="2749677" cy="2749675"/>
              </a:xfrm>
              <a:prstGeom prst="ellipse">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ctr" anchorCtr="0" forceAA="0" compatLnSpc="1">
                <a:prstTxWarp prst="textNoShape">
                  <a:avLst/>
                </a:prstTxWarp>
                <a:noAutofit/>
              </a:bodyPr>
              <a:lstStyle/>
              <a:p>
                <a:pPr algn="ctr" defTabSz="1218768" fontAlgn="base">
                  <a:spcBef>
                    <a:spcPct val="0"/>
                  </a:spcBef>
                  <a:spcAft>
                    <a:spcPct val="0"/>
                  </a:spcAft>
                </a:pPr>
                <a:r>
                  <a:rPr lang="en-US" sz="2400">
                    <a:gradFill>
                      <a:gsLst>
                        <a:gs pos="0">
                          <a:srgbClr val="FFFFFF"/>
                        </a:gs>
                        <a:gs pos="100000">
                          <a:srgbClr val="FFFFFF"/>
                        </a:gs>
                      </a:gsLst>
                      <a:lin ang="5400000" scaled="0"/>
                    </a:gradFill>
                    <a:latin typeface="+mj-lt"/>
                    <a:cs typeface="Segoe UI" pitchFamily="34" charset="0"/>
                  </a:rPr>
                  <a:t>   </a:t>
                </a:r>
              </a:p>
            </p:txBody>
          </p:sp>
          <p:pic>
            <p:nvPicPr>
              <p:cNvPr id="7" name="Graphic 6">
                <a:extLst>
                  <a:ext uri="{FF2B5EF4-FFF2-40B4-BE49-F238E27FC236}">
                    <a16:creationId xmlns:a16="http://schemas.microsoft.com/office/drawing/2014/main" id="{3ED6C077-D009-CAE4-8A74-010CA681CEB8}"/>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1588427" y="2670197"/>
                <a:ext cx="1722277" cy="1722277"/>
              </a:xfrm>
              <a:prstGeom prst="rect">
                <a:avLst/>
              </a:prstGeom>
            </p:spPr>
          </p:pic>
        </p:grpSp>
        <p:pic>
          <p:nvPicPr>
            <p:cNvPr id="24" name="Graphic 23">
              <a:extLst>
                <a:ext uri="{FF2B5EF4-FFF2-40B4-BE49-F238E27FC236}">
                  <a16:creationId xmlns:a16="http://schemas.microsoft.com/office/drawing/2014/main" id="{7B26E129-3FB4-2310-8648-85B77C1CEE73}"/>
                </a:ext>
              </a:extLst>
            </p:cNvPr>
            <p:cNvPicPr preferRelativeResize="0">
              <a:picLocks noChangeAspect="1"/>
            </p:cNvPicPr>
            <p:nvPr/>
          </p:nvPicPr>
          <p:blipFill>
            <a:blip r:embed="rId9">
              <a:extLst>
                <a:ext uri="{96DAC541-7B7A-43D3-8B79-37D633B846F1}">
                  <asvg:svgBlip xmlns:asvg="http://schemas.microsoft.com/office/drawing/2016/SVG/main" r:embed="rId10"/>
                </a:ext>
              </a:extLst>
            </a:blip>
            <a:srcRect/>
            <a:stretch/>
          </p:blipFill>
          <p:spPr>
            <a:xfrm>
              <a:off x="4230449" y="3137874"/>
              <a:ext cx="640080" cy="640080"/>
            </a:xfrm>
            <a:prstGeom prst="rect">
              <a:avLst/>
            </a:prstGeom>
          </p:spPr>
        </p:pic>
      </p:grpSp>
      <p:grpSp>
        <p:nvGrpSpPr>
          <p:cNvPr id="22" name="Group 21">
            <a:extLst>
              <a:ext uri="{FF2B5EF4-FFF2-40B4-BE49-F238E27FC236}">
                <a16:creationId xmlns:a16="http://schemas.microsoft.com/office/drawing/2014/main" id="{C57363B6-54A4-17FE-75C3-BD7C39D0D0BB}"/>
              </a:ext>
            </a:extLst>
          </p:cNvPr>
          <p:cNvGrpSpPr/>
          <p:nvPr/>
        </p:nvGrpSpPr>
        <p:grpSpPr>
          <a:xfrm>
            <a:off x="6013108" y="2962758"/>
            <a:ext cx="1024526" cy="1024525"/>
            <a:chOff x="6013108" y="2962758"/>
            <a:chExt cx="1024526" cy="1024525"/>
          </a:xfrm>
        </p:grpSpPr>
        <p:grpSp>
          <p:nvGrpSpPr>
            <p:cNvPr id="9" name="Group 8">
              <a:extLst>
                <a:ext uri="{FF2B5EF4-FFF2-40B4-BE49-F238E27FC236}">
                  <a16:creationId xmlns:a16="http://schemas.microsoft.com/office/drawing/2014/main" id="{3D5A75F7-FB2C-FF9F-8D0D-CBA8726A7033}"/>
                </a:ext>
              </a:extLst>
            </p:cNvPr>
            <p:cNvGrpSpPr>
              <a:grpSpLocks noChangeAspect="1"/>
            </p:cNvGrpSpPr>
            <p:nvPr/>
          </p:nvGrpSpPr>
          <p:grpSpPr>
            <a:xfrm>
              <a:off x="6013108" y="2962758"/>
              <a:ext cx="1024526" cy="1024525"/>
              <a:chOff x="1071877" y="2156499"/>
              <a:chExt cx="2749677" cy="2749675"/>
            </a:xfrm>
            <a:solidFill>
              <a:srgbClr val="8E71F4"/>
            </a:solidFill>
          </p:grpSpPr>
          <p:sp>
            <p:nvSpPr>
              <p:cNvPr id="10" name="Oval 9">
                <a:extLst>
                  <a:ext uri="{FF2B5EF4-FFF2-40B4-BE49-F238E27FC236}">
                    <a16:creationId xmlns:a16="http://schemas.microsoft.com/office/drawing/2014/main" id="{713911C9-8865-25C9-4187-23BCB7ACFACC}"/>
                  </a:ext>
                </a:extLst>
              </p:cNvPr>
              <p:cNvSpPr/>
              <p:nvPr/>
            </p:nvSpPr>
            <p:spPr bwMode="auto">
              <a:xfrm>
                <a:off x="1071877" y="2156499"/>
                <a:ext cx="2749677" cy="2749675"/>
              </a:xfrm>
              <a:prstGeom prst="ellipse">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ctr" anchorCtr="0" forceAA="0" compatLnSpc="1">
                <a:prstTxWarp prst="textNoShape">
                  <a:avLst/>
                </a:prstTxWarp>
                <a:noAutofit/>
              </a:bodyPr>
              <a:lstStyle/>
              <a:p>
                <a:pPr algn="ctr" defTabSz="1218768" fontAlgn="base">
                  <a:spcBef>
                    <a:spcPct val="0"/>
                  </a:spcBef>
                  <a:spcAft>
                    <a:spcPct val="0"/>
                  </a:spcAft>
                </a:pPr>
                <a:r>
                  <a:rPr lang="en-US" sz="2400">
                    <a:gradFill>
                      <a:gsLst>
                        <a:gs pos="0">
                          <a:srgbClr val="FFFFFF"/>
                        </a:gs>
                        <a:gs pos="100000">
                          <a:srgbClr val="FFFFFF"/>
                        </a:gs>
                      </a:gsLst>
                      <a:lin ang="5400000" scaled="0"/>
                    </a:gradFill>
                    <a:latin typeface="+mj-lt"/>
                    <a:cs typeface="Segoe UI" pitchFamily="34" charset="0"/>
                  </a:rPr>
                  <a:t>   </a:t>
                </a:r>
              </a:p>
            </p:txBody>
          </p:sp>
          <p:pic>
            <p:nvPicPr>
              <p:cNvPr id="11" name="Graphic 10">
                <a:extLst>
                  <a:ext uri="{FF2B5EF4-FFF2-40B4-BE49-F238E27FC236}">
                    <a16:creationId xmlns:a16="http://schemas.microsoft.com/office/drawing/2014/main" id="{63D6E274-F812-6691-0B04-EC72B8B1A794}"/>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1498854" y="2592287"/>
                <a:ext cx="1937973" cy="1937973"/>
              </a:xfrm>
              <a:prstGeom prst="rect">
                <a:avLst/>
              </a:prstGeom>
            </p:spPr>
          </p:pic>
        </p:grpSp>
        <p:pic>
          <p:nvPicPr>
            <p:cNvPr id="37" name="Graphic 36">
              <a:extLst>
                <a:ext uri="{FF2B5EF4-FFF2-40B4-BE49-F238E27FC236}">
                  <a16:creationId xmlns:a16="http://schemas.microsoft.com/office/drawing/2014/main" id="{8E5C3E6D-086F-0695-2F7D-2F1F3BD3D6F1}"/>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6199485" y="3160289"/>
              <a:ext cx="651771" cy="651771"/>
            </a:xfrm>
            <a:prstGeom prst="rect">
              <a:avLst/>
            </a:prstGeom>
          </p:spPr>
        </p:pic>
      </p:grpSp>
      <p:grpSp>
        <p:nvGrpSpPr>
          <p:cNvPr id="23" name="Group 22">
            <a:extLst>
              <a:ext uri="{FF2B5EF4-FFF2-40B4-BE49-F238E27FC236}">
                <a16:creationId xmlns:a16="http://schemas.microsoft.com/office/drawing/2014/main" id="{267F7C00-6C04-091F-C374-7273DAE46F85}"/>
              </a:ext>
            </a:extLst>
          </p:cNvPr>
          <p:cNvGrpSpPr/>
          <p:nvPr/>
        </p:nvGrpSpPr>
        <p:grpSpPr>
          <a:xfrm>
            <a:off x="7975357" y="2962758"/>
            <a:ext cx="1024526" cy="1024525"/>
            <a:chOff x="7975357" y="2962758"/>
            <a:chExt cx="1024526" cy="1024525"/>
          </a:xfrm>
        </p:grpSpPr>
        <p:grpSp>
          <p:nvGrpSpPr>
            <p:cNvPr id="16" name="Group 15">
              <a:extLst>
                <a:ext uri="{FF2B5EF4-FFF2-40B4-BE49-F238E27FC236}">
                  <a16:creationId xmlns:a16="http://schemas.microsoft.com/office/drawing/2014/main" id="{B7CF993F-1AE7-CC90-AD4D-6194C9F04CFF}"/>
                </a:ext>
              </a:extLst>
            </p:cNvPr>
            <p:cNvGrpSpPr>
              <a:grpSpLocks noChangeAspect="1"/>
            </p:cNvGrpSpPr>
            <p:nvPr/>
          </p:nvGrpSpPr>
          <p:grpSpPr>
            <a:xfrm>
              <a:off x="7975357" y="2962758"/>
              <a:ext cx="1024526" cy="1024525"/>
              <a:chOff x="1071877" y="2156499"/>
              <a:chExt cx="2749677" cy="2749675"/>
            </a:xfrm>
            <a:solidFill>
              <a:srgbClr val="8E71F4"/>
            </a:solidFill>
          </p:grpSpPr>
          <p:sp>
            <p:nvSpPr>
              <p:cNvPr id="18" name="Oval 17">
                <a:extLst>
                  <a:ext uri="{FF2B5EF4-FFF2-40B4-BE49-F238E27FC236}">
                    <a16:creationId xmlns:a16="http://schemas.microsoft.com/office/drawing/2014/main" id="{803ABD2E-7EA1-DFAE-FEE5-EF6599FB9751}"/>
                  </a:ext>
                </a:extLst>
              </p:cNvPr>
              <p:cNvSpPr/>
              <p:nvPr/>
            </p:nvSpPr>
            <p:spPr bwMode="auto">
              <a:xfrm>
                <a:off x="1071877" y="2156499"/>
                <a:ext cx="2749677" cy="2749675"/>
              </a:xfrm>
              <a:prstGeom prst="ellipse">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ctr" anchorCtr="0" forceAA="0" compatLnSpc="1">
                <a:prstTxWarp prst="textNoShape">
                  <a:avLst/>
                </a:prstTxWarp>
                <a:noAutofit/>
              </a:bodyPr>
              <a:lstStyle/>
              <a:p>
                <a:pPr algn="ctr" defTabSz="1218768" fontAlgn="base">
                  <a:spcBef>
                    <a:spcPct val="0"/>
                  </a:spcBef>
                  <a:spcAft>
                    <a:spcPct val="0"/>
                  </a:spcAft>
                </a:pPr>
                <a:r>
                  <a:rPr lang="en-US" sz="2400">
                    <a:gradFill>
                      <a:gsLst>
                        <a:gs pos="0">
                          <a:srgbClr val="FFFFFF"/>
                        </a:gs>
                        <a:gs pos="100000">
                          <a:srgbClr val="FFFFFF"/>
                        </a:gs>
                      </a:gsLst>
                      <a:lin ang="5400000" scaled="0"/>
                    </a:gradFill>
                    <a:latin typeface="+mj-lt"/>
                    <a:cs typeface="Segoe UI" pitchFamily="34" charset="0"/>
                  </a:rPr>
                  <a:t>   </a:t>
                </a:r>
              </a:p>
            </p:txBody>
          </p:sp>
          <p:pic>
            <p:nvPicPr>
              <p:cNvPr id="20" name="Graphic 19">
                <a:extLst>
                  <a:ext uri="{FF2B5EF4-FFF2-40B4-BE49-F238E27FC236}">
                    <a16:creationId xmlns:a16="http://schemas.microsoft.com/office/drawing/2014/main" id="{46803386-61D6-6011-580C-3F55BE818BD4}"/>
                  </a:ext>
                </a:extLst>
              </p:cNvPr>
              <p:cNvPicPr preferRelativeResize="0">
                <a:picLocks noChangeAspect="1"/>
              </p:cNvPicPr>
              <p:nvPr/>
            </p:nvPicPr>
            <p:blipFill>
              <a:blip r:embed="rId15">
                <a:extLst>
                  <a:ext uri="{96DAC541-7B7A-43D3-8B79-37D633B846F1}">
                    <asvg:svgBlip xmlns:asvg="http://schemas.microsoft.com/office/drawing/2016/SVG/main" r:embed="rId16"/>
                  </a:ext>
                </a:extLst>
              </a:blip>
              <a:srcRect/>
              <a:stretch/>
            </p:blipFill>
            <p:spPr>
              <a:xfrm>
                <a:off x="1585577" y="2670197"/>
                <a:ext cx="1722277" cy="1722277"/>
              </a:xfrm>
              <a:prstGeom prst="rect">
                <a:avLst/>
              </a:prstGeom>
            </p:spPr>
          </p:pic>
        </p:grpSp>
        <p:pic>
          <p:nvPicPr>
            <p:cNvPr id="41" name="Graphic 40">
              <a:extLst>
                <a:ext uri="{FF2B5EF4-FFF2-40B4-BE49-F238E27FC236}">
                  <a16:creationId xmlns:a16="http://schemas.microsoft.com/office/drawing/2014/main" id="{2C343AA3-E10A-5F71-9662-7432C59C5BE7}"/>
                </a:ext>
              </a:extLst>
            </p:cNvPr>
            <p:cNvPicPr>
              <a:picLocks noChangeAspect="1"/>
            </p:cNvPicPr>
            <p:nvPr/>
          </p:nvPicPr>
          <p:blipFill>
            <a:blip r:embed="rId17">
              <a:extLst>
                <a:ext uri="{96DAC541-7B7A-43D3-8B79-37D633B846F1}">
                  <asvg:svgBlip xmlns:asvg="http://schemas.microsoft.com/office/drawing/2016/SVG/main" r:embed="rId18"/>
                </a:ext>
              </a:extLst>
            </a:blip>
            <a:srcRect/>
            <a:stretch/>
          </p:blipFill>
          <p:spPr>
            <a:xfrm>
              <a:off x="8165270" y="3152630"/>
              <a:ext cx="643209" cy="643209"/>
            </a:xfrm>
            <a:prstGeom prst="rect">
              <a:avLst/>
            </a:prstGeom>
          </p:spPr>
        </p:pic>
      </p:grpSp>
      <p:grpSp>
        <p:nvGrpSpPr>
          <p:cNvPr id="25" name="Group 24">
            <a:extLst>
              <a:ext uri="{FF2B5EF4-FFF2-40B4-BE49-F238E27FC236}">
                <a16:creationId xmlns:a16="http://schemas.microsoft.com/office/drawing/2014/main" id="{E34BAAAF-517E-89FD-596F-80D581603A82}"/>
              </a:ext>
            </a:extLst>
          </p:cNvPr>
          <p:cNvGrpSpPr/>
          <p:nvPr/>
        </p:nvGrpSpPr>
        <p:grpSpPr>
          <a:xfrm>
            <a:off x="9879549" y="2962758"/>
            <a:ext cx="1024526" cy="1024525"/>
            <a:chOff x="9879549" y="2962758"/>
            <a:chExt cx="1024526" cy="1024525"/>
          </a:xfrm>
        </p:grpSpPr>
        <p:grpSp>
          <p:nvGrpSpPr>
            <p:cNvPr id="27" name="Group 26">
              <a:extLst>
                <a:ext uri="{FF2B5EF4-FFF2-40B4-BE49-F238E27FC236}">
                  <a16:creationId xmlns:a16="http://schemas.microsoft.com/office/drawing/2014/main" id="{72825010-5497-C0C4-5393-1C4250822FD3}"/>
                </a:ext>
              </a:extLst>
            </p:cNvPr>
            <p:cNvGrpSpPr>
              <a:grpSpLocks noChangeAspect="1"/>
            </p:cNvGrpSpPr>
            <p:nvPr/>
          </p:nvGrpSpPr>
          <p:grpSpPr>
            <a:xfrm>
              <a:off x="9879549" y="2962758"/>
              <a:ext cx="1024526" cy="1024525"/>
              <a:chOff x="1071877" y="2156499"/>
              <a:chExt cx="2749677" cy="2749675"/>
            </a:xfrm>
            <a:solidFill>
              <a:srgbClr val="8E71F4"/>
            </a:solidFill>
          </p:grpSpPr>
          <p:sp>
            <p:nvSpPr>
              <p:cNvPr id="28" name="Oval 27">
                <a:extLst>
                  <a:ext uri="{FF2B5EF4-FFF2-40B4-BE49-F238E27FC236}">
                    <a16:creationId xmlns:a16="http://schemas.microsoft.com/office/drawing/2014/main" id="{CE4E731E-B2A7-FB9E-57B6-E3804BB0C860}"/>
                  </a:ext>
                </a:extLst>
              </p:cNvPr>
              <p:cNvSpPr/>
              <p:nvPr/>
            </p:nvSpPr>
            <p:spPr bwMode="auto">
              <a:xfrm>
                <a:off x="1071877" y="2156499"/>
                <a:ext cx="2749677" cy="2749675"/>
              </a:xfrm>
              <a:prstGeom prst="ellipse">
                <a:avLst/>
              </a:pr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ctr" anchorCtr="0" forceAA="0" compatLnSpc="1">
                <a:prstTxWarp prst="textNoShape">
                  <a:avLst/>
                </a:prstTxWarp>
                <a:noAutofit/>
              </a:bodyPr>
              <a:lstStyle/>
              <a:p>
                <a:pPr algn="ctr" defTabSz="1218768" fontAlgn="base">
                  <a:spcBef>
                    <a:spcPct val="0"/>
                  </a:spcBef>
                  <a:spcAft>
                    <a:spcPct val="0"/>
                  </a:spcAft>
                </a:pPr>
                <a:r>
                  <a:rPr lang="en-US" sz="2400">
                    <a:gradFill>
                      <a:gsLst>
                        <a:gs pos="0">
                          <a:srgbClr val="FFFFFF"/>
                        </a:gs>
                        <a:gs pos="100000">
                          <a:srgbClr val="FFFFFF"/>
                        </a:gs>
                      </a:gsLst>
                      <a:lin ang="5400000" scaled="0"/>
                    </a:gradFill>
                    <a:latin typeface="+mj-lt"/>
                    <a:cs typeface="Segoe UI" pitchFamily="34" charset="0"/>
                  </a:rPr>
                  <a:t>   </a:t>
                </a:r>
              </a:p>
            </p:txBody>
          </p:sp>
          <p:pic>
            <p:nvPicPr>
              <p:cNvPr id="29" name="Graphic 28">
                <a:extLst>
                  <a:ext uri="{FF2B5EF4-FFF2-40B4-BE49-F238E27FC236}">
                    <a16:creationId xmlns:a16="http://schemas.microsoft.com/office/drawing/2014/main" id="{904C75B6-A3C0-FE69-986A-42AE3A19E238}"/>
                  </a:ext>
                </a:extLst>
              </p:cNvPr>
              <p:cNvPicPr>
                <a:picLocks noChangeAspect="1"/>
              </p:cNvPicPr>
              <p:nvPr/>
            </p:nvPicPr>
            <p:blipFill>
              <a:blip r:embed="rId19">
                <a:extLst>
                  <a:ext uri="{96DAC541-7B7A-43D3-8B79-37D633B846F1}">
                    <asvg:svgBlip xmlns:asvg="http://schemas.microsoft.com/office/drawing/2016/SVG/main" r:embed="rId20"/>
                  </a:ext>
                </a:extLst>
              </a:blip>
              <a:srcRect/>
              <a:stretch/>
            </p:blipFill>
            <p:spPr>
              <a:xfrm>
                <a:off x="1583473" y="2665986"/>
                <a:ext cx="1726488" cy="1726488"/>
              </a:xfrm>
              <a:prstGeom prst="rect">
                <a:avLst/>
              </a:prstGeom>
            </p:spPr>
          </p:pic>
        </p:grpSp>
        <p:pic>
          <p:nvPicPr>
            <p:cNvPr id="45" name="Graphic 44">
              <a:extLst>
                <a:ext uri="{FF2B5EF4-FFF2-40B4-BE49-F238E27FC236}">
                  <a16:creationId xmlns:a16="http://schemas.microsoft.com/office/drawing/2014/main" id="{64A4612B-9A3C-DCD2-F991-1E057EE3EB6A}"/>
                </a:ext>
              </a:extLst>
            </p:cNvPr>
            <p:cNvPicPr>
              <a:picLocks noChangeAspect="1"/>
            </p:cNvPicPr>
            <p:nvPr/>
          </p:nvPicPr>
          <p:blipFill>
            <a:blip r:embed="rId21">
              <a:extLst>
                <a:ext uri="{96DAC541-7B7A-43D3-8B79-37D633B846F1}">
                  <asvg:svgBlip xmlns:asvg="http://schemas.microsoft.com/office/drawing/2016/SVG/main" r:embed="rId22"/>
                </a:ext>
              </a:extLst>
            </a:blip>
            <a:srcRect/>
            <a:stretch/>
          </p:blipFill>
          <p:spPr>
            <a:xfrm>
              <a:off x="10119361" y="3204612"/>
              <a:ext cx="544898" cy="564360"/>
            </a:xfrm>
            <a:prstGeom prst="rect">
              <a:avLst/>
            </a:prstGeom>
          </p:spPr>
        </p:pic>
      </p:grpSp>
    </p:spTree>
    <p:extLst>
      <p:ext uri="{BB962C8B-B14F-4D97-AF65-F5344CB8AC3E}">
        <p14:creationId xmlns:p14="http://schemas.microsoft.com/office/powerpoint/2010/main" val="29024533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50"/>
                                        <p:tgtEl>
                                          <p:spTgt spid="3"/>
                                        </p:tgtEl>
                                      </p:cBhvr>
                                    </p:animEffect>
                                  </p:childTnLst>
                                </p:cTn>
                              </p:par>
                              <p:par>
                                <p:cTn id="8" presetID="42" presetClass="path" presetSubtype="0" decel="100000" fill="hold" grpId="1" nodeType="withEffect">
                                  <p:stCondLst>
                                    <p:cond delay="0"/>
                                  </p:stCondLst>
                                  <p:childTnLst>
                                    <p:animMotion origin="layout" path="M 8.33333E-7 0.03889 L 8.33333E-7 1.11111E-6 " pathEditMode="relative" rAng="0" ptsTypes="AA">
                                      <p:cBhvr>
                                        <p:cTn id="9" dur="500" fill="hold"/>
                                        <p:tgtEl>
                                          <p:spTgt spid="3"/>
                                        </p:tgtEl>
                                        <p:attrNameLst>
                                          <p:attrName>ppt_x</p:attrName>
                                          <p:attrName>ppt_y</p:attrName>
                                        </p:attrNameLst>
                                      </p:cBhvr>
                                      <p:rCtr x="0" y="-1944"/>
                                    </p:animMotion>
                                  </p:childTnLst>
                                </p:cTn>
                              </p:par>
                              <p:par>
                                <p:cTn id="10" presetID="10" presetClass="entr" presetSubtype="0" fill="hold" grpId="0" nodeType="withEffect">
                                  <p:stCondLst>
                                    <p:cond delay="25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250"/>
                                        <p:tgtEl>
                                          <p:spTgt spid="8"/>
                                        </p:tgtEl>
                                      </p:cBhvr>
                                    </p:animEffect>
                                  </p:childTnLst>
                                </p:cTn>
                              </p:par>
                              <p:par>
                                <p:cTn id="13" presetID="42" presetClass="path" presetSubtype="0" decel="100000" fill="hold" grpId="1" nodeType="withEffect">
                                  <p:stCondLst>
                                    <p:cond delay="250"/>
                                  </p:stCondLst>
                                  <p:childTnLst>
                                    <p:animMotion origin="layout" path="M 3.125E-6 0.03889 L 3.125E-6 1.11111E-6 " pathEditMode="relative" rAng="0" ptsTypes="AA">
                                      <p:cBhvr>
                                        <p:cTn id="14" dur="500" fill="hold"/>
                                        <p:tgtEl>
                                          <p:spTgt spid="8"/>
                                        </p:tgtEl>
                                        <p:attrNameLst>
                                          <p:attrName>ppt_x</p:attrName>
                                          <p:attrName>ppt_y</p:attrName>
                                        </p:attrNameLst>
                                      </p:cBhvr>
                                      <p:rCtr x="0" y="-1944"/>
                                    </p:animMotion>
                                  </p:childTnLst>
                                </p:cTn>
                              </p:par>
                              <p:par>
                                <p:cTn id="15" presetID="10" presetClass="entr" presetSubtype="0" fill="hold" grpId="0" nodeType="withEffect">
                                  <p:stCondLst>
                                    <p:cond delay="50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250"/>
                                        <p:tgtEl>
                                          <p:spTgt spid="14"/>
                                        </p:tgtEl>
                                      </p:cBhvr>
                                    </p:animEffect>
                                  </p:childTnLst>
                                </p:cTn>
                              </p:par>
                              <p:par>
                                <p:cTn id="18" presetID="42" presetClass="path" presetSubtype="0" decel="100000" fill="hold" grpId="1" nodeType="withEffect">
                                  <p:stCondLst>
                                    <p:cond delay="500"/>
                                  </p:stCondLst>
                                  <p:childTnLst>
                                    <p:animMotion origin="layout" path="M -3.75E-6 0.03889 L -3.75E-6 1.11111E-6 " pathEditMode="relative" rAng="0" ptsTypes="AA">
                                      <p:cBhvr>
                                        <p:cTn id="19" dur="500" fill="hold"/>
                                        <p:tgtEl>
                                          <p:spTgt spid="14"/>
                                        </p:tgtEl>
                                        <p:attrNameLst>
                                          <p:attrName>ppt_x</p:attrName>
                                          <p:attrName>ppt_y</p:attrName>
                                        </p:attrNameLst>
                                      </p:cBhvr>
                                      <p:rCtr x="0" y="-1944"/>
                                    </p:animMotion>
                                  </p:childTnLst>
                                </p:cTn>
                              </p:par>
                              <p:par>
                                <p:cTn id="20" presetID="10" presetClass="entr" presetSubtype="0" fill="hold" grpId="0" nodeType="withEffect">
                                  <p:stCondLst>
                                    <p:cond delay="75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250"/>
                                        <p:tgtEl>
                                          <p:spTgt spid="21"/>
                                        </p:tgtEl>
                                      </p:cBhvr>
                                    </p:animEffect>
                                  </p:childTnLst>
                                </p:cTn>
                              </p:par>
                              <p:par>
                                <p:cTn id="23" presetID="42" presetClass="path" presetSubtype="0" decel="100000" fill="hold" grpId="1" nodeType="withEffect">
                                  <p:stCondLst>
                                    <p:cond delay="750"/>
                                  </p:stCondLst>
                                  <p:childTnLst>
                                    <p:animMotion origin="layout" path="M -3.75E-6 0.03889 L -3.75E-6 1.11111E-6 " pathEditMode="relative" rAng="0" ptsTypes="AA">
                                      <p:cBhvr>
                                        <p:cTn id="24" dur="500" fill="hold"/>
                                        <p:tgtEl>
                                          <p:spTgt spid="21"/>
                                        </p:tgtEl>
                                        <p:attrNameLst>
                                          <p:attrName>ppt_x</p:attrName>
                                          <p:attrName>ppt_y</p:attrName>
                                        </p:attrNameLst>
                                      </p:cBhvr>
                                      <p:rCtr x="0" y="-1944"/>
                                    </p:animMotion>
                                  </p:childTnLst>
                                </p:cTn>
                              </p:par>
                              <p:par>
                                <p:cTn id="25" presetID="10" presetClass="entr" presetSubtype="0" fill="hold" nodeType="withEffect">
                                  <p:stCondLst>
                                    <p:cond delay="0"/>
                                  </p:stCondLst>
                                  <p:childTnLst>
                                    <p:set>
                                      <p:cBhvr>
                                        <p:cTn id="26" dur="1" fill="hold">
                                          <p:stCondLst>
                                            <p:cond delay="0"/>
                                          </p:stCondLst>
                                        </p:cTn>
                                        <p:tgtEl>
                                          <p:spTgt spid="2"/>
                                        </p:tgtEl>
                                        <p:attrNameLst>
                                          <p:attrName>style.visibility</p:attrName>
                                        </p:attrNameLst>
                                      </p:cBhvr>
                                      <p:to>
                                        <p:strVal val="visible"/>
                                      </p:to>
                                    </p:set>
                                    <p:animEffect transition="in" filter="fade">
                                      <p:cBhvr>
                                        <p:cTn id="27" dur="250"/>
                                        <p:tgtEl>
                                          <p:spTgt spid="2"/>
                                        </p:tgtEl>
                                      </p:cBhvr>
                                    </p:animEffect>
                                  </p:childTnLst>
                                </p:cTn>
                              </p:par>
                              <p:par>
                                <p:cTn id="28" presetID="42" presetClass="path" presetSubtype="0" decel="100000" fill="hold" nodeType="withEffect">
                                  <p:stCondLst>
                                    <p:cond delay="0"/>
                                  </p:stCondLst>
                                  <p:childTnLst>
                                    <p:animMotion origin="layout" path="M -4.16667E-6 -0.03472 L -4.16667E-6 -2.96296E-6 " pathEditMode="relative" rAng="0" ptsTypes="AA">
                                      <p:cBhvr>
                                        <p:cTn id="29" dur="500" fill="hold"/>
                                        <p:tgtEl>
                                          <p:spTgt spid="2"/>
                                        </p:tgtEl>
                                        <p:attrNameLst>
                                          <p:attrName>ppt_x</p:attrName>
                                          <p:attrName>ppt_y</p:attrName>
                                        </p:attrNameLst>
                                      </p:cBhvr>
                                      <p:rCtr x="0" y="1736"/>
                                    </p:animMotion>
                                  </p:childTnLst>
                                </p:cTn>
                              </p:par>
                              <p:par>
                                <p:cTn id="30" presetID="10" presetClass="entr" presetSubtype="0" fill="hold" nodeType="withEffect">
                                  <p:stCondLst>
                                    <p:cond delay="0"/>
                                  </p:stCondLst>
                                  <p:childTnLst>
                                    <p:set>
                                      <p:cBhvr>
                                        <p:cTn id="31" dur="1" fill="hold">
                                          <p:stCondLst>
                                            <p:cond delay="0"/>
                                          </p:stCondLst>
                                        </p:cTn>
                                        <p:tgtEl>
                                          <p:spTgt spid="22"/>
                                        </p:tgtEl>
                                        <p:attrNameLst>
                                          <p:attrName>style.visibility</p:attrName>
                                        </p:attrNameLst>
                                      </p:cBhvr>
                                      <p:to>
                                        <p:strVal val="visible"/>
                                      </p:to>
                                    </p:set>
                                    <p:animEffect transition="in" filter="fade">
                                      <p:cBhvr>
                                        <p:cTn id="32" dur="250"/>
                                        <p:tgtEl>
                                          <p:spTgt spid="22"/>
                                        </p:tgtEl>
                                      </p:cBhvr>
                                    </p:animEffect>
                                  </p:childTnLst>
                                </p:cTn>
                              </p:par>
                              <p:par>
                                <p:cTn id="33" presetID="42" presetClass="path" presetSubtype="0" decel="100000" fill="hold" nodeType="withEffect">
                                  <p:stCondLst>
                                    <p:cond delay="0"/>
                                  </p:stCondLst>
                                  <p:childTnLst>
                                    <p:animMotion origin="layout" path="M -4.16667E-6 -0.03472 L -4.16667E-6 -2.96296E-6 " pathEditMode="relative" rAng="0" ptsTypes="AA">
                                      <p:cBhvr>
                                        <p:cTn id="34" dur="500" fill="hold"/>
                                        <p:tgtEl>
                                          <p:spTgt spid="22"/>
                                        </p:tgtEl>
                                        <p:attrNameLst>
                                          <p:attrName>ppt_x</p:attrName>
                                          <p:attrName>ppt_y</p:attrName>
                                        </p:attrNameLst>
                                      </p:cBhvr>
                                      <p:rCtr x="0" y="1736"/>
                                    </p:animMotion>
                                  </p:childTnLst>
                                </p:cTn>
                              </p:par>
                              <p:par>
                                <p:cTn id="35" presetID="10" presetClass="entr" presetSubtype="0" fill="hold" nodeType="withEffect">
                                  <p:stCondLst>
                                    <p:cond delay="0"/>
                                  </p:stCondLst>
                                  <p:childTnLst>
                                    <p:set>
                                      <p:cBhvr>
                                        <p:cTn id="36" dur="1" fill="hold">
                                          <p:stCondLst>
                                            <p:cond delay="0"/>
                                          </p:stCondLst>
                                        </p:cTn>
                                        <p:tgtEl>
                                          <p:spTgt spid="23"/>
                                        </p:tgtEl>
                                        <p:attrNameLst>
                                          <p:attrName>style.visibility</p:attrName>
                                        </p:attrNameLst>
                                      </p:cBhvr>
                                      <p:to>
                                        <p:strVal val="visible"/>
                                      </p:to>
                                    </p:set>
                                    <p:animEffect transition="in" filter="fade">
                                      <p:cBhvr>
                                        <p:cTn id="37" dur="250"/>
                                        <p:tgtEl>
                                          <p:spTgt spid="23"/>
                                        </p:tgtEl>
                                      </p:cBhvr>
                                    </p:animEffect>
                                  </p:childTnLst>
                                </p:cTn>
                              </p:par>
                              <p:par>
                                <p:cTn id="38" presetID="42" presetClass="path" presetSubtype="0" decel="100000" fill="hold" nodeType="withEffect">
                                  <p:stCondLst>
                                    <p:cond delay="0"/>
                                  </p:stCondLst>
                                  <p:childTnLst>
                                    <p:animMotion origin="layout" path="M -4.16667E-6 -0.03472 L -4.16667E-6 -2.96296E-6 " pathEditMode="relative" rAng="0" ptsTypes="AA">
                                      <p:cBhvr>
                                        <p:cTn id="39" dur="500" fill="hold"/>
                                        <p:tgtEl>
                                          <p:spTgt spid="23"/>
                                        </p:tgtEl>
                                        <p:attrNameLst>
                                          <p:attrName>ppt_x</p:attrName>
                                          <p:attrName>ppt_y</p:attrName>
                                        </p:attrNameLst>
                                      </p:cBhvr>
                                      <p:rCtr x="0" y="1736"/>
                                    </p:animMotion>
                                  </p:childTnLst>
                                </p:cTn>
                              </p:par>
                              <p:par>
                                <p:cTn id="40" presetID="10" presetClass="entr" presetSubtype="0" fill="hold" nodeType="withEffect">
                                  <p:stCondLst>
                                    <p:cond delay="0"/>
                                  </p:stCondLst>
                                  <p:childTnLst>
                                    <p:set>
                                      <p:cBhvr>
                                        <p:cTn id="41" dur="1" fill="hold">
                                          <p:stCondLst>
                                            <p:cond delay="0"/>
                                          </p:stCondLst>
                                        </p:cTn>
                                        <p:tgtEl>
                                          <p:spTgt spid="25"/>
                                        </p:tgtEl>
                                        <p:attrNameLst>
                                          <p:attrName>style.visibility</p:attrName>
                                        </p:attrNameLst>
                                      </p:cBhvr>
                                      <p:to>
                                        <p:strVal val="visible"/>
                                      </p:to>
                                    </p:set>
                                    <p:animEffect transition="in" filter="fade">
                                      <p:cBhvr>
                                        <p:cTn id="42" dur="250"/>
                                        <p:tgtEl>
                                          <p:spTgt spid="25"/>
                                        </p:tgtEl>
                                      </p:cBhvr>
                                    </p:animEffect>
                                  </p:childTnLst>
                                </p:cTn>
                              </p:par>
                              <p:par>
                                <p:cTn id="43" presetID="42" presetClass="path" presetSubtype="0" decel="100000" fill="hold" nodeType="withEffect">
                                  <p:stCondLst>
                                    <p:cond delay="0"/>
                                  </p:stCondLst>
                                  <p:childTnLst>
                                    <p:animMotion origin="layout" path="M -4.16667E-6 -0.03472 L -4.16667E-6 -2.96296E-6 " pathEditMode="relative" rAng="0" ptsTypes="AA">
                                      <p:cBhvr>
                                        <p:cTn id="44" dur="500" fill="hold"/>
                                        <p:tgtEl>
                                          <p:spTgt spid="25"/>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8" grpId="0"/>
      <p:bldP spid="8" grpId="1"/>
      <p:bldP spid="14" grpId="0"/>
      <p:bldP spid="14" grpId="1"/>
      <p:bldP spid="21" grpId="0"/>
      <p:bldP spid="21" grpId="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D1">
            <a:extLst>
              <a:ext uri="{FF2B5EF4-FFF2-40B4-BE49-F238E27FC236}">
                <a16:creationId xmlns:a16="http://schemas.microsoft.com/office/drawing/2014/main" id="{F9F1A452-CAA8-F001-A24A-175B52DB89C9}"/>
              </a:ext>
            </a:extLst>
          </p:cNvPr>
          <p:cNvSpPr/>
          <p:nvPr/>
        </p:nvSpPr>
        <p:spPr>
          <a:xfrm>
            <a:off x="493289" y="1638999"/>
            <a:ext cx="11019043" cy="4506679"/>
          </a:xfrm>
          <a:prstGeom prst="roundRect">
            <a:avLst>
              <a:gd name="adj" fmla="val 1854"/>
            </a:avLst>
          </a:prstGeom>
          <a:solidFill>
            <a:schemeClr val="bg1"/>
          </a:solidFill>
          <a:ln>
            <a:noFill/>
          </a:ln>
          <a:effectLst>
            <a:outerShdw blurRad="381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defRPr/>
            </a:pPr>
            <a:endParaRPr lang="en-US" sz="2400">
              <a:solidFill>
                <a:srgbClr val="FFFFFF"/>
              </a:solidFill>
              <a:latin typeface="ES Build" pitchFamily="50" charset="0"/>
              <a:cs typeface="Microsoft Sans Serif" panose="020B0604020202020204" pitchFamily="34" charset="0"/>
            </a:endParaRPr>
          </a:p>
        </p:txBody>
      </p:sp>
      <p:sp>
        <p:nvSpPr>
          <p:cNvPr id="235" name="Freeform 234">
            <a:extLst>
              <a:ext uri="{FF2B5EF4-FFF2-40B4-BE49-F238E27FC236}">
                <a16:creationId xmlns:a16="http://schemas.microsoft.com/office/drawing/2014/main" id="{A3AB2225-616F-1DC1-A53B-CCFD7052E306}"/>
              </a:ext>
            </a:extLst>
          </p:cNvPr>
          <p:cNvSpPr/>
          <p:nvPr/>
        </p:nvSpPr>
        <p:spPr>
          <a:xfrm>
            <a:off x="493289" y="1638576"/>
            <a:ext cx="2812314" cy="4507103"/>
          </a:xfrm>
          <a:custGeom>
            <a:avLst/>
            <a:gdLst>
              <a:gd name="connsiteX0" fmla="*/ 74744 w 2812314"/>
              <a:gd name="connsiteY0" fmla="*/ 0 h 4507103"/>
              <a:gd name="connsiteX1" fmla="*/ 2812314 w 2812314"/>
              <a:gd name="connsiteY1" fmla="*/ 0 h 4507103"/>
              <a:gd name="connsiteX2" fmla="*/ 2812314 w 2812314"/>
              <a:gd name="connsiteY2" fmla="*/ 4507103 h 4507103"/>
              <a:gd name="connsiteX3" fmla="*/ 74744 w 2812314"/>
              <a:gd name="connsiteY3" fmla="*/ 4507103 h 4507103"/>
              <a:gd name="connsiteX4" fmla="*/ 0 w 2812314"/>
              <a:gd name="connsiteY4" fmla="*/ 4432359 h 4507103"/>
              <a:gd name="connsiteX5" fmla="*/ 0 w 2812314"/>
              <a:gd name="connsiteY5" fmla="*/ 74744 h 4507103"/>
              <a:gd name="connsiteX6" fmla="*/ 74744 w 2812314"/>
              <a:gd name="connsiteY6" fmla="*/ 0 h 4507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12314" h="4507103">
                <a:moveTo>
                  <a:pt x="74744" y="0"/>
                </a:moveTo>
                <a:lnTo>
                  <a:pt x="2812314" y="0"/>
                </a:lnTo>
                <a:lnTo>
                  <a:pt x="2812314" y="4507103"/>
                </a:lnTo>
                <a:lnTo>
                  <a:pt x="74744" y="4507103"/>
                </a:lnTo>
                <a:cubicBezTo>
                  <a:pt x="33464" y="4507103"/>
                  <a:pt x="0" y="4473639"/>
                  <a:pt x="0" y="4432359"/>
                </a:cubicBezTo>
                <a:lnTo>
                  <a:pt x="0" y="74744"/>
                </a:lnTo>
                <a:cubicBezTo>
                  <a:pt x="0" y="33464"/>
                  <a:pt x="33464" y="0"/>
                  <a:pt x="7474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6000"/>
              </a:lnSpc>
            </a:pPr>
            <a:endParaRPr lang="en-US">
              <a:solidFill>
                <a:schemeClr val="bg1"/>
              </a:solidFill>
              <a:latin typeface="ES Build" pitchFamily="50" charset="0"/>
              <a:cs typeface="Microsoft Sans Serif" panose="020B0604020202020204" pitchFamily="34" charset="0"/>
            </a:endParaRPr>
          </a:p>
        </p:txBody>
      </p:sp>
      <p:sp>
        <p:nvSpPr>
          <p:cNvPr id="17" name="TextBox 16">
            <a:extLst>
              <a:ext uri="{FF2B5EF4-FFF2-40B4-BE49-F238E27FC236}">
                <a16:creationId xmlns:a16="http://schemas.microsoft.com/office/drawing/2014/main" id="{D5B14FCC-2048-9344-2511-D58271638DFB}"/>
              </a:ext>
            </a:extLst>
          </p:cNvPr>
          <p:cNvSpPr txBox="1"/>
          <p:nvPr/>
        </p:nvSpPr>
        <p:spPr>
          <a:xfrm>
            <a:off x="502179" y="4688342"/>
            <a:ext cx="2803424" cy="411123"/>
          </a:xfrm>
          <a:prstGeom prst="rect">
            <a:avLst/>
          </a:prstGeom>
          <a:noFill/>
          <a:ln>
            <a:noFill/>
          </a:ln>
        </p:spPr>
        <p:txBody>
          <a:bodyPr wrap="square" anchor="t">
            <a:noAutofit/>
          </a:bodyPr>
          <a:lstStyle>
            <a:defPPr>
              <a:defRPr lang="en-US"/>
            </a:defPPr>
            <a:lvl1pPr marR="0" lvl="0" indent="0" fontAlgn="auto">
              <a:lnSpc>
                <a:spcPct val="100000"/>
              </a:lnSpc>
              <a:spcBef>
                <a:spcPts val="0"/>
              </a:spcBef>
              <a:spcAft>
                <a:spcPts val="0"/>
              </a:spcAft>
              <a:buClrTx/>
              <a:buSzTx/>
              <a:buFontTx/>
              <a:buNone/>
              <a:tabLst/>
              <a:defRPr kumimoji="0" sz="2200" b="1" i="0" u="none" strike="noStrike" cap="none" spc="0" normalizeH="0" baseline="0">
                <a:ln>
                  <a:noFill/>
                </a:ln>
                <a:solidFill>
                  <a:srgbClr val="FFFFFF"/>
                </a:solidFill>
                <a:effectLst/>
                <a:uLnTx/>
                <a:uFillTx/>
                <a:latin typeface="ES Build Neutral"/>
              </a:defRPr>
            </a:lvl1pPr>
          </a:lstStyle>
          <a:p>
            <a:pPr algn="ctr">
              <a:lnSpc>
                <a:spcPct val="80000"/>
              </a:lnSpc>
            </a:pPr>
            <a:r>
              <a:rPr lang="en-US" sz="2800">
                <a:solidFill>
                  <a:srgbClr val="FFFFFF"/>
                </a:solidFill>
                <a:latin typeface="ES Build" pitchFamily="50" charset="0"/>
                <a:cs typeface="Microsoft Sans Serif" panose="020B0604020202020204" pitchFamily="34" charset="0"/>
              </a:rPr>
              <a:t>Data Freedom</a:t>
            </a:r>
          </a:p>
        </p:txBody>
      </p:sp>
      <p:pic>
        <p:nvPicPr>
          <p:cNvPr id="19" name="Graphic 18">
            <a:extLst>
              <a:ext uri="{FF2B5EF4-FFF2-40B4-BE49-F238E27FC236}">
                <a16:creationId xmlns:a16="http://schemas.microsoft.com/office/drawing/2014/main" id="{A9345E54-4125-3611-0FD7-103598E24C42}"/>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920371" y="2693650"/>
            <a:ext cx="1921493" cy="1537194"/>
          </a:xfrm>
          <a:prstGeom prst="rect">
            <a:avLst/>
          </a:prstGeom>
        </p:spPr>
      </p:pic>
      <p:sp>
        <p:nvSpPr>
          <p:cNvPr id="12" name="Title 11">
            <a:extLst>
              <a:ext uri="{FF2B5EF4-FFF2-40B4-BE49-F238E27FC236}">
                <a16:creationId xmlns:a16="http://schemas.microsoft.com/office/drawing/2014/main" id="{361FDED6-492D-BA8E-D889-E54682420B9B}"/>
              </a:ext>
            </a:extLst>
          </p:cNvPr>
          <p:cNvSpPr>
            <a:spLocks noGrp="1"/>
          </p:cNvSpPr>
          <p:nvPr>
            <p:ph type="title"/>
          </p:nvPr>
        </p:nvSpPr>
        <p:spPr/>
        <p:txBody>
          <a:bodyPr/>
          <a:lstStyle/>
          <a:p>
            <a:pPr algn="ctr"/>
            <a:r>
              <a:rPr lang="en-US"/>
              <a:t>Patented Portable Data Format delivers complete </a:t>
            </a:r>
            <a:br>
              <a:rPr lang="en-US"/>
            </a:br>
            <a:r>
              <a:rPr lang="en-US"/>
              <a:t>Data Freedom that no other vendor can deliver</a:t>
            </a:r>
          </a:p>
        </p:txBody>
      </p:sp>
      <p:sp>
        <p:nvSpPr>
          <p:cNvPr id="48" name="DATA" hidden="1">
            <a:extLst>
              <a:ext uri="{FF2B5EF4-FFF2-40B4-BE49-F238E27FC236}">
                <a16:creationId xmlns:a16="http://schemas.microsoft.com/office/drawing/2014/main" id="{2B88B156-4636-7916-673E-890A44A4DA32}"/>
              </a:ext>
            </a:extLst>
          </p:cNvPr>
          <p:cNvSpPr txBox="1">
            <a:spLocks/>
          </p:cNvSpPr>
          <p:nvPr/>
        </p:nvSpPr>
        <p:spPr>
          <a:xfrm>
            <a:off x="-3431761" y="-1120854"/>
            <a:ext cx="18861657" cy="806374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1800" b="1" i="0" u="none" strike="noStrike" kern="1200" cap="none" spc="-3000" normalizeH="0" baseline="0" noProof="0">
                <a:ln>
                  <a:noFill/>
                </a:ln>
                <a:solidFill>
                  <a:srgbClr val="FFFFFF">
                    <a:lumMod val="85000"/>
                    <a:alpha val="0"/>
                  </a:srgbClr>
                </a:solidFill>
                <a:effectLst/>
                <a:uLnTx/>
                <a:uFillTx/>
                <a:latin typeface="ES Build Full Bauhaus" pitchFamily="2" charset="77"/>
                <a:ea typeface="ES Build Full Bauhaus" pitchFamily="2" charset="77"/>
                <a:cs typeface="+mn-cs"/>
              </a:rPr>
              <a:t>DATA</a:t>
            </a:r>
          </a:p>
        </p:txBody>
      </p:sp>
      <p:pic>
        <p:nvPicPr>
          <p:cNvPr id="49" name="arrows" hidden="1">
            <a:extLst>
              <a:ext uri="{FF2B5EF4-FFF2-40B4-BE49-F238E27FC236}">
                <a16:creationId xmlns:a16="http://schemas.microsoft.com/office/drawing/2014/main" id="{85ED38B0-FA0C-8591-F4E0-9E2975FDA141}"/>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rot="900000">
            <a:off x="-2299955" y="-4357202"/>
            <a:ext cx="16937654" cy="16937654"/>
          </a:xfrm>
          <a:prstGeom prst="rect">
            <a:avLst/>
          </a:prstGeom>
        </p:spPr>
      </p:pic>
      <p:sp>
        <p:nvSpPr>
          <p:cNvPr id="50" name="donut" hidden="1">
            <a:extLst>
              <a:ext uri="{FF2B5EF4-FFF2-40B4-BE49-F238E27FC236}">
                <a16:creationId xmlns:a16="http://schemas.microsoft.com/office/drawing/2014/main" id="{ADB3C278-F744-657A-9922-AA9475DA6DC1}"/>
              </a:ext>
            </a:extLst>
          </p:cNvPr>
          <p:cNvSpPr>
            <a:spLocks/>
          </p:cNvSpPr>
          <p:nvPr/>
        </p:nvSpPr>
        <p:spPr>
          <a:xfrm>
            <a:off x="-8201342" y="-8185938"/>
            <a:ext cx="15727680" cy="15680239"/>
          </a:xfrm>
          <a:prstGeom prst="donut">
            <a:avLst>
              <a:gd name="adj" fmla="val 2748"/>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3200" b="0" i="0" u="none" strike="noStrike" kern="1200" cap="none" spc="0" normalizeH="0" baseline="0" noProof="0">
                <a:ln>
                  <a:noFill/>
                </a:ln>
                <a:solidFill>
                  <a:schemeClr val="bg1"/>
                </a:solidFill>
                <a:effectLst/>
                <a:uLnTx/>
                <a:uFillTx/>
                <a:latin typeface="ES Build" pitchFamily="50" charset="0"/>
                <a:ea typeface="+mn-ea"/>
                <a:cs typeface="Microsoft Sans Serif" panose="020B0604020202020204" pitchFamily="34" charset="0"/>
              </a:rPr>
              <a:t>DATA</a:t>
            </a:r>
          </a:p>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3200" b="0" i="0" u="none" strike="noStrike" kern="1200" cap="none" spc="0" normalizeH="0" baseline="0" noProof="0">
                <a:ln>
                  <a:noFill/>
                </a:ln>
                <a:solidFill>
                  <a:schemeClr val="bg1"/>
                </a:solidFill>
                <a:effectLst/>
                <a:uLnTx/>
                <a:uFillTx/>
                <a:latin typeface="ES Build" pitchFamily="50" charset="0"/>
                <a:ea typeface="+mn-ea"/>
                <a:cs typeface="Microsoft Sans Serif" panose="020B0604020202020204" pitchFamily="34" charset="0"/>
              </a:rPr>
              <a:t>RESILIENCE</a:t>
            </a:r>
          </a:p>
        </p:txBody>
      </p:sp>
      <p:sp>
        <p:nvSpPr>
          <p:cNvPr id="4" name="Rounded Rectangle 3">
            <a:extLst>
              <a:ext uri="{FF2B5EF4-FFF2-40B4-BE49-F238E27FC236}">
                <a16:creationId xmlns:a16="http://schemas.microsoft.com/office/drawing/2014/main" id="{F2FC3300-BCDA-537A-1858-97E9338027C8}"/>
              </a:ext>
            </a:extLst>
          </p:cNvPr>
          <p:cNvSpPr/>
          <p:nvPr/>
        </p:nvSpPr>
        <p:spPr>
          <a:xfrm>
            <a:off x="769049" y="1936362"/>
            <a:ext cx="10572051" cy="4114800"/>
          </a:xfrm>
          <a:prstGeom prst="roundRect">
            <a:avLst>
              <a:gd name="adj" fmla="val 1966"/>
            </a:avLst>
          </a:prstGeom>
          <a:noFill/>
          <a:ln w="66675" cap="sq">
            <a:no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a:solidFill>
                <a:schemeClr val="bg1"/>
              </a:solidFill>
              <a:latin typeface="ES Build" pitchFamily="50" charset="0"/>
              <a:cs typeface="Microsoft Sans Serif" panose="020B0604020202020204" pitchFamily="34" charset="0"/>
            </a:endParaRPr>
          </a:p>
        </p:txBody>
      </p:sp>
      <p:sp>
        <p:nvSpPr>
          <p:cNvPr id="3" name="TextBox 2">
            <a:extLst>
              <a:ext uri="{FF2B5EF4-FFF2-40B4-BE49-F238E27FC236}">
                <a16:creationId xmlns:a16="http://schemas.microsoft.com/office/drawing/2014/main" id="{20D4C452-C76D-CEE2-A037-8818D8353A0F}"/>
              </a:ext>
            </a:extLst>
          </p:cNvPr>
          <p:cNvSpPr txBox="1"/>
          <p:nvPr/>
        </p:nvSpPr>
        <p:spPr>
          <a:xfrm>
            <a:off x="3500446" y="4115020"/>
            <a:ext cx="2096324" cy="790409"/>
          </a:xfrm>
          <a:prstGeom prst="rect">
            <a:avLst/>
          </a:prstGeom>
          <a:noFill/>
        </p:spPr>
        <p:txBody>
          <a:bodyPr wrap="square" lIns="0" tIns="0" rIns="0" bIns="0">
            <a:spAutoFit/>
          </a:bodyPr>
          <a:lstStyle/>
          <a:p>
            <a:pPr marR="0" lvl="0" algn="ctr">
              <a:lnSpc>
                <a:spcPct val="107000"/>
              </a:lnSpc>
              <a:spcBef>
                <a:spcPts val="0"/>
              </a:spcBef>
              <a:spcAft>
                <a:spcPts val="800"/>
              </a:spcAft>
              <a:tabLst>
                <a:tab pos="457200" algn="l"/>
              </a:tabLst>
            </a:pPr>
            <a:r>
              <a:rPr lang="en-US" sz="1600" kern="100">
                <a:ea typeface="Calibri" panose="020F0502020204030204" pitchFamily="34" charset="0"/>
                <a:cs typeface="Times New Roman" panose="02020603050405020304" pitchFamily="18" charset="0"/>
              </a:rPr>
              <a:t>Broadest storage support, avoiding vendor lock-in </a:t>
            </a:r>
          </a:p>
        </p:txBody>
      </p:sp>
      <p:grpSp>
        <p:nvGrpSpPr>
          <p:cNvPr id="5" name="Group 4">
            <a:extLst>
              <a:ext uri="{FF2B5EF4-FFF2-40B4-BE49-F238E27FC236}">
                <a16:creationId xmlns:a16="http://schemas.microsoft.com/office/drawing/2014/main" id="{E2E633FB-BF5F-9809-EB9B-3E14CA4D2ACD}"/>
              </a:ext>
            </a:extLst>
          </p:cNvPr>
          <p:cNvGrpSpPr>
            <a:grpSpLocks noChangeAspect="1"/>
          </p:cNvGrpSpPr>
          <p:nvPr/>
        </p:nvGrpSpPr>
        <p:grpSpPr>
          <a:xfrm>
            <a:off x="4036345" y="2962758"/>
            <a:ext cx="1024526" cy="1024525"/>
            <a:chOff x="1071877" y="2156499"/>
            <a:chExt cx="2749677" cy="2749675"/>
          </a:xfrm>
        </p:grpSpPr>
        <p:sp>
          <p:nvSpPr>
            <p:cNvPr id="6" name="Oval 5">
              <a:extLst>
                <a:ext uri="{FF2B5EF4-FFF2-40B4-BE49-F238E27FC236}">
                  <a16:creationId xmlns:a16="http://schemas.microsoft.com/office/drawing/2014/main" id="{C868648F-244D-2EDD-FF89-0FAD85291377}"/>
                </a:ext>
              </a:extLst>
            </p:cNvPr>
            <p:cNvSpPr/>
            <p:nvPr/>
          </p:nvSpPr>
          <p:spPr bwMode="auto">
            <a:xfrm>
              <a:off x="1071877" y="2156499"/>
              <a:ext cx="2749677" cy="2749675"/>
            </a:xfrm>
            <a:prstGeom prst="ellipse">
              <a:avLst/>
            </a:prstGeom>
            <a:solidFill>
              <a:schemeClr val="accent3"/>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ctr" anchorCtr="0" forceAA="0" compatLnSpc="1">
              <a:prstTxWarp prst="textNoShape">
                <a:avLst/>
              </a:prstTxWarp>
              <a:noAutofit/>
            </a:bodyPr>
            <a:lstStyle/>
            <a:p>
              <a:pPr algn="ctr" defTabSz="1218768" fontAlgn="base">
                <a:spcBef>
                  <a:spcPct val="0"/>
                </a:spcBef>
                <a:spcAft>
                  <a:spcPct val="0"/>
                </a:spcAft>
              </a:pPr>
              <a:r>
                <a:rPr lang="en-US" sz="2400">
                  <a:gradFill>
                    <a:gsLst>
                      <a:gs pos="0">
                        <a:srgbClr val="FFFFFF"/>
                      </a:gs>
                      <a:gs pos="100000">
                        <a:srgbClr val="FFFFFF"/>
                      </a:gs>
                    </a:gsLst>
                    <a:lin ang="5400000" scaled="0"/>
                  </a:gradFill>
                  <a:latin typeface="+mj-lt"/>
                  <a:cs typeface="Segoe UI" pitchFamily="34" charset="0"/>
                </a:rPr>
                <a:t>   </a:t>
              </a:r>
            </a:p>
          </p:txBody>
        </p:sp>
        <p:pic>
          <p:nvPicPr>
            <p:cNvPr id="7" name="Graphic 6">
              <a:extLst>
                <a:ext uri="{FF2B5EF4-FFF2-40B4-BE49-F238E27FC236}">
                  <a16:creationId xmlns:a16="http://schemas.microsoft.com/office/drawing/2014/main" id="{D09011EC-8ADC-3679-5C54-E977D88C1A1D}"/>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1582845" y="2594182"/>
              <a:ext cx="1717881" cy="1717881"/>
            </a:xfrm>
            <a:prstGeom prst="rect">
              <a:avLst/>
            </a:prstGeom>
          </p:spPr>
        </p:pic>
      </p:grpSp>
      <p:sp>
        <p:nvSpPr>
          <p:cNvPr id="8" name="TextBox 7">
            <a:extLst>
              <a:ext uri="{FF2B5EF4-FFF2-40B4-BE49-F238E27FC236}">
                <a16:creationId xmlns:a16="http://schemas.microsoft.com/office/drawing/2014/main" id="{55B19FC3-5DF3-81E4-3F66-2599212D3115}"/>
              </a:ext>
            </a:extLst>
          </p:cNvPr>
          <p:cNvSpPr txBox="1"/>
          <p:nvPr/>
        </p:nvSpPr>
        <p:spPr>
          <a:xfrm>
            <a:off x="5525324" y="4115020"/>
            <a:ext cx="1951343" cy="790409"/>
          </a:xfrm>
          <a:prstGeom prst="rect">
            <a:avLst/>
          </a:prstGeom>
          <a:noFill/>
        </p:spPr>
        <p:txBody>
          <a:bodyPr wrap="square" lIns="0" tIns="0" rIns="0" bIns="0">
            <a:spAutoFit/>
          </a:bodyPr>
          <a:lstStyle/>
          <a:p>
            <a:pPr marR="0" lvl="0" algn="ctr">
              <a:lnSpc>
                <a:spcPct val="107000"/>
              </a:lnSpc>
              <a:spcBef>
                <a:spcPts val="0"/>
              </a:spcBef>
              <a:spcAft>
                <a:spcPts val="800"/>
              </a:spcAft>
              <a:tabLst>
                <a:tab pos="457200" algn="l"/>
              </a:tabLst>
            </a:pPr>
            <a:r>
              <a:rPr lang="en-US" sz="1600" kern="100">
                <a:ea typeface="Calibri" panose="020F0502020204030204" pitchFamily="34" charset="0"/>
                <a:cs typeface="Times New Roman" panose="02020603050405020304" pitchFamily="18" charset="0"/>
              </a:rPr>
              <a:t>Migrate and modernize your apps and infrastructure</a:t>
            </a:r>
          </a:p>
        </p:txBody>
      </p:sp>
      <p:grpSp>
        <p:nvGrpSpPr>
          <p:cNvPr id="9" name="Group 8">
            <a:extLst>
              <a:ext uri="{FF2B5EF4-FFF2-40B4-BE49-F238E27FC236}">
                <a16:creationId xmlns:a16="http://schemas.microsoft.com/office/drawing/2014/main" id="{4EDB18AA-3B75-9FD7-B33B-3BE066F6404E}"/>
              </a:ext>
            </a:extLst>
          </p:cNvPr>
          <p:cNvGrpSpPr>
            <a:grpSpLocks noChangeAspect="1"/>
          </p:cNvGrpSpPr>
          <p:nvPr/>
        </p:nvGrpSpPr>
        <p:grpSpPr>
          <a:xfrm>
            <a:off x="5984080" y="2962758"/>
            <a:ext cx="1024526" cy="1024525"/>
            <a:chOff x="1071877" y="2156499"/>
            <a:chExt cx="2749677" cy="2749675"/>
          </a:xfrm>
        </p:grpSpPr>
        <p:sp>
          <p:nvSpPr>
            <p:cNvPr id="10" name="Oval 9">
              <a:extLst>
                <a:ext uri="{FF2B5EF4-FFF2-40B4-BE49-F238E27FC236}">
                  <a16:creationId xmlns:a16="http://schemas.microsoft.com/office/drawing/2014/main" id="{C63D93F8-999D-FA53-1147-E1CAD4724A3E}"/>
                </a:ext>
              </a:extLst>
            </p:cNvPr>
            <p:cNvSpPr/>
            <p:nvPr/>
          </p:nvSpPr>
          <p:spPr bwMode="auto">
            <a:xfrm>
              <a:off x="1071877" y="2156499"/>
              <a:ext cx="2749677" cy="2749675"/>
            </a:xfrm>
            <a:prstGeom prst="ellipse">
              <a:avLst/>
            </a:prstGeom>
            <a:solidFill>
              <a:schemeClr val="accent3"/>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ctr" anchorCtr="0" forceAA="0" compatLnSpc="1">
              <a:prstTxWarp prst="textNoShape">
                <a:avLst/>
              </a:prstTxWarp>
              <a:noAutofit/>
            </a:bodyPr>
            <a:lstStyle/>
            <a:p>
              <a:pPr algn="ctr" defTabSz="1218768" fontAlgn="base">
                <a:spcBef>
                  <a:spcPct val="0"/>
                </a:spcBef>
                <a:spcAft>
                  <a:spcPct val="0"/>
                </a:spcAft>
              </a:pPr>
              <a:r>
                <a:rPr lang="en-US" sz="2400">
                  <a:gradFill>
                    <a:gsLst>
                      <a:gs pos="0">
                        <a:srgbClr val="FFFFFF"/>
                      </a:gs>
                      <a:gs pos="100000">
                        <a:srgbClr val="FFFFFF"/>
                      </a:gs>
                    </a:gsLst>
                    <a:lin ang="5400000" scaled="0"/>
                  </a:gradFill>
                  <a:latin typeface="+mj-lt"/>
                  <a:cs typeface="Segoe UI" pitchFamily="34" charset="0"/>
                </a:rPr>
                <a:t>   </a:t>
              </a:r>
            </a:p>
          </p:txBody>
        </p:sp>
        <p:pic>
          <p:nvPicPr>
            <p:cNvPr id="11" name="Graphic 10">
              <a:extLst>
                <a:ext uri="{FF2B5EF4-FFF2-40B4-BE49-F238E27FC236}">
                  <a16:creationId xmlns:a16="http://schemas.microsoft.com/office/drawing/2014/main" id="{2134E569-2090-FAAA-ABC9-55F53448B576}"/>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1701356" y="2708068"/>
              <a:ext cx="1724443" cy="1724443"/>
            </a:xfrm>
            <a:prstGeom prst="rect">
              <a:avLst/>
            </a:prstGeom>
          </p:spPr>
        </p:pic>
      </p:grpSp>
      <p:sp>
        <p:nvSpPr>
          <p:cNvPr id="13" name="TextBox 12">
            <a:extLst>
              <a:ext uri="{FF2B5EF4-FFF2-40B4-BE49-F238E27FC236}">
                <a16:creationId xmlns:a16="http://schemas.microsoft.com/office/drawing/2014/main" id="{5618894C-D121-31F8-6EA8-70B4D8BD9BC3}"/>
              </a:ext>
            </a:extLst>
          </p:cNvPr>
          <p:cNvSpPr txBox="1"/>
          <p:nvPr/>
        </p:nvSpPr>
        <p:spPr>
          <a:xfrm>
            <a:off x="7528564" y="4115020"/>
            <a:ext cx="1813044" cy="790409"/>
          </a:xfrm>
          <a:prstGeom prst="rect">
            <a:avLst/>
          </a:prstGeom>
          <a:noFill/>
        </p:spPr>
        <p:txBody>
          <a:bodyPr wrap="square" lIns="0" tIns="0" rIns="0" bIns="0">
            <a:spAutoFit/>
          </a:bodyPr>
          <a:lstStyle/>
          <a:p>
            <a:pPr marR="0" lvl="0" algn="ctr">
              <a:lnSpc>
                <a:spcPct val="107000"/>
              </a:lnSpc>
              <a:spcBef>
                <a:spcPts val="0"/>
              </a:spcBef>
              <a:spcAft>
                <a:spcPts val="800"/>
              </a:spcAft>
              <a:tabLst>
                <a:tab pos="457200" algn="l"/>
              </a:tabLst>
            </a:pPr>
            <a:r>
              <a:rPr lang="en-US" sz="1600" kern="100">
                <a:ea typeface="Calibri" panose="020F0502020204030204" pitchFamily="34" charset="0"/>
                <a:cs typeface="Times New Roman" panose="02020603050405020304" pitchFamily="18" charset="0"/>
              </a:rPr>
              <a:t>Recover from anywhere to anywhere </a:t>
            </a:r>
          </a:p>
        </p:txBody>
      </p:sp>
      <p:sp>
        <p:nvSpPr>
          <p:cNvPr id="20" name="TextBox 19">
            <a:extLst>
              <a:ext uri="{FF2B5EF4-FFF2-40B4-BE49-F238E27FC236}">
                <a16:creationId xmlns:a16="http://schemas.microsoft.com/office/drawing/2014/main" id="{46E5166A-E228-8FF9-99A9-B1E8BB5A598F}"/>
              </a:ext>
            </a:extLst>
          </p:cNvPr>
          <p:cNvSpPr txBox="1"/>
          <p:nvPr/>
        </p:nvSpPr>
        <p:spPr>
          <a:xfrm>
            <a:off x="9416139" y="4115020"/>
            <a:ext cx="1951343" cy="790409"/>
          </a:xfrm>
          <a:prstGeom prst="rect">
            <a:avLst/>
          </a:prstGeom>
          <a:noFill/>
        </p:spPr>
        <p:txBody>
          <a:bodyPr wrap="square" lIns="0" tIns="0" rIns="0" bIns="0">
            <a:spAutoFit/>
          </a:bodyPr>
          <a:lstStyle/>
          <a:p>
            <a:pPr marR="0" lvl="0" algn="ctr">
              <a:lnSpc>
                <a:spcPct val="107000"/>
              </a:lnSpc>
              <a:spcBef>
                <a:spcPts val="0"/>
              </a:spcBef>
              <a:spcAft>
                <a:spcPts val="800"/>
              </a:spcAft>
              <a:tabLst>
                <a:tab pos="457200" algn="l"/>
              </a:tabLst>
            </a:pPr>
            <a:r>
              <a:rPr lang="en-US" sz="1600">
                <a:ea typeface="Calibri" panose="020F0502020204030204" pitchFamily="34" charset="0"/>
                <a:cs typeface="Times New Roman" panose="02020603050405020304" pitchFamily="18" charset="0"/>
              </a:rPr>
              <a:t>Modern protection for modern workloads</a:t>
            </a:r>
            <a:endParaRPr lang="en-US" sz="1600">
              <a:solidFill>
                <a:schemeClr val="bg1"/>
              </a:solidFill>
              <a:cs typeface="Microsoft Sans Serif" panose="020B0604020202020204" pitchFamily="34" charset="0"/>
            </a:endParaRPr>
          </a:p>
        </p:txBody>
      </p:sp>
      <p:grpSp>
        <p:nvGrpSpPr>
          <p:cNvPr id="21" name="Group 20">
            <a:extLst>
              <a:ext uri="{FF2B5EF4-FFF2-40B4-BE49-F238E27FC236}">
                <a16:creationId xmlns:a16="http://schemas.microsoft.com/office/drawing/2014/main" id="{E83A2639-ECAD-D24C-C76E-C70B2452054A}"/>
              </a:ext>
            </a:extLst>
          </p:cNvPr>
          <p:cNvGrpSpPr>
            <a:grpSpLocks noChangeAspect="1"/>
          </p:cNvGrpSpPr>
          <p:nvPr/>
        </p:nvGrpSpPr>
        <p:grpSpPr>
          <a:xfrm>
            <a:off x="9879549" y="2962758"/>
            <a:ext cx="1024526" cy="1024525"/>
            <a:chOff x="1071877" y="2156499"/>
            <a:chExt cx="2749677" cy="2749675"/>
          </a:xfrm>
        </p:grpSpPr>
        <p:sp>
          <p:nvSpPr>
            <p:cNvPr id="22" name="Oval 21">
              <a:extLst>
                <a:ext uri="{FF2B5EF4-FFF2-40B4-BE49-F238E27FC236}">
                  <a16:creationId xmlns:a16="http://schemas.microsoft.com/office/drawing/2014/main" id="{8EB0D417-B156-524F-0F27-4F1E8E373C74}"/>
                </a:ext>
              </a:extLst>
            </p:cNvPr>
            <p:cNvSpPr/>
            <p:nvPr/>
          </p:nvSpPr>
          <p:spPr bwMode="auto">
            <a:xfrm>
              <a:off x="1071877" y="2156499"/>
              <a:ext cx="2749677" cy="2749675"/>
            </a:xfrm>
            <a:prstGeom prst="ellipse">
              <a:avLst/>
            </a:prstGeom>
            <a:solidFill>
              <a:schemeClr val="accent3"/>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ctr" anchorCtr="0" forceAA="0" compatLnSpc="1">
              <a:prstTxWarp prst="textNoShape">
                <a:avLst/>
              </a:prstTxWarp>
              <a:noAutofit/>
            </a:bodyPr>
            <a:lstStyle/>
            <a:p>
              <a:pPr algn="ctr" defTabSz="1218768" fontAlgn="base">
                <a:spcBef>
                  <a:spcPct val="0"/>
                </a:spcBef>
                <a:spcAft>
                  <a:spcPct val="0"/>
                </a:spcAft>
              </a:pPr>
              <a:r>
                <a:rPr lang="en-US" sz="2400">
                  <a:gradFill>
                    <a:gsLst>
                      <a:gs pos="0">
                        <a:srgbClr val="FFFFFF"/>
                      </a:gs>
                      <a:gs pos="100000">
                        <a:srgbClr val="FFFFFF"/>
                      </a:gs>
                    </a:gsLst>
                    <a:lin ang="5400000" scaled="0"/>
                  </a:gradFill>
                  <a:latin typeface="+mj-lt"/>
                  <a:cs typeface="Segoe UI" pitchFamily="34" charset="0"/>
                </a:rPr>
                <a:t>   </a:t>
              </a:r>
            </a:p>
          </p:txBody>
        </p:sp>
        <p:pic>
          <p:nvPicPr>
            <p:cNvPr id="23" name="Graphic 22">
              <a:extLst>
                <a:ext uri="{FF2B5EF4-FFF2-40B4-BE49-F238E27FC236}">
                  <a16:creationId xmlns:a16="http://schemas.microsoft.com/office/drawing/2014/main" id="{8E36B0A3-095E-2139-7DED-2CADB5C6FD08}"/>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1665985" y="2750608"/>
              <a:ext cx="1561455" cy="1561455"/>
            </a:xfrm>
            <a:prstGeom prst="rect">
              <a:avLst/>
            </a:prstGeom>
          </p:spPr>
        </p:pic>
      </p:grpSp>
      <p:grpSp>
        <p:nvGrpSpPr>
          <p:cNvPr id="14" name="Group 13">
            <a:extLst>
              <a:ext uri="{FF2B5EF4-FFF2-40B4-BE49-F238E27FC236}">
                <a16:creationId xmlns:a16="http://schemas.microsoft.com/office/drawing/2014/main" id="{B3562045-435E-393D-C3DA-2C7B11D5AD65}"/>
              </a:ext>
            </a:extLst>
          </p:cNvPr>
          <p:cNvGrpSpPr/>
          <p:nvPr/>
        </p:nvGrpSpPr>
        <p:grpSpPr>
          <a:xfrm>
            <a:off x="7931815" y="2962758"/>
            <a:ext cx="1024526" cy="1024525"/>
            <a:chOff x="7931815" y="2962758"/>
            <a:chExt cx="1024526" cy="1024525"/>
          </a:xfrm>
        </p:grpSpPr>
        <p:sp>
          <p:nvSpPr>
            <p:cNvPr id="16" name="Oval 15">
              <a:extLst>
                <a:ext uri="{FF2B5EF4-FFF2-40B4-BE49-F238E27FC236}">
                  <a16:creationId xmlns:a16="http://schemas.microsoft.com/office/drawing/2014/main" id="{6FB543EA-3DA0-BDDA-47E0-3B87C3C854F0}"/>
                </a:ext>
              </a:extLst>
            </p:cNvPr>
            <p:cNvSpPr/>
            <p:nvPr/>
          </p:nvSpPr>
          <p:spPr bwMode="auto">
            <a:xfrm>
              <a:off x="7931815" y="2962758"/>
              <a:ext cx="1024526" cy="1024525"/>
            </a:xfrm>
            <a:prstGeom prst="ellipse">
              <a:avLst/>
            </a:prstGeom>
            <a:solidFill>
              <a:schemeClr val="accent3"/>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ctr" anchorCtr="0" forceAA="0" compatLnSpc="1">
              <a:prstTxWarp prst="textNoShape">
                <a:avLst/>
              </a:prstTxWarp>
              <a:noAutofit/>
            </a:bodyPr>
            <a:lstStyle/>
            <a:p>
              <a:pPr algn="ctr" defTabSz="1218768" fontAlgn="base">
                <a:spcBef>
                  <a:spcPct val="0"/>
                </a:spcBef>
                <a:spcAft>
                  <a:spcPct val="0"/>
                </a:spcAft>
              </a:pPr>
              <a:r>
                <a:rPr lang="en-US" sz="2400">
                  <a:gradFill>
                    <a:gsLst>
                      <a:gs pos="0">
                        <a:srgbClr val="FFFFFF"/>
                      </a:gs>
                      <a:gs pos="100000">
                        <a:srgbClr val="FFFFFF"/>
                      </a:gs>
                    </a:gsLst>
                    <a:lin ang="5400000" scaled="0"/>
                  </a:gradFill>
                  <a:latin typeface="+mj-lt"/>
                  <a:cs typeface="Segoe UI" pitchFamily="34" charset="0"/>
                </a:rPr>
                <a:t>   </a:t>
              </a:r>
            </a:p>
          </p:txBody>
        </p:sp>
        <p:pic>
          <p:nvPicPr>
            <p:cNvPr id="2" name="Graphic 1">
              <a:extLst>
                <a:ext uri="{FF2B5EF4-FFF2-40B4-BE49-F238E27FC236}">
                  <a16:creationId xmlns:a16="http://schemas.microsoft.com/office/drawing/2014/main" id="{3808020B-A656-29BC-AFBB-A86B835A4339}"/>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8146923" y="3225385"/>
              <a:ext cx="576326" cy="528298"/>
            </a:xfrm>
            <a:prstGeom prst="rect">
              <a:avLst/>
            </a:prstGeom>
          </p:spPr>
        </p:pic>
      </p:grpSp>
    </p:spTree>
    <p:extLst>
      <p:ext uri="{BB962C8B-B14F-4D97-AF65-F5344CB8AC3E}">
        <p14:creationId xmlns:p14="http://schemas.microsoft.com/office/powerpoint/2010/main" val="7671097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50"/>
                                        <p:tgtEl>
                                          <p:spTgt spid="5"/>
                                        </p:tgtEl>
                                      </p:cBhvr>
                                    </p:animEffect>
                                  </p:childTnLst>
                                </p:cTn>
                              </p:par>
                              <p:par>
                                <p:cTn id="8" presetID="42" presetClass="path" presetSubtype="0" decel="100000" fill="hold" nodeType="withEffect">
                                  <p:stCondLst>
                                    <p:cond delay="0"/>
                                  </p:stCondLst>
                                  <p:childTnLst>
                                    <p:animMotion origin="layout" path="M -4.16667E-6 -0.03472 L -4.16667E-6 -2.96296E-6 " pathEditMode="relative" rAng="0" ptsTypes="AA">
                                      <p:cBhvr>
                                        <p:cTn id="9" dur="500" fill="hold"/>
                                        <p:tgtEl>
                                          <p:spTgt spid="5"/>
                                        </p:tgtEl>
                                        <p:attrNameLst>
                                          <p:attrName>ppt_x</p:attrName>
                                          <p:attrName>ppt_y</p:attrName>
                                        </p:attrNameLst>
                                      </p:cBhvr>
                                      <p:rCtr x="0" y="1736"/>
                                    </p:animMotion>
                                  </p:childTnLst>
                                </p:cTn>
                              </p:par>
                              <p:par>
                                <p:cTn id="10" presetID="10" presetClass="entr" presetSubtype="0" fill="hold" nodeType="withEffect">
                                  <p:stCondLst>
                                    <p:cond delay="25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250"/>
                                        <p:tgtEl>
                                          <p:spTgt spid="9"/>
                                        </p:tgtEl>
                                      </p:cBhvr>
                                    </p:animEffect>
                                  </p:childTnLst>
                                </p:cTn>
                              </p:par>
                              <p:par>
                                <p:cTn id="13" presetID="42" presetClass="path" presetSubtype="0" decel="100000" fill="hold" nodeType="withEffect">
                                  <p:stCondLst>
                                    <p:cond delay="250"/>
                                  </p:stCondLst>
                                  <p:childTnLst>
                                    <p:animMotion origin="layout" path="M 4.16667E-6 -0.03472 L 4.16667E-6 -2.96296E-6 " pathEditMode="relative" rAng="0" ptsTypes="AA">
                                      <p:cBhvr>
                                        <p:cTn id="14" dur="500" fill="hold"/>
                                        <p:tgtEl>
                                          <p:spTgt spid="9"/>
                                        </p:tgtEl>
                                        <p:attrNameLst>
                                          <p:attrName>ppt_x</p:attrName>
                                          <p:attrName>ppt_y</p:attrName>
                                        </p:attrNameLst>
                                      </p:cBhvr>
                                      <p:rCtr x="0" y="1736"/>
                                    </p:animMotion>
                                  </p:childTnLst>
                                </p:cTn>
                              </p:par>
                              <p:par>
                                <p:cTn id="15" presetID="10" presetClass="entr" presetSubtype="0" fill="hold" nodeType="withEffect">
                                  <p:stCondLst>
                                    <p:cond delay="75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250"/>
                                        <p:tgtEl>
                                          <p:spTgt spid="21"/>
                                        </p:tgtEl>
                                      </p:cBhvr>
                                    </p:animEffect>
                                  </p:childTnLst>
                                </p:cTn>
                              </p:par>
                              <p:par>
                                <p:cTn id="18" presetID="42" presetClass="path" presetSubtype="0" decel="100000" fill="hold" nodeType="withEffect">
                                  <p:stCondLst>
                                    <p:cond delay="750"/>
                                  </p:stCondLst>
                                  <p:childTnLst>
                                    <p:animMotion origin="layout" path="M 1.25E-6 -0.03472 L 1.25E-6 -2.96296E-6 " pathEditMode="relative" rAng="0" ptsTypes="AA">
                                      <p:cBhvr>
                                        <p:cTn id="19" dur="500" fill="hold"/>
                                        <p:tgtEl>
                                          <p:spTgt spid="21"/>
                                        </p:tgtEl>
                                        <p:attrNameLst>
                                          <p:attrName>ppt_x</p:attrName>
                                          <p:attrName>ppt_y</p:attrName>
                                        </p:attrNameLst>
                                      </p:cBhvr>
                                      <p:rCtr x="0" y="1736"/>
                                    </p:animMotion>
                                  </p:childTnLst>
                                </p:cTn>
                              </p:par>
                              <p:par>
                                <p:cTn id="20" presetID="10" presetClass="entr" presetSubtype="0" fill="hold" grpId="0" nodeType="with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250"/>
                                        <p:tgtEl>
                                          <p:spTgt spid="3"/>
                                        </p:tgtEl>
                                      </p:cBhvr>
                                    </p:animEffect>
                                  </p:childTnLst>
                                </p:cTn>
                              </p:par>
                              <p:par>
                                <p:cTn id="23" presetID="42" presetClass="path" presetSubtype="0" decel="100000" fill="hold" grpId="1" nodeType="withEffect">
                                  <p:stCondLst>
                                    <p:cond delay="0"/>
                                  </p:stCondLst>
                                  <p:childTnLst>
                                    <p:animMotion origin="layout" path="M 3.125E-6 0.03889 L 3.125E-6 1.11111E-6 " pathEditMode="relative" rAng="0" ptsTypes="AA">
                                      <p:cBhvr>
                                        <p:cTn id="24" dur="500" fill="hold"/>
                                        <p:tgtEl>
                                          <p:spTgt spid="3"/>
                                        </p:tgtEl>
                                        <p:attrNameLst>
                                          <p:attrName>ppt_x</p:attrName>
                                          <p:attrName>ppt_y</p:attrName>
                                        </p:attrNameLst>
                                      </p:cBhvr>
                                      <p:rCtr x="0" y="-1944"/>
                                    </p:animMotion>
                                  </p:childTnLst>
                                </p:cTn>
                              </p:par>
                              <p:par>
                                <p:cTn id="25" presetID="10" presetClass="entr" presetSubtype="0" fill="hold" grpId="0" nodeType="withEffect">
                                  <p:stCondLst>
                                    <p:cond delay="25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250"/>
                                        <p:tgtEl>
                                          <p:spTgt spid="8"/>
                                        </p:tgtEl>
                                      </p:cBhvr>
                                    </p:animEffect>
                                  </p:childTnLst>
                                </p:cTn>
                              </p:par>
                              <p:par>
                                <p:cTn id="28" presetID="42" presetClass="path" presetSubtype="0" decel="100000" fill="hold" grpId="1" nodeType="withEffect">
                                  <p:stCondLst>
                                    <p:cond delay="250"/>
                                  </p:stCondLst>
                                  <p:childTnLst>
                                    <p:animMotion origin="layout" path="M 4.16667E-6 0.03889 L 4.16667E-6 2.22222E-6 " pathEditMode="relative" rAng="0" ptsTypes="AA">
                                      <p:cBhvr>
                                        <p:cTn id="29" dur="500" fill="hold"/>
                                        <p:tgtEl>
                                          <p:spTgt spid="8"/>
                                        </p:tgtEl>
                                        <p:attrNameLst>
                                          <p:attrName>ppt_x</p:attrName>
                                          <p:attrName>ppt_y</p:attrName>
                                        </p:attrNameLst>
                                      </p:cBhvr>
                                      <p:rCtr x="0" y="-1944"/>
                                    </p:animMotion>
                                  </p:childTnLst>
                                </p:cTn>
                              </p:par>
                              <p:par>
                                <p:cTn id="30" presetID="10" presetClass="entr" presetSubtype="0" fill="hold" grpId="0" nodeType="withEffect">
                                  <p:stCondLst>
                                    <p:cond delay="50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250"/>
                                        <p:tgtEl>
                                          <p:spTgt spid="13"/>
                                        </p:tgtEl>
                                      </p:cBhvr>
                                    </p:animEffect>
                                  </p:childTnLst>
                                </p:cTn>
                              </p:par>
                              <p:par>
                                <p:cTn id="33" presetID="42" presetClass="path" presetSubtype="0" decel="100000" fill="hold" grpId="1" nodeType="withEffect">
                                  <p:stCondLst>
                                    <p:cond delay="500"/>
                                  </p:stCondLst>
                                  <p:childTnLst>
                                    <p:animMotion origin="layout" path="M 2.70833E-6 0.03889 L 2.70833E-6 1.85185E-6 " pathEditMode="relative" rAng="0" ptsTypes="AA">
                                      <p:cBhvr>
                                        <p:cTn id="34" dur="500" fill="hold"/>
                                        <p:tgtEl>
                                          <p:spTgt spid="13"/>
                                        </p:tgtEl>
                                        <p:attrNameLst>
                                          <p:attrName>ppt_x</p:attrName>
                                          <p:attrName>ppt_y</p:attrName>
                                        </p:attrNameLst>
                                      </p:cBhvr>
                                      <p:rCtr x="0" y="-1944"/>
                                    </p:animMotion>
                                  </p:childTnLst>
                                </p:cTn>
                              </p:par>
                              <p:par>
                                <p:cTn id="35" presetID="10" presetClass="entr" presetSubtype="0" fill="hold" grpId="0" nodeType="withEffect">
                                  <p:stCondLst>
                                    <p:cond delay="750"/>
                                  </p:stCondLst>
                                  <p:childTnLst>
                                    <p:set>
                                      <p:cBhvr>
                                        <p:cTn id="36" dur="1" fill="hold">
                                          <p:stCondLst>
                                            <p:cond delay="0"/>
                                          </p:stCondLst>
                                        </p:cTn>
                                        <p:tgtEl>
                                          <p:spTgt spid="20"/>
                                        </p:tgtEl>
                                        <p:attrNameLst>
                                          <p:attrName>style.visibility</p:attrName>
                                        </p:attrNameLst>
                                      </p:cBhvr>
                                      <p:to>
                                        <p:strVal val="visible"/>
                                      </p:to>
                                    </p:set>
                                    <p:animEffect transition="in" filter="fade">
                                      <p:cBhvr>
                                        <p:cTn id="37" dur="250"/>
                                        <p:tgtEl>
                                          <p:spTgt spid="20"/>
                                        </p:tgtEl>
                                      </p:cBhvr>
                                    </p:animEffect>
                                  </p:childTnLst>
                                </p:cTn>
                              </p:par>
                              <p:par>
                                <p:cTn id="38" presetID="42" presetClass="path" presetSubtype="0" decel="100000" fill="hold" grpId="1" nodeType="withEffect">
                                  <p:stCondLst>
                                    <p:cond delay="750"/>
                                  </p:stCondLst>
                                  <p:childTnLst>
                                    <p:animMotion origin="layout" path="M -3.75E-6 0.03889 L -3.75E-6 1.11111E-6 " pathEditMode="relative" rAng="0" ptsTypes="AA">
                                      <p:cBhvr>
                                        <p:cTn id="39" dur="500" fill="hold"/>
                                        <p:tgtEl>
                                          <p:spTgt spid="20"/>
                                        </p:tgtEl>
                                        <p:attrNameLst>
                                          <p:attrName>ppt_x</p:attrName>
                                          <p:attrName>ppt_y</p:attrName>
                                        </p:attrNameLst>
                                      </p:cBhvr>
                                      <p:rCtr x="0" y="-1944"/>
                                    </p:animMotion>
                                  </p:childTnLst>
                                </p:cTn>
                              </p:par>
                              <p:par>
                                <p:cTn id="40" presetID="10" presetClass="entr" presetSubtype="0" fill="hold" nodeType="withEffect">
                                  <p:stCondLst>
                                    <p:cond delay="25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250"/>
                                        <p:tgtEl>
                                          <p:spTgt spid="14"/>
                                        </p:tgtEl>
                                      </p:cBhvr>
                                    </p:animEffect>
                                  </p:childTnLst>
                                </p:cTn>
                              </p:par>
                              <p:par>
                                <p:cTn id="43" presetID="42" presetClass="path" presetSubtype="0" decel="100000" fill="hold" nodeType="withEffect">
                                  <p:stCondLst>
                                    <p:cond delay="250"/>
                                  </p:stCondLst>
                                  <p:childTnLst>
                                    <p:animMotion origin="layout" path="M 4.16667E-6 -0.03472 L 4.16667E-6 -2.96296E-6 " pathEditMode="relative" rAng="0" ptsTypes="AA">
                                      <p:cBhvr>
                                        <p:cTn id="44" dur="500" fill="hold"/>
                                        <p:tgtEl>
                                          <p:spTgt spid="14"/>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8" grpId="0"/>
      <p:bldP spid="8" grpId="1"/>
      <p:bldP spid="13" grpId="0"/>
      <p:bldP spid="13" grpId="1"/>
      <p:bldP spid="20" grpId="0"/>
      <p:bldP spid="20"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D1">
            <a:extLst>
              <a:ext uri="{FF2B5EF4-FFF2-40B4-BE49-F238E27FC236}">
                <a16:creationId xmlns:a16="http://schemas.microsoft.com/office/drawing/2014/main" id="{F9F1A452-CAA8-F001-A24A-175B52DB89C9}"/>
              </a:ext>
            </a:extLst>
          </p:cNvPr>
          <p:cNvSpPr/>
          <p:nvPr/>
        </p:nvSpPr>
        <p:spPr>
          <a:xfrm>
            <a:off x="493289" y="1638999"/>
            <a:ext cx="11019043" cy="4506679"/>
          </a:xfrm>
          <a:prstGeom prst="roundRect">
            <a:avLst>
              <a:gd name="adj" fmla="val 1854"/>
            </a:avLst>
          </a:prstGeom>
          <a:solidFill>
            <a:schemeClr val="bg1"/>
          </a:solidFill>
          <a:ln>
            <a:noFill/>
          </a:ln>
          <a:effectLst>
            <a:outerShdw blurRad="381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defRPr/>
            </a:pPr>
            <a:endParaRPr lang="en-US" sz="2400">
              <a:solidFill>
                <a:srgbClr val="FFFFFF"/>
              </a:solidFill>
              <a:latin typeface="ES Build" pitchFamily="50" charset="0"/>
              <a:cs typeface="Microsoft Sans Serif" panose="020B0604020202020204" pitchFamily="34" charset="0"/>
            </a:endParaRPr>
          </a:p>
        </p:txBody>
      </p:sp>
      <p:sp>
        <p:nvSpPr>
          <p:cNvPr id="235" name="Freeform 234">
            <a:extLst>
              <a:ext uri="{FF2B5EF4-FFF2-40B4-BE49-F238E27FC236}">
                <a16:creationId xmlns:a16="http://schemas.microsoft.com/office/drawing/2014/main" id="{A3AB2225-616F-1DC1-A53B-CCFD7052E306}"/>
              </a:ext>
            </a:extLst>
          </p:cNvPr>
          <p:cNvSpPr/>
          <p:nvPr/>
        </p:nvSpPr>
        <p:spPr>
          <a:xfrm>
            <a:off x="493289" y="1638576"/>
            <a:ext cx="2812314" cy="4507103"/>
          </a:xfrm>
          <a:custGeom>
            <a:avLst/>
            <a:gdLst>
              <a:gd name="connsiteX0" fmla="*/ 74744 w 2812314"/>
              <a:gd name="connsiteY0" fmla="*/ 0 h 4507103"/>
              <a:gd name="connsiteX1" fmla="*/ 2812314 w 2812314"/>
              <a:gd name="connsiteY1" fmla="*/ 0 h 4507103"/>
              <a:gd name="connsiteX2" fmla="*/ 2812314 w 2812314"/>
              <a:gd name="connsiteY2" fmla="*/ 4507103 h 4507103"/>
              <a:gd name="connsiteX3" fmla="*/ 74744 w 2812314"/>
              <a:gd name="connsiteY3" fmla="*/ 4507103 h 4507103"/>
              <a:gd name="connsiteX4" fmla="*/ 0 w 2812314"/>
              <a:gd name="connsiteY4" fmla="*/ 4432359 h 4507103"/>
              <a:gd name="connsiteX5" fmla="*/ 0 w 2812314"/>
              <a:gd name="connsiteY5" fmla="*/ 74744 h 4507103"/>
              <a:gd name="connsiteX6" fmla="*/ 74744 w 2812314"/>
              <a:gd name="connsiteY6" fmla="*/ 0 h 4507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12314" h="4507103">
                <a:moveTo>
                  <a:pt x="74744" y="0"/>
                </a:moveTo>
                <a:lnTo>
                  <a:pt x="2812314" y="0"/>
                </a:lnTo>
                <a:lnTo>
                  <a:pt x="2812314" y="4507103"/>
                </a:lnTo>
                <a:lnTo>
                  <a:pt x="74744" y="4507103"/>
                </a:lnTo>
                <a:cubicBezTo>
                  <a:pt x="33464" y="4507103"/>
                  <a:pt x="0" y="4473639"/>
                  <a:pt x="0" y="4432359"/>
                </a:cubicBezTo>
                <a:lnTo>
                  <a:pt x="0" y="74744"/>
                </a:lnTo>
                <a:cubicBezTo>
                  <a:pt x="0" y="33464"/>
                  <a:pt x="33464" y="0"/>
                  <a:pt x="74744"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6000"/>
              </a:lnSpc>
            </a:pPr>
            <a:endParaRPr lang="en-US">
              <a:solidFill>
                <a:schemeClr val="bg1"/>
              </a:solidFill>
              <a:latin typeface="ES Build" pitchFamily="50" charset="0"/>
              <a:cs typeface="Microsoft Sans Serif" panose="020B0604020202020204" pitchFamily="34" charset="0"/>
            </a:endParaRPr>
          </a:p>
        </p:txBody>
      </p:sp>
      <p:pic>
        <p:nvPicPr>
          <p:cNvPr id="3" name="Graphic 2">
            <a:extLst>
              <a:ext uri="{FF2B5EF4-FFF2-40B4-BE49-F238E27FC236}">
                <a16:creationId xmlns:a16="http://schemas.microsoft.com/office/drawing/2014/main" id="{C0FD7B30-CC91-EC72-28D2-C7B2A62C4B7A}"/>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920371" y="2466665"/>
            <a:ext cx="1921493" cy="1921493"/>
          </a:xfrm>
          <a:prstGeom prst="rect">
            <a:avLst/>
          </a:prstGeom>
        </p:spPr>
      </p:pic>
      <p:sp>
        <p:nvSpPr>
          <p:cNvPr id="17" name="TextBox 16">
            <a:extLst>
              <a:ext uri="{FF2B5EF4-FFF2-40B4-BE49-F238E27FC236}">
                <a16:creationId xmlns:a16="http://schemas.microsoft.com/office/drawing/2014/main" id="{D5B14FCC-2048-9344-2511-D58271638DFB}"/>
              </a:ext>
            </a:extLst>
          </p:cNvPr>
          <p:cNvSpPr txBox="1"/>
          <p:nvPr/>
        </p:nvSpPr>
        <p:spPr>
          <a:xfrm>
            <a:off x="502179" y="4688342"/>
            <a:ext cx="2803424" cy="411123"/>
          </a:xfrm>
          <a:prstGeom prst="rect">
            <a:avLst/>
          </a:prstGeom>
          <a:noFill/>
          <a:ln>
            <a:noFill/>
          </a:ln>
        </p:spPr>
        <p:txBody>
          <a:bodyPr wrap="square" anchor="t">
            <a:noAutofit/>
          </a:bodyPr>
          <a:lstStyle>
            <a:defPPr>
              <a:defRPr lang="en-US"/>
            </a:defPPr>
            <a:lvl1pPr marR="0" lvl="0" indent="0" fontAlgn="auto">
              <a:lnSpc>
                <a:spcPct val="100000"/>
              </a:lnSpc>
              <a:spcBef>
                <a:spcPts val="0"/>
              </a:spcBef>
              <a:spcAft>
                <a:spcPts val="0"/>
              </a:spcAft>
              <a:buClrTx/>
              <a:buSzTx/>
              <a:buFontTx/>
              <a:buNone/>
              <a:tabLst/>
              <a:defRPr kumimoji="0" sz="2200" b="1" i="0" u="none" strike="noStrike" cap="none" spc="0" normalizeH="0" baseline="0">
                <a:ln>
                  <a:noFill/>
                </a:ln>
                <a:solidFill>
                  <a:srgbClr val="FFFFFF"/>
                </a:solidFill>
                <a:effectLst/>
                <a:uLnTx/>
                <a:uFillTx/>
                <a:latin typeface="ES Build Neutral"/>
              </a:defRPr>
            </a:lvl1pPr>
          </a:lstStyle>
          <a:p>
            <a:pPr algn="ctr">
              <a:lnSpc>
                <a:spcPct val="80000"/>
              </a:lnSpc>
            </a:pPr>
            <a:r>
              <a:rPr lang="en-US" sz="2800">
                <a:solidFill>
                  <a:srgbClr val="FFFFFF"/>
                </a:solidFill>
                <a:latin typeface="ES Build" pitchFamily="50" charset="0"/>
                <a:cs typeface="Microsoft Sans Serif" panose="020B0604020202020204" pitchFamily="34" charset="0"/>
              </a:rPr>
              <a:t>Data Security</a:t>
            </a:r>
          </a:p>
        </p:txBody>
      </p:sp>
      <p:sp>
        <p:nvSpPr>
          <p:cNvPr id="12" name="Title 11">
            <a:extLst>
              <a:ext uri="{FF2B5EF4-FFF2-40B4-BE49-F238E27FC236}">
                <a16:creationId xmlns:a16="http://schemas.microsoft.com/office/drawing/2014/main" id="{361FDED6-492D-BA8E-D889-E54682420B9B}"/>
              </a:ext>
            </a:extLst>
          </p:cNvPr>
          <p:cNvSpPr>
            <a:spLocks noGrp="1"/>
          </p:cNvSpPr>
          <p:nvPr>
            <p:ph type="title"/>
          </p:nvPr>
        </p:nvSpPr>
        <p:spPr/>
        <p:txBody>
          <a:bodyPr/>
          <a:lstStyle/>
          <a:p>
            <a:pPr algn="ctr"/>
            <a:r>
              <a:rPr lang="en-US" sz="3200"/>
              <a:t>Veeam’s AI-driven threat detection is the industry benchmark</a:t>
            </a:r>
          </a:p>
        </p:txBody>
      </p:sp>
      <p:sp>
        <p:nvSpPr>
          <p:cNvPr id="48" name="DATA" hidden="1">
            <a:extLst>
              <a:ext uri="{FF2B5EF4-FFF2-40B4-BE49-F238E27FC236}">
                <a16:creationId xmlns:a16="http://schemas.microsoft.com/office/drawing/2014/main" id="{2B88B156-4636-7916-673E-890A44A4DA32}"/>
              </a:ext>
            </a:extLst>
          </p:cNvPr>
          <p:cNvSpPr txBox="1">
            <a:spLocks/>
          </p:cNvSpPr>
          <p:nvPr/>
        </p:nvSpPr>
        <p:spPr>
          <a:xfrm>
            <a:off x="-3431761" y="-1120854"/>
            <a:ext cx="18861657" cy="806374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1800" b="1" i="0" u="none" strike="noStrike" kern="1200" cap="none" spc="-3000" normalizeH="0" baseline="0" noProof="0">
                <a:ln>
                  <a:noFill/>
                </a:ln>
                <a:solidFill>
                  <a:srgbClr val="FFFFFF">
                    <a:lumMod val="85000"/>
                    <a:alpha val="0"/>
                  </a:srgbClr>
                </a:solidFill>
                <a:effectLst/>
                <a:uLnTx/>
                <a:uFillTx/>
                <a:latin typeface="ES Build Full Bauhaus" pitchFamily="2" charset="77"/>
                <a:ea typeface="ES Build Full Bauhaus" pitchFamily="2" charset="77"/>
                <a:cs typeface="+mn-cs"/>
              </a:rPr>
              <a:t>DATA</a:t>
            </a:r>
          </a:p>
        </p:txBody>
      </p:sp>
      <p:pic>
        <p:nvPicPr>
          <p:cNvPr id="49" name="arrows" hidden="1">
            <a:extLst>
              <a:ext uri="{FF2B5EF4-FFF2-40B4-BE49-F238E27FC236}">
                <a16:creationId xmlns:a16="http://schemas.microsoft.com/office/drawing/2014/main" id="{85ED38B0-FA0C-8591-F4E0-9E2975FDA141}"/>
              </a:ext>
            </a:extLst>
          </p:cNvPr>
          <p:cNvPicPr>
            <a:picLocks/>
          </p:cNvPicPr>
          <p:nvPr/>
        </p:nvPicPr>
        <p:blipFill>
          <a:blip r:embed="rId5">
            <a:extLst>
              <a:ext uri="{96DAC541-7B7A-43D3-8B79-37D633B846F1}">
                <asvg:svgBlip xmlns:asvg="http://schemas.microsoft.com/office/drawing/2016/SVG/main" r:embed="rId6"/>
              </a:ext>
            </a:extLst>
          </a:blip>
          <a:stretch>
            <a:fillRect/>
          </a:stretch>
        </p:blipFill>
        <p:spPr>
          <a:xfrm rot="900000">
            <a:off x="-2299955" y="-4357202"/>
            <a:ext cx="16937654" cy="16937654"/>
          </a:xfrm>
          <a:prstGeom prst="rect">
            <a:avLst/>
          </a:prstGeom>
        </p:spPr>
      </p:pic>
      <p:sp>
        <p:nvSpPr>
          <p:cNvPr id="50" name="donut" hidden="1">
            <a:extLst>
              <a:ext uri="{FF2B5EF4-FFF2-40B4-BE49-F238E27FC236}">
                <a16:creationId xmlns:a16="http://schemas.microsoft.com/office/drawing/2014/main" id="{ADB3C278-F744-657A-9922-AA9475DA6DC1}"/>
              </a:ext>
            </a:extLst>
          </p:cNvPr>
          <p:cNvSpPr>
            <a:spLocks/>
          </p:cNvSpPr>
          <p:nvPr/>
        </p:nvSpPr>
        <p:spPr>
          <a:xfrm>
            <a:off x="-8201342" y="-8185938"/>
            <a:ext cx="15727680" cy="15680239"/>
          </a:xfrm>
          <a:prstGeom prst="donut">
            <a:avLst>
              <a:gd name="adj" fmla="val 2748"/>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3200" b="0" i="0" u="none" strike="noStrike" kern="1200" cap="none" spc="0" normalizeH="0" baseline="0" noProof="0">
                <a:ln>
                  <a:noFill/>
                </a:ln>
                <a:solidFill>
                  <a:schemeClr val="bg1"/>
                </a:solidFill>
                <a:effectLst/>
                <a:uLnTx/>
                <a:uFillTx/>
                <a:latin typeface="ES Build" pitchFamily="50" charset="0"/>
                <a:ea typeface="+mn-ea"/>
                <a:cs typeface="Microsoft Sans Serif" panose="020B0604020202020204" pitchFamily="34" charset="0"/>
              </a:rPr>
              <a:t>DATA</a:t>
            </a:r>
          </a:p>
          <a:p>
            <a:pPr marL="0" marR="0" lvl="0" indent="0" algn="ctr" defTabSz="914400" rtl="0" eaLnBrk="1" fontAlgn="auto" latinLnBrk="0" hangingPunct="1">
              <a:lnSpc>
                <a:spcPct val="96000"/>
              </a:lnSpc>
              <a:spcBef>
                <a:spcPts val="0"/>
              </a:spcBef>
              <a:spcAft>
                <a:spcPts val="0"/>
              </a:spcAft>
              <a:buClrTx/>
              <a:buSzTx/>
              <a:buFontTx/>
              <a:buNone/>
              <a:tabLst/>
              <a:defRPr/>
            </a:pPr>
            <a:r>
              <a:rPr kumimoji="0" lang="en-US" sz="3200" b="0" i="0" u="none" strike="noStrike" kern="1200" cap="none" spc="0" normalizeH="0" baseline="0" noProof="0">
                <a:ln>
                  <a:noFill/>
                </a:ln>
                <a:solidFill>
                  <a:schemeClr val="bg1"/>
                </a:solidFill>
                <a:effectLst/>
                <a:uLnTx/>
                <a:uFillTx/>
                <a:latin typeface="ES Build" pitchFamily="50" charset="0"/>
                <a:ea typeface="+mn-ea"/>
                <a:cs typeface="Microsoft Sans Serif" panose="020B0604020202020204" pitchFamily="34" charset="0"/>
              </a:rPr>
              <a:t>RESILIENCE</a:t>
            </a:r>
          </a:p>
        </p:txBody>
      </p:sp>
      <p:sp>
        <p:nvSpPr>
          <p:cNvPr id="4" name="Rounded Rectangle 3">
            <a:extLst>
              <a:ext uri="{FF2B5EF4-FFF2-40B4-BE49-F238E27FC236}">
                <a16:creationId xmlns:a16="http://schemas.microsoft.com/office/drawing/2014/main" id="{F2FC3300-BCDA-537A-1858-97E9338027C8}"/>
              </a:ext>
            </a:extLst>
          </p:cNvPr>
          <p:cNvSpPr/>
          <p:nvPr/>
        </p:nvSpPr>
        <p:spPr>
          <a:xfrm>
            <a:off x="769049" y="1936362"/>
            <a:ext cx="10572051" cy="4114800"/>
          </a:xfrm>
          <a:prstGeom prst="roundRect">
            <a:avLst>
              <a:gd name="adj" fmla="val 1966"/>
            </a:avLst>
          </a:prstGeom>
          <a:noFill/>
          <a:ln w="66675" cap="sq">
            <a:no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US">
              <a:solidFill>
                <a:schemeClr val="bg1"/>
              </a:solidFill>
              <a:latin typeface="ES Build" pitchFamily="50" charset="0"/>
              <a:cs typeface="Microsoft Sans Serif" panose="020B0604020202020204" pitchFamily="34" charset="0"/>
            </a:endParaRPr>
          </a:p>
        </p:txBody>
      </p:sp>
      <p:sp>
        <p:nvSpPr>
          <p:cNvPr id="2" name="Subtitle 12">
            <a:extLst>
              <a:ext uri="{FF2B5EF4-FFF2-40B4-BE49-F238E27FC236}">
                <a16:creationId xmlns:a16="http://schemas.microsoft.com/office/drawing/2014/main" id="{006F69C2-B555-9796-3340-D0968188FEF3}"/>
              </a:ext>
            </a:extLst>
          </p:cNvPr>
          <p:cNvSpPr>
            <a:spLocks noGrp="1"/>
          </p:cNvSpPr>
          <p:nvPr>
            <p:ph type="subTitle" idx="1"/>
          </p:nvPr>
        </p:nvSpPr>
        <p:spPr>
          <a:xfrm>
            <a:off x="502179" y="957809"/>
            <a:ext cx="11194511" cy="338993"/>
          </a:xfrm>
        </p:spPr>
        <p:txBody>
          <a:bodyPr/>
          <a:lstStyle/>
          <a:p>
            <a:pPr algn="ctr"/>
            <a:r>
              <a:rPr lang="en-US">
                <a:solidFill>
                  <a:schemeClr val="accent4"/>
                </a:solidFill>
              </a:rPr>
              <a:t>Veeam has integrated the most comprehensive array of threat detection technologies</a:t>
            </a:r>
          </a:p>
        </p:txBody>
      </p:sp>
      <p:sp>
        <p:nvSpPr>
          <p:cNvPr id="9" name="TextBox 8">
            <a:extLst>
              <a:ext uri="{FF2B5EF4-FFF2-40B4-BE49-F238E27FC236}">
                <a16:creationId xmlns:a16="http://schemas.microsoft.com/office/drawing/2014/main" id="{20CF9E82-25F5-E951-F133-A51075BBDF12}"/>
              </a:ext>
            </a:extLst>
          </p:cNvPr>
          <p:cNvSpPr txBox="1"/>
          <p:nvPr/>
        </p:nvSpPr>
        <p:spPr>
          <a:xfrm>
            <a:off x="3714392" y="4115020"/>
            <a:ext cx="1673961" cy="790409"/>
          </a:xfrm>
          <a:prstGeom prst="rect">
            <a:avLst/>
          </a:prstGeom>
          <a:noFill/>
        </p:spPr>
        <p:txBody>
          <a:bodyPr wrap="square" lIns="0" tIns="0" rIns="0" bIns="0">
            <a:spAutoFit/>
          </a:bodyPr>
          <a:lstStyle/>
          <a:p>
            <a:pPr marR="0" lvl="0" algn="ctr">
              <a:lnSpc>
                <a:spcPct val="107000"/>
              </a:lnSpc>
              <a:spcBef>
                <a:spcPts val="0"/>
              </a:spcBef>
              <a:spcAft>
                <a:spcPts val="800"/>
              </a:spcAft>
              <a:tabLst>
                <a:tab pos="457200" algn="l"/>
              </a:tabLst>
            </a:pPr>
            <a:r>
              <a:rPr lang="en-US" sz="1600" kern="100">
                <a:ea typeface="Calibri" panose="020F0502020204030204" pitchFamily="34" charset="0"/>
                <a:cs typeface="Times New Roman" panose="02020603050405020304" pitchFamily="18" charset="0"/>
              </a:rPr>
              <a:t>Built-in security with a Zero Trust Architecture </a:t>
            </a:r>
          </a:p>
        </p:txBody>
      </p:sp>
      <p:grpSp>
        <p:nvGrpSpPr>
          <p:cNvPr id="10" name="Group 9">
            <a:extLst>
              <a:ext uri="{FF2B5EF4-FFF2-40B4-BE49-F238E27FC236}">
                <a16:creationId xmlns:a16="http://schemas.microsoft.com/office/drawing/2014/main" id="{8CEAD2A8-EB2A-287B-CF10-34E033F04AF0}"/>
              </a:ext>
            </a:extLst>
          </p:cNvPr>
          <p:cNvGrpSpPr>
            <a:grpSpLocks noChangeAspect="1"/>
          </p:cNvGrpSpPr>
          <p:nvPr/>
        </p:nvGrpSpPr>
        <p:grpSpPr>
          <a:xfrm>
            <a:off x="4036345" y="2962758"/>
            <a:ext cx="1024526" cy="1024525"/>
            <a:chOff x="1071877" y="2156499"/>
            <a:chExt cx="2749677" cy="2749675"/>
          </a:xfrm>
        </p:grpSpPr>
        <p:sp>
          <p:nvSpPr>
            <p:cNvPr id="11" name="Oval 10">
              <a:extLst>
                <a:ext uri="{FF2B5EF4-FFF2-40B4-BE49-F238E27FC236}">
                  <a16:creationId xmlns:a16="http://schemas.microsoft.com/office/drawing/2014/main" id="{AB08C4BC-DC5E-789A-A055-724315A008CE}"/>
                </a:ext>
              </a:extLst>
            </p:cNvPr>
            <p:cNvSpPr/>
            <p:nvPr/>
          </p:nvSpPr>
          <p:spPr bwMode="auto">
            <a:xfrm>
              <a:off x="1071877" y="2156499"/>
              <a:ext cx="2749677" cy="2749675"/>
            </a:xfrm>
            <a:prstGeom prst="ellipse">
              <a:avLst/>
            </a:prstGeom>
            <a:solidFill>
              <a:schemeClr val="accent4"/>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ctr" anchorCtr="0" forceAA="0" compatLnSpc="1">
              <a:prstTxWarp prst="textNoShape">
                <a:avLst/>
              </a:prstTxWarp>
              <a:noAutofit/>
            </a:bodyPr>
            <a:lstStyle/>
            <a:p>
              <a:pPr algn="ctr" defTabSz="1218768" fontAlgn="base">
                <a:spcBef>
                  <a:spcPct val="0"/>
                </a:spcBef>
                <a:spcAft>
                  <a:spcPct val="0"/>
                </a:spcAft>
              </a:pPr>
              <a:r>
                <a:rPr lang="en-US" sz="2400">
                  <a:gradFill>
                    <a:gsLst>
                      <a:gs pos="0">
                        <a:srgbClr val="FFFFFF"/>
                      </a:gs>
                      <a:gs pos="100000">
                        <a:srgbClr val="FFFFFF"/>
                      </a:gs>
                    </a:gsLst>
                    <a:lin ang="5400000" scaled="0"/>
                  </a:gradFill>
                  <a:latin typeface="+mj-lt"/>
                  <a:cs typeface="Segoe UI" pitchFamily="34" charset="0"/>
                </a:rPr>
                <a:t>   </a:t>
              </a:r>
            </a:p>
          </p:txBody>
        </p:sp>
        <p:pic>
          <p:nvPicPr>
            <p:cNvPr id="14" name="Graphic 13">
              <a:extLst>
                <a:ext uri="{FF2B5EF4-FFF2-40B4-BE49-F238E27FC236}">
                  <a16:creationId xmlns:a16="http://schemas.microsoft.com/office/drawing/2014/main" id="{725BBF44-7933-2DE8-7246-C45331A2931D}"/>
                </a:ext>
              </a:extLst>
            </p:cNvPr>
            <p:cNvPicPr preferRelativeResize="0">
              <a:picLocks noChangeAspect="1"/>
            </p:cNvPicPr>
            <p:nvPr/>
          </p:nvPicPr>
          <p:blipFill>
            <a:blip r:embed="rId7">
              <a:extLst>
                <a:ext uri="{96DAC541-7B7A-43D3-8B79-37D633B846F1}">
                  <asvg:svgBlip xmlns:asvg="http://schemas.microsoft.com/office/drawing/2016/SVG/main" r:embed="rId8"/>
                </a:ext>
              </a:extLst>
            </a:blip>
            <a:srcRect/>
            <a:stretch/>
          </p:blipFill>
          <p:spPr>
            <a:xfrm>
              <a:off x="1559211" y="2650516"/>
              <a:ext cx="1744220" cy="1744220"/>
            </a:xfrm>
            <a:prstGeom prst="rect">
              <a:avLst/>
            </a:prstGeom>
          </p:spPr>
        </p:pic>
      </p:grpSp>
      <p:sp>
        <p:nvSpPr>
          <p:cNvPr id="16" name="TextBox 15">
            <a:extLst>
              <a:ext uri="{FF2B5EF4-FFF2-40B4-BE49-F238E27FC236}">
                <a16:creationId xmlns:a16="http://schemas.microsoft.com/office/drawing/2014/main" id="{74A51CDB-CA01-3986-398D-2D9770E199FD}"/>
              </a:ext>
            </a:extLst>
          </p:cNvPr>
          <p:cNvSpPr txBox="1"/>
          <p:nvPr/>
        </p:nvSpPr>
        <p:spPr>
          <a:xfrm>
            <a:off x="5525324" y="4115020"/>
            <a:ext cx="1951343" cy="790409"/>
          </a:xfrm>
          <a:prstGeom prst="rect">
            <a:avLst/>
          </a:prstGeom>
          <a:noFill/>
        </p:spPr>
        <p:txBody>
          <a:bodyPr wrap="square" lIns="0" tIns="0" rIns="0" bIns="0">
            <a:spAutoFit/>
          </a:bodyPr>
          <a:lstStyle/>
          <a:p>
            <a:pPr marR="0" lvl="0" algn="ctr">
              <a:lnSpc>
                <a:spcPct val="107000"/>
              </a:lnSpc>
              <a:spcBef>
                <a:spcPts val="0"/>
              </a:spcBef>
              <a:spcAft>
                <a:spcPts val="800"/>
              </a:spcAft>
              <a:tabLst>
                <a:tab pos="457200" algn="l"/>
              </a:tabLst>
            </a:pPr>
            <a:r>
              <a:rPr lang="en-US" sz="1600" kern="100" dirty="0">
                <a:ea typeface="Calibri" panose="020F0502020204030204" pitchFamily="34" charset="0"/>
                <a:cs typeface="Times New Roman" panose="02020603050405020304" pitchFamily="18" charset="0"/>
              </a:rPr>
              <a:t>End downtime with Incident Response services and tools</a:t>
            </a:r>
          </a:p>
        </p:txBody>
      </p:sp>
      <p:grpSp>
        <p:nvGrpSpPr>
          <p:cNvPr id="18" name="Group 17">
            <a:extLst>
              <a:ext uri="{FF2B5EF4-FFF2-40B4-BE49-F238E27FC236}">
                <a16:creationId xmlns:a16="http://schemas.microsoft.com/office/drawing/2014/main" id="{B359F244-E5A7-9993-6CEC-F905E564D81C}"/>
              </a:ext>
            </a:extLst>
          </p:cNvPr>
          <p:cNvGrpSpPr>
            <a:grpSpLocks noChangeAspect="1"/>
          </p:cNvGrpSpPr>
          <p:nvPr/>
        </p:nvGrpSpPr>
        <p:grpSpPr>
          <a:xfrm>
            <a:off x="5984080" y="2962758"/>
            <a:ext cx="1024526" cy="1024525"/>
            <a:chOff x="1071877" y="2156499"/>
            <a:chExt cx="2749677" cy="2749675"/>
          </a:xfrm>
        </p:grpSpPr>
        <p:sp>
          <p:nvSpPr>
            <p:cNvPr id="19" name="Oval 18">
              <a:extLst>
                <a:ext uri="{FF2B5EF4-FFF2-40B4-BE49-F238E27FC236}">
                  <a16:creationId xmlns:a16="http://schemas.microsoft.com/office/drawing/2014/main" id="{5EE322B9-E636-19EA-B8F4-82B6A91B6300}"/>
                </a:ext>
              </a:extLst>
            </p:cNvPr>
            <p:cNvSpPr/>
            <p:nvPr/>
          </p:nvSpPr>
          <p:spPr bwMode="auto">
            <a:xfrm>
              <a:off x="1071877" y="2156499"/>
              <a:ext cx="2749677" cy="2749675"/>
            </a:xfrm>
            <a:prstGeom prst="ellipse">
              <a:avLst/>
            </a:prstGeom>
            <a:solidFill>
              <a:schemeClr val="accent4"/>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ctr" anchorCtr="0" forceAA="0" compatLnSpc="1">
              <a:prstTxWarp prst="textNoShape">
                <a:avLst/>
              </a:prstTxWarp>
              <a:noAutofit/>
            </a:bodyPr>
            <a:lstStyle/>
            <a:p>
              <a:pPr algn="ctr" defTabSz="1218768" fontAlgn="base">
                <a:spcBef>
                  <a:spcPct val="0"/>
                </a:spcBef>
                <a:spcAft>
                  <a:spcPct val="0"/>
                </a:spcAft>
              </a:pPr>
              <a:r>
                <a:rPr lang="en-US" sz="2400">
                  <a:gradFill>
                    <a:gsLst>
                      <a:gs pos="0">
                        <a:srgbClr val="FFFFFF"/>
                      </a:gs>
                      <a:gs pos="100000">
                        <a:srgbClr val="FFFFFF"/>
                      </a:gs>
                    </a:gsLst>
                    <a:lin ang="5400000" scaled="0"/>
                  </a:gradFill>
                  <a:latin typeface="+mj-lt"/>
                  <a:cs typeface="Segoe UI" pitchFamily="34" charset="0"/>
                </a:rPr>
                <a:t>   </a:t>
              </a:r>
            </a:p>
          </p:txBody>
        </p:sp>
        <p:pic>
          <p:nvPicPr>
            <p:cNvPr id="20" name="Graphic 19">
              <a:extLst>
                <a:ext uri="{FF2B5EF4-FFF2-40B4-BE49-F238E27FC236}">
                  <a16:creationId xmlns:a16="http://schemas.microsoft.com/office/drawing/2014/main" id="{A939D1A1-0AA2-46FC-99E7-D97AAF4E1232}"/>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1576763" y="2670293"/>
              <a:ext cx="1724443" cy="1724443"/>
            </a:xfrm>
            <a:prstGeom prst="rect">
              <a:avLst/>
            </a:prstGeom>
          </p:spPr>
        </p:pic>
      </p:grpSp>
      <p:sp>
        <p:nvSpPr>
          <p:cNvPr id="21" name="TextBox 20">
            <a:extLst>
              <a:ext uri="{FF2B5EF4-FFF2-40B4-BE49-F238E27FC236}">
                <a16:creationId xmlns:a16="http://schemas.microsoft.com/office/drawing/2014/main" id="{7BCBF83B-980C-2A29-C23E-E09DD18A9B54}"/>
              </a:ext>
            </a:extLst>
          </p:cNvPr>
          <p:cNvSpPr txBox="1"/>
          <p:nvPr/>
        </p:nvSpPr>
        <p:spPr>
          <a:xfrm>
            <a:off x="7537229" y="4115020"/>
            <a:ext cx="1951343" cy="790409"/>
          </a:xfrm>
          <a:prstGeom prst="rect">
            <a:avLst/>
          </a:prstGeom>
          <a:noFill/>
        </p:spPr>
        <p:txBody>
          <a:bodyPr wrap="square" lIns="0" tIns="0" rIns="0" bIns="0">
            <a:spAutoFit/>
          </a:bodyPr>
          <a:lstStyle/>
          <a:p>
            <a:pPr marR="0" lvl="0" algn="ctr">
              <a:lnSpc>
                <a:spcPct val="107000"/>
              </a:lnSpc>
              <a:spcBef>
                <a:spcPts val="0"/>
              </a:spcBef>
              <a:tabLst>
                <a:tab pos="457200" algn="l"/>
              </a:tabLst>
            </a:pPr>
            <a:r>
              <a:rPr lang="en-US" sz="1600" kern="100" dirty="0">
                <a:ea typeface="Calibri" panose="020F0502020204030204" pitchFamily="34" charset="0"/>
                <a:cs typeface="Times New Roman" panose="02020603050405020304" pitchFamily="18" charset="0"/>
              </a:rPr>
              <a:t>Detect threats </a:t>
            </a:r>
          </a:p>
          <a:p>
            <a:pPr marR="0" lvl="0" algn="ctr">
              <a:lnSpc>
                <a:spcPct val="107000"/>
              </a:lnSpc>
              <a:spcBef>
                <a:spcPts val="0"/>
              </a:spcBef>
              <a:tabLst>
                <a:tab pos="457200" algn="l"/>
              </a:tabLst>
            </a:pPr>
            <a:r>
              <a:rPr lang="en-US" sz="1600" kern="100" dirty="0">
                <a:ea typeface="Calibri" panose="020F0502020204030204" pitchFamily="34" charset="0"/>
                <a:cs typeface="Times New Roman" panose="02020603050405020304" pitchFamily="18" charset="0"/>
              </a:rPr>
              <a:t>earlier with proactive threat hunting </a:t>
            </a:r>
          </a:p>
        </p:txBody>
      </p:sp>
      <p:grpSp>
        <p:nvGrpSpPr>
          <p:cNvPr id="22" name="Group 21">
            <a:extLst>
              <a:ext uri="{FF2B5EF4-FFF2-40B4-BE49-F238E27FC236}">
                <a16:creationId xmlns:a16="http://schemas.microsoft.com/office/drawing/2014/main" id="{FC446D51-8E55-E617-B4EE-874421803F24}"/>
              </a:ext>
            </a:extLst>
          </p:cNvPr>
          <p:cNvGrpSpPr>
            <a:grpSpLocks noChangeAspect="1"/>
          </p:cNvGrpSpPr>
          <p:nvPr/>
        </p:nvGrpSpPr>
        <p:grpSpPr>
          <a:xfrm>
            <a:off x="7960843" y="2962758"/>
            <a:ext cx="1024526" cy="1024525"/>
            <a:chOff x="1071877" y="2156499"/>
            <a:chExt cx="2749677" cy="2749675"/>
          </a:xfrm>
        </p:grpSpPr>
        <p:sp>
          <p:nvSpPr>
            <p:cNvPr id="23" name="Oval 22">
              <a:extLst>
                <a:ext uri="{FF2B5EF4-FFF2-40B4-BE49-F238E27FC236}">
                  <a16:creationId xmlns:a16="http://schemas.microsoft.com/office/drawing/2014/main" id="{DD49CCAB-DBE4-5459-333C-9A0311AAD298}"/>
                </a:ext>
              </a:extLst>
            </p:cNvPr>
            <p:cNvSpPr/>
            <p:nvPr/>
          </p:nvSpPr>
          <p:spPr bwMode="auto">
            <a:xfrm>
              <a:off x="1071877" y="2156499"/>
              <a:ext cx="2749677" cy="2749675"/>
            </a:xfrm>
            <a:prstGeom prst="ellipse">
              <a:avLst/>
            </a:prstGeom>
            <a:solidFill>
              <a:schemeClr val="accent4"/>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ctr" anchorCtr="0" forceAA="0" compatLnSpc="1">
              <a:prstTxWarp prst="textNoShape">
                <a:avLst/>
              </a:prstTxWarp>
              <a:noAutofit/>
            </a:bodyPr>
            <a:lstStyle/>
            <a:p>
              <a:pPr algn="ctr" defTabSz="1218768" fontAlgn="base">
                <a:spcBef>
                  <a:spcPct val="0"/>
                </a:spcBef>
                <a:spcAft>
                  <a:spcPct val="0"/>
                </a:spcAft>
              </a:pPr>
              <a:r>
                <a:rPr lang="en-US" sz="2400">
                  <a:gradFill>
                    <a:gsLst>
                      <a:gs pos="0">
                        <a:srgbClr val="FFFFFF"/>
                      </a:gs>
                      <a:gs pos="100000">
                        <a:srgbClr val="FFFFFF"/>
                      </a:gs>
                    </a:gsLst>
                    <a:lin ang="5400000" scaled="0"/>
                  </a:gradFill>
                  <a:latin typeface="+mj-lt"/>
                  <a:cs typeface="Segoe UI" pitchFamily="34" charset="0"/>
                </a:rPr>
                <a:t>   </a:t>
              </a:r>
            </a:p>
          </p:txBody>
        </p:sp>
        <p:pic>
          <p:nvPicPr>
            <p:cNvPr id="24" name="Graphic 23">
              <a:extLst>
                <a:ext uri="{FF2B5EF4-FFF2-40B4-BE49-F238E27FC236}">
                  <a16:creationId xmlns:a16="http://schemas.microsoft.com/office/drawing/2014/main" id="{6B1F55B4-E336-C8C2-BA5A-6C09634C3198}"/>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1551076" y="2635696"/>
              <a:ext cx="1791281" cy="1791282"/>
            </a:xfrm>
            <a:prstGeom prst="rect">
              <a:avLst/>
            </a:prstGeom>
          </p:spPr>
        </p:pic>
      </p:grpSp>
      <p:sp>
        <p:nvSpPr>
          <p:cNvPr id="25" name="TextBox 24">
            <a:extLst>
              <a:ext uri="{FF2B5EF4-FFF2-40B4-BE49-F238E27FC236}">
                <a16:creationId xmlns:a16="http://schemas.microsoft.com/office/drawing/2014/main" id="{6C393422-9F35-5EE8-845F-745E4431E302}"/>
              </a:ext>
            </a:extLst>
          </p:cNvPr>
          <p:cNvSpPr txBox="1"/>
          <p:nvPr/>
        </p:nvSpPr>
        <p:spPr>
          <a:xfrm>
            <a:off x="9488572" y="4115020"/>
            <a:ext cx="1783058" cy="790409"/>
          </a:xfrm>
          <a:prstGeom prst="rect">
            <a:avLst/>
          </a:prstGeom>
          <a:noFill/>
        </p:spPr>
        <p:txBody>
          <a:bodyPr wrap="square" lIns="0" tIns="0" rIns="0" bIns="0">
            <a:spAutoFit/>
          </a:bodyPr>
          <a:lstStyle/>
          <a:p>
            <a:pPr marR="0" lvl="0" algn="ctr">
              <a:lnSpc>
                <a:spcPct val="107000"/>
              </a:lnSpc>
              <a:spcBef>
                <a:spcPts val="0"/>
              </a:spcBef>
              <a:tabLst>
                <a:tab pos="457200" algn="l"/>
              </a:tabLst>
            </a:pPr>
            <a:r>
              <a:rPr lang="en-US" sz="1600" dirty="0">
                <a:ea typeface="Calibri" panose="020F0502020204030204" pitchFamily="34" charset="0"/>
                <a:cs typeface="Times New Roman" panose="02020603050405020304" pitchFamily="18" charset="0"/>
              </a:rPr>
              <a:t>Data integrity </a:t>
            </a:r>
          </a:p>
          <a:p>
            <a:pPr marR="0" lvl="0" algn="ctr">
              <a:lnSpc>
                <a:spcPct val="107000"/>
              </a:lnSpc>
              <a:spcBef>
                <a:spcPts val="0"/>
              </a:spcBef>
              <a:tabLst>
                <a:tab pos="457200" algn="l"/>
              </a:tabLst>
            </a:pPr>
            <a:r>
              <a:rPr lang="en-US" sz="1600" dirty="0">
                <a:ea typeface="Calibri" panose="020F0502020204030204" pitchFamily="34" charset="0"/>
                <a:cs typeface="Times New Roman" panose="02020603050405020304" pitchFamily="18" charset="0"/>
              </a:rPr>
              <a:t>with immutability everywhere </a:t>
            </a:r>
            <a:endParaRPr lang="en-US" sz="1600" dirty="0">
              <a:solidFill>
                <a:schemeClr val="bg1"/>
              </a:solidFill>
              <a:cs typeface="Microsoft Sans Serif" panose="020B0604020202020204" pitchFamily="34" charset="0"/>
            </a:endParaRPr>
          </a:p>
        </p:txBody>
      </p:sp>
      <p:grpSp>
        <p:nvGrpSpPr>
          <p:cNvPr id="26" name="Group 25">
            <a:extLst>
              <a:ext uri="{FF2B5EF4-FFF2-40B4-BE49-F238E27FC236}">
                <a16:creationId xmlns:a16="http://schemas.microsoft.com/office/drawing/2014/main" id="{E4765F2E-2E1C-14C1-C98F-E0B9803873AD}"/>
              </a:ext>
            </a:extLst>
          </p:cNvPr>
          <p:cNvGrpSpPr>
            <a:grpSpLocks noChangeAspect="1"/>
          </p:cNvGrpSpPr>
          <p:nvPr/>
        </p:nvGrpSpPr>
        <p:grpSpPr>
          <a:xfrm>
            <a:off x="9879549" y="2962758"/>
            <a:ext cx="1024526" cy="1024525"/>
            <a:chOff x="1071877" y="2156499"/>
            <a:chExt cx="2749677" cy="2749675"/>
          </a:xfrm>
        </p:grpSpPr>
        <p:sp>
          <p:nvSpPr>
            <p:cNvPr id="32" name="Oval 31">
              <a:extLst>
                <a:ext uri="{FF2B5EF4-FFF2-40B4-BE49-F238E27FC236}">
                  <a16:creationId xmlns:a16="http://schemas.microsoft.com/office/drawing/2014/main" id="{1D4F8DD9-1F5A-6C89-C9E0-E046EA75A97C}"/>
                </a:ext>
              </a:extLst>
            </p:cNvPr>
            <p:cNvSpPr/>
            <p:nvPr/>
          </p:nvSpPr>
          <p:spPr bwMode="auto">
            <a:xfrm>
              <a:off x="1071877" y="2156499"/>
              <a:ext cx="2749677" cy="2749675"/>
            </a:xfrm>
            <a:prstGeom prst="ellipse">
              <a:avLst/>
            </a:prstGeom>
            <a:solidFill>
              <a:schemeClr val="accent4"/>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20" tIns="60960" rIns="60960" bIns="121920" numCol="1" spcCol="0" rtlCol="0" fromWordArt="0" anchor="ctr" anchorCtr="0" forceAA="0" compatLnSpc="1">
              <a:prstTxWarp prst="textNoShape">
                <a:avLst/>
              </a:prstTxWarp>
              <a:noAutofit/>
            </a:bodyPr>
            <a:lstStyle/>
            <a:p>
              <a:pPr algn="ctr" defTabSz="1218768" fontAlgn="base">
                <a:spcBef>
                  <a:spcPct val="0"/>
                </a:spcBef>
                <a:spcAft>
                  <a:spcPct val="0"/>
                </a:spcAft>
              </a:pPr>
              <a:r>
                <a:rPr lang="en-US" sz="2400">
                  <a:gradFill>
                    <a:gsLst>
                      <a:gs pos="0">
                        <a:srgbClr val="FFFFFF"/>
                      </a:gs>
                      <a:gs pos="100000">
                        <a:srgbClr val="FFFFFF"/>
                      </a:gs>
                    </a:gsLst>
                    <a:lin ang="5400000" scaled="0"/>
                  </a:gradFill>
                  <a:latin typeface="+mj-lt"/>
                  <a:cs typeface="Segoe UI" pitchFamily="34" charset="0"/>
                </a:rPr>
                <a:t>   </a:t>
              </a:r>
            </a:p>
          </p:txBody>
        </p:sp>
        <p:pic>
          <p:nvPicPr>
            <p:cNvPr id="36" name="Graphic 35">
              <a:extLst>
                <a:ext uri="{FF2B5EF4-FFF2-40B4-BE49-F238E27FC236}">
                  <a16:creationId xmlns:a16="http://schemas.microsoft.com/office/drawing/2014/main" id="{E674CEFD-A7AC-78DC-DE84-CCD976CE84F4}"/>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1583473" y="2668092"/>
              <a:ext cx="1726488" cy="1726488"/>
            </a:xfrm>
            <a:prstGeom prst="rect">
              <a:avLst/>
            </a:prstGeom>
          </p:spPr>
        </p:pic>
      </p:grpSp>
    </p:spTree>
    <p:extLst>
      <p:ext uri="{BB962C8B-B14F-4D97-AF65-F5344CB8AC3E}">
        <p14:creationId xmlns:p14="http://schemas.microsoft.com/office/powerpoint/2010/main" val="12483246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250"/>
                                        <p:tgtEl>
                                          <p:spTgt spid="10"/>
                                        </p:tgtEl>
                                      </p:cBhvr>
                                    </p:animEffect>
                                  </p:childTnLst>
                                </p:cTn>
                              </p:par>
                              <p:par>
                                <p:cTn id="8" presetID="42" presetClass="path" presetSubtype="0" decel="100000" fill="hold" nodeType="withEffect">
                                  <p:stCondLst>
                                    <p:cond delay="0"/>
                                  </p:stCondLst>
                                  <p:childTnLst>
                                    <p:animMotion origin="layout" path="M -4.16667E-6 -0.03472 L -4.16667E-6 -2.96296E-6 " pathEditMode="relative" rAng="0" ptsTypes="AA">
                                      <p:cBhvr>
                                        <p:cTn id="9" dur="500" fill="hold"/>
                                        <p:tgtEl>
                                          <p:spTgt spid="10"/>
                                        </p:tgtEl>
                                        <p:attrNameLst>
                                          <p:attrName>ppt_x</p:attrName>
                                          <p:attrName>ppt_y</p:attrName>
                                        </p:attrNameLst>
                                      </p:cBhvr>
                                      <p:rCtr x="0" y="1736"/>
                                    </p:animMotion>
                                  </p:childTnLst>
                                </p:cTn>
                              </p:par>
                              <p:par>
                                <p:cTn id="10" presetID="10" presetClass="entr" presetSubtype="0" fill="hold" nodeType="withEffect">
                                  <p:stCondLst>
                                    <p:cond delay="25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250"/>
                                        <p:tgtEl>
                                          <p:spTgt spid="18"/>
                                        </p:tgtEl>
                                      </p:cBhvr>
                                    </p:animEffect>
                                  </p:childTnLst>
                                </p:cTn>
                              </p:par>
                              <p:par>
                                <p:cTn id="13" presetID="42" presetClass="path" presetSubtype="0" decel="100000" fill="hold" nodeType="withEffect">
                                  <p:stCondLst>
                                    <p:cond delay="250"/>
                                  </p:stCondLst>
                                  <p:childTnLst>
                                    <p:animMotion origin="layout" path="M 4.16667E-6 -0.03472 L 4.16667E-6 -2.96296E-6 " pathEditMode="relative" rAng="0" ptsTypes="AA">
                                      <p:cBhvr>
                                        <p:cTn id="14" dur="500" fill="hold"/>
                                        <p:tgtEl>
                                          <p:spTgt spid="18"/>
                                        </p:tgtEl>
                                        <p:attrNameLst>
                                          <p:attrName>ppt_x</p:attrName>
                                          <p:attrName>ppt_y</p:attrName>
                                        </p:attrNameLst>
                                      </p:cBhvr>
                                      <p:rCtr x="0" y="1736"/>
                                    </p:animMotion>
                                  </p:childTnLst>
                                </p:cTn>
                              </p:par>
                              <p:par>
                                <p:cTn id="15" presetID="10" presetClass="entr" presetSubtype="0" fill="hold" nodeType="withEffect">
                                  <p:stCondLst>
                                    <p:cond delay="50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250"/>
                                        <p:tgtEl>
                                          <p:spTgt spid="22"/>
                                        </p:tgtEl>
                                      </p:cBhvr>
                                    </p:animEffect>
                                  </p:childTnLst>
                                </p:cTn>
                              </p:par>
                              <p:par>
                                <p:cTn id="18" presetID="42" presetClass="path" presetSubtype="0" decel="100000" fill="hold" nodeType="withEffect">
                                  <p:stCondLst>
                                    <p:cond delay="500"/>
                                  </p:stCondLst>
                                  <p:childTnLst>
                                    <p:animMotion origin="layout" path="M 2.70833E-6 -0.03472 L 2.70833E-6 -2.96296E-6 " pathEditMode="relative" rAng="0" ptsTypes="AA">
                                      <p:cBhvr>
                                        <p:cTn id="19" dur="500" fill="hold"/>
                                        <p:tgtEl>
                                          <p:spTgt spid="22"/>
                                        </p:tgtEl>
                                        <p:attrNameLst>
                                          <p:attrName>ppt_x</p:attrName>
                                          <p:attrName>ppt_y</p:attrName>
                                        </p:attrNameLst>
                                      </p:cBhvr>
                                      <p:rCtr x="0" y="1736"/>
                                    </p:animMotion>
                                  </p:childTnLst>
                                </p:cTn>
                              </p:par>
                              <p:par>
                                <p:cTn id="20" presetID="10" presetClass="entr" presetSubtype="0" fill="hold" nodeType="withEffect">
                                  <p:stCondLst>
                                    <p:cond delay="75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250"/>
                                        <p:tgtEl>
                                          <p:spTgt spid="26"/>
                                        </p:tgtEl>
                                      </p:cBhvr>
                                    </p:animEffect>
                                  </p:childTnLst>
                                </p:cTn>
                              </p:par>
                              <p:par>
                                <p:cTn id="23" presetID="42" presetClass="path" presetSubtype="0" decel="100000" fill="hold" nodeType="withEffect">
                                  <p:stCondLst>
                                    <p:cond delay="750"/>
                                  </p:stCondLst>
                                  <p:childTnLst>
                                    <p:animMotion origin="layout" path="M 1.25E-6 -0.03472 L 1.25E-6 -2.96296E-6 " pathEditMode="relative" rAng="0" ptsTypes="AA">
                                      <p:cBhvr>
                                        <p:cTn id="24" dur="500" fill="hold"/>
                                        <p:tgtEl>
                                          <p:spTgt spid="26"/>
                                        </p:tgtEl>
                                        <p:attrNameLst>
                                          <p:attrName>ppt_x</p:attrName>
                                          <p:attrName>ppt_y</p:attrName>
                                        </p:attrNameLst>
                                      </p:cBhvr>
                                      <p:rCtr x="0" y="1736"/>
                                    </p:animMotion>
                                  </p:childTnLst>
                                </p:cTn>
                              </p:par>
                              <p:par>
                                <p:cTn id="25" presetID="10" presetClass="entr" presetSubtype="0" fill="hold" grpId="0" nodeType="with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250"/>
                                        <p:tgtEl>
                                          <p:spTgt spid="9"/>
                                        </p:tgtEl>
                                      </p:cBhvr>
                                    </p:animEffect>
                                  </p:childTnLst>
                                </p:cTn>
                              </p:par>
                              <p:par>
                                <p:cTn id="28" presetID="42" presetClass="path" presetSubtype="0" decel="100000" fill="hold" grpId="1" nodeType="withEffect">
                                  <p:stCondLst>
                                    <p:cond delay="0"/>
                                  </p:stCondLst>
                                  <p:childTnLst>
                                    <p:animMotion origin="layout" path="M -4.16667E-6 0.03889 L -4.16667E-6 2.22222E-6 " pathEditMode="relative" rAng="0" ptsTypes="AA">
                                      <p:cBhvr>
                                        <p:cTn id="29" dur="500" fill="hold"/>
                                        <p:tgtEl>
                                          <p:spTgt spid="9"/>
                                        </p:tgtEl>
                                        <p:attrNameLst>
                                          <p:attrName>ppt_x</p:attrName>
                                          <p:attrName>ppt_y</p:attrName>
                                        </p:attrNameLst>
                                      </p:cBhvr>
                                      <p:rCtr x="0" y="-1944"/>
                                    </p:animMotion>
                                  </p:childTnLst>
                                </p:cTn>
                              </p:par>
                              <p:par>
                                <p:cTn id="30" presetID="10" presetClass="entr" presetSubtype="0" fill="hold" grpId="0" nodeType="withEffect">
                                  <p:stCondLst>
                                    <p:cond delay="250"/>
                                  </p:stCondLst>
                                  <p:childTnLst>
                                    <p:set>
                                      <p:cBhvr>
                                        <p:cTn id="31" dur="1" fill="hold">
                                          <p:stCondLst>
                                            <p:cond delay="0"/>
                                          </p:stCondLst>
                                        </p:cTn>
                                        <p:tgtEl>
                                          <p:spTgt spid="16"/>
                                        </p:tgtEl>
                                        <p:attrNameLst>
                                          <p:attrName>style.visibility</p:attrName>
                                        </p:attrNameLst>
                                      </p:cBhvr>
                                      <p:to>
                                        <p:strVal val="visible"/>
                                      </p:to>
                                    </p:set>
                                    <p:animEffect transition="in" filter="fade">
                                      <p:cBhvr>
                                        <p:cTn id="32" dur="250"/>
                                        <p:tgtEl>
                                          <p:spTgt spid="16"/>
                                        </p:tgtEl>
                                      </p:cBhvr>
                                    </p:animEffect>
                                  </p:childTnLst>
                                </p:cTn>
                              </p:par>
                              <p:par>
                                <p:cTn id="33" presetID="42" presetClass="path" presetSubtype="0" decel="100000" fill="hold" grpId="1" nodeType="withEffect">
                                  <p:stCondLst>
                                    <p:cond delay="250"/>
                                  </p:stCondLst>
                                  <p:childTnLst>
                                    <p:animMotion origin="layout" path="M 4.16667E-6 0.03889 L 4.16667E-6 2.22222E-6 " pathEditMode="relative" rAng="0" ptsTypes="AA">
                                      <p:cBhvr>
                                        <p:cTn id="34" dur="500" fill="hold"/>
                                        <p:tgtEl>
                                          <p:spTgt spid="16"/>
                                        </p:tgtEl>
                                        <p:attrNameLst>
                                          <p:attrName>ppt_x</p:attrName>
                                          <p:attrName>ppt_y</p:attrName>
                                        </p:attrNameLst>
                                      </p:cBhvr>
                                      <p:rCtr x="0" y="-1944"/>
                                    </p:animMotion>
                                  </p:childTnLst>
                                </p:cTn>
                              </p:par>
                              <p:par>
                                <p:cTn id="35" presetID="10" presetClass="entr" presetSubtype="0" fill="hold" grpId="0" nodeType="withEffect">
                                  <p:stCondLst>
                                    <p:cond delay="500"/>
                                  </p:stCondLst>
                                  <p:childTnLst>
                                    <p:set>
                                      <p:cBhvr>
                                        <p:cTn id="36" dur="1" fill="hold">
                                          <p:stCondLst>
                                            <p:cond delay="0"/>
                                          </p:stCondLst>
                                        </p:cTn>
                                        <p:tgtEl>
                                          <p:spTgt spid="21"/>
                                        </p:tgtEl>
                                        <p:attrNameLst>
                                          <p:attrName>style.visibility</p:attrName>
                                        </p:attrNameLst>
                                      </p:cBhvr>
                                      <p:to>
                                        <p:strVal val="visible"/>
                                      </p:to>
                                    </p:set>
                                    <p:animEffect transition="in" filter="fade">
                                      <p:cBhvr>
                                        <p:cTn id="37" dur="250"/>
                                        <p:tgtEl>
                                          <p:spTgt spid="21"/>
                                        </p:tgtEl>
                                      </p:cBhvr>
                                    </p:animEffect>
                                  </p:childTnLst>
                                </p:cTn>
                              </p:par>
                              <p:par>
                                <p:cTn id="38" presetID="42" presetClass="path" presetSubtype="0" decel="100000" fill="hold" grpId="1" nodeType="withEffect">
                                  <p:stCondLst>
                                    <p:cond delay="500"/>
                                  </p:stCondLst>
                                  <p:childTnLst>
                                    <p:animMotion origin="layout" path="M 2.91667E-6 0.03889 L 2.91667E-6 1.11111E-6 " pathEditMode="relative" rAng="0" ptsTypes="AA">
                                      <p:cBhvr>
                                        <p:cTn id="39" dur="500" fill="hold"/>
                                        <p:tgtEl>
                                          <p:spTgt spid="21"/>
                                        </p:tgtEl>
                                        <p:attrNameLst>
                                          <p:attrName>ppt_x</p:attrName>
                                          <p:attrName>ppt_y</p:attrName>
                                        </p:attrNameLst>
                                      </p:cBhvr>
                                      <p:rCtr x="0" y="-1944"/>
                                    </p:animMotion>
                                  </p:childTnLst>
                                </p:cTn>
                              </p:par>
                              <p:par>
                                <p:cTn id="40" presetID="10" presetClass="entr" presetSubtype="0" fill="hold" grpId="0" nodeType="withEffect">
                                  <p:stCondLst>
                                    <p:cond delay="750"/>
                                  </p:stCondLst>
                                  <p:childTnLst>
                                    <p:set>
                                      <p:cBhvr>
                                        <p:cTn id="41" dur="1" fill="hold">
                                          <p:stCondLst>
                                            <p:cond delay="0"/>
                                          </p:stCondLst>
                                        </p:cTn>
                                        <p:tgtEl>
                                          <p:spTgt spid="25"/>
                                        </p:tgtEl>
                                        <p:attrNameLst>
                                          <p:attrName>style.visibility</p:attrName>
                                        </p:attrNameLst>
                                      </p:cBhvr>
                                      <p:to>
                                        <p:strVal val="visible"/>
                                      </p:to>
                                    </p:set>
                                    <p:animEffect transition="in" filter="fade">
                                      <p:cBhvr>
                                        <p:cTn id="42" dur="250"/>
                                        <p:tgtEl>
                                          <p:spTgt spid="25"/>
                                        </p:tgtEl>
                                      </p:cBhvr>
                                    </p:animEffect>
                                  </p:childTnLst>
                                </p:cTn>
                              </p:par>
                              <p:par>
                                <p:cTn id="43" presetID="42" presetClass="path" presetSubtype="0" decel="100000" fill="hold" grpId="1" nodeType="withEffect">
                                  <p:stCondLst>
                                    <p:cond delay="750"/>
                                  </p:stCondLst>
                                  <p:childTnLst>
                                    <p:animMotion origin="layout" path="M -2.91667E-6 0.03888 L -2.91667E-6 4.07407E-6 " pathEditMode="relative" rAng="0" ptsTypes="AA">
                                      <p:cBhvr>
                                        <p:cTn id="44" dur="500" fill="hold"/>
                                        <p:tgtEl>
                                          <p:spTgt spid="25"/>
                                        </p:tgtEl>
                                        <p:attrNameLst>
                                          <p:attrName>ppt_x</p:attrName>
                                          <p:attrName>ppt_y</p:attrName>
                                        </p:attrNameLst>
                                      </p:cBhvr>
                                      <p:rCtr x="0" y="-19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16" grpId="0"/>
      <p:bldP spid="16" grpId="1"/>
      <p:bldP spid="21" grpId="0"/>
      <p:bldP spid="21" grpId="1"/>
      <p:bldP spid="25" grpId="0"/>
      <p:bldP spid="25" grpId="1"/>
    </p:bld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heme/theme1.xml><?xml version="1.0" encoding="utf-8"?>
<a:theme xmlns:a="http://schemas.openxmlformats.org/drawingml/2006/main" name="Veeam">
  <a:themeElements>
    <a:clrScheme name="Custom 3">
      <a:dk1>
        <a:srgbClr val="505861"/>
      </a:dk1>
      <a:lt1>
        <a:srgbClr val="FFFFFF"/>
      </a:lt1>
      <a:dk2>
        <a:srgbClr val="ADACAF"/>
      </a:dk2>
      <a:lt2>
        <a:srgbClr val="EFEFEF"/>
      </a:lt2>
      <a:accent1>
        <a:srgbClr val="000000"/>
      </a:accent1>
      <a:accent2>
        <a:srgbClr val="00D15F"/>
      </a:accent2>
      <a:accent3>
        <a:srgbClr val="3700FF"/>
      </a:accent3>
      <a:accent4>
        <a:srgbClr val="01B0FE"/>
      </a:accent4>
      <a:accent5>
        <a:srgbClr val="FFD836"/>
      </a:accent5>
      <a:accent6>
        <a:srgbClr val="FE8A25"/>
      </a:accent6>
      <a:hlink>
        <a:srgbClr val="00D15F"/>
      </a:hlink>
      <a:folHlink>
        <a:srgbClr val="3700FF"/>
      </a:folHlink>
    </a:clrScheme>
    <a:fontScheme name="Veeam">
      <a:majorFont>
        <a:latin typeface="ES Build"/>
        <a:ea typeface=""/>
        <a:cs typeface=""/>
      </a:majorFont>
      <a:minorFont>
        <a:latin typeface="ES Build Neutr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lnSpc>
            <a:spcPct val="96000"/>
          </a:lnSpc>
          <a:defRPr dirty="0">
            <a:solidFill>
              <a:schemeClr val="bg1"/>
            </a:solidFill>
            <a:latin typeface="ES Build" pitchFamily="50" charset="0"/>
            <a:cs typeface="Microsoft Sans Serif"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3"/>
          </a:solidFill>
          <a:round/>
          <a:headEnd type="none" w="med" len="sm"/>
          <a:tailEnd type="none" w="sm" len="sm"/>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Casia">
      <a:srgbClr val="8E71F4"/>
    </a:custClr>
    <a:custClr name="Ignis">
      <a:srgbClr val="ED2B3D"/>
    </a:custClr>
    <a:custClr name="Viridis">
      <a:srgbClr val="00D15F"/>
    </a:custClr>
    <a:custClr name="Black">
      <a:srgbClr val="000000"/>
    </a:custClr>
    <a:custClr name="Dark Mineral">
      <a:srgbClr val="505861"/>
    </a:custClr>
    <a:custClr name="French Grey">
      <a:srgbClr val="ADACAF"/>
    </a:custClr>
    <a:custClr name="Sol">
      <a:srgbClr val="FFD839"/>
    </a:custClr>
    <a:custClr name="Suma">
      <a:srgbClr val="FE8A25"/>
    </a:custClr>
    <a:custClr name="Electric Azure">
      <a:srgbClr val="3700FF"/>
    </a:custClr>
    <a:custClr name="Sky">
      <a:srgbClr val="01B0FE"/>
    </a:custClr>
  </a:custClrLst>
  <a:extLst>
    <a:ext uri="{05A4C25C-085E-4340-85A3-A5531E510DB2}">
      <thm15:themeFamily xmlns:thm15="http://schemas.microsoft.com/office/thememl/2012/main" name="Veeam 2024.potx" id="{BECC50B4-68B7-445B-8F88-F54D8C4907D5}" vid="{1F7850F6-981F-44C0-B0DF-D1B0B3CDCA5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3">
    <a:dk1>
      <a:srgbClr val="505861"/>
    </a:dk1>
    <a:lt1>
      <a:srgbClr val="FFFFFF"/>
    </a:lt1>
    <a:dk2>
      <a:srgbClr val="ADACAF"/>
    </a:dk2>
    <a:lt2>
      <a:srgbClr val="EFEFEF"/>
    </a:lt2>
    <a:accent1>
      <a:srgbClr val="000000"/>
    </a:accent1>
    <a:accent2>
      <a:srgbClr val="00D15F"/>
    </a:accent2>
    <a:accent3>
      <a:srgbClr val="3700FF"/>
    </a:accent3>
    <a:accent4>
      <a:srgbClr val="01B0FE"/>
    </a:accent4>
    <a:accent5>
      <a:srgbClr val="FFD836"/>
    </a:accent5>
    <a:accent6>
      <a:srgbClr val="FE8A25"/>
    </a:accent6>
    <a:hlink>
      <a:srgbClr val="00D15F"/>
    </a:hlink>
    <a:folHlink>
      <a:srgbClr val="3700F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cd9fc493-ea97-45be-b838-e030c0505f86">
      <Terms xmlns="http://schemas.microsoft.com/office/infopath/2007/PartnerControls"/>
    </lcf76f155ced4ddcb4097134ff3c332f>
    <TaxCatchAll xmlns="42f0256c-2997-42ba-acb6-f97ce23f8eac">
      <Value>32</Value>
      <Value>31</Value>
      <Value>12</Value>
      <Value>7</Value>
      <Value>5</Value>
      <Value>19</Value>
    </TaxCatchAll>
    <hd38bc1292c146a891a092a0fb957b13 xmlns="cd9fc493-ea97-45be-b838-e030c0505f86">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09850924-da2d-4779-a214-e02fc3fd7d40</TermId>
        </TermInfo>
      </Terms>
    </hd38bc1292c146a891a092a0fb957b13>
    <Owners xmlns="cd9fc493-ea97-45be-b838-e030c0505f86">
      <UserInfo>
        <DisplayName>Leah.Troscianecki@veeam.com</DisplayName>
        <AccountId>92</AccountId>
        <AccountType/>
      </UserInfo>
    </Owners>
    <ArchivalStatus xmlns="cd9fc493-ea97-45be-b838-e030c0505f86" xsi:nil="true"/>
    <g5ac069ac7024c29a2fe3bc51a770dd8 xmlns="cd9fc493-ea97-45be-b838-e030c0505f86">
      <Terms xmlns="http://schemas.microsoft.com/office/infopath/2007/PartnerControls"/>
    </g5ac069ac7024c29a2fe3bc51a770dd8>
    <Resource xmlns="42f0256c-2997-42ba-acb6-f97ce23f8eac" xsi:nil="true"/>
    <j1f63fba01b44099a4d2e3fcb4a89e2c xmlns="cd9fc493-ea97-45be-b838-e030c0505f86">
      <Terms xmlns="http://schemas.microsoft.com/office/infopath/2007/PartnerControls">
        <TermInfo xmlns="http://schemas.microsoft.com/office/infopath/2007/PartnerControls">
          <TermName xmlns="http://schemas.microsoft.com/office/infopath/2007/PartnerControls">Customer</TermName>
          <TermId xmlns="http://schemas.microsoft.com/office/infopath/2007/PartnerControls">76456fda-07e6-4823-aa04-b9f6379414b8</TermId>
        </TermInfo>
      </Terms>
    </j1f63fba01b44099a4d2e3fcb4a89e2c>
    <fbfa48286f9845eb8d0909afeb524117 xmlns="cd9fc493-ea97-45be-b838-e030c0505f86">
      <Terms xmlns="http://schemas.microsoft.com/office/infopath/2007/PartnerControls">
        <TermInfo xmlns="http://schemas.microsoft.com/office/infopath/2007/PartnerControls">
          <TermName xmlns="http://schemas.microsoft.com/office/infopath/2007/PartnerControls">Product Marketing</TermName>
          <TermId xmlns="http://schemas.microsoft.com/office/infopath/2007/PartnerControls">de794684-31f8-4ffd-ab5f-69018eaedac3</TermId>
        </TermInfo>
      </Terms>
    </fbfa48286f9845eb8d0909afeb524117>
    <o24b8b5e7d404323b861ea361e3f8c2a xmlns="cd9fc493-ea97-45be-b838-e030c0505f86">
      <Terms xmlns="http://schemas.microsoft.com/office/infopath/2007/PartnerControls">
        <TermInfo xmlns="http://schemas.microsoft.com/office/infopath/2007/PartnerControls">
          <TermName xmlns="http://schemas.microsoft.com/office/infopath/2007/PartnerControls">Enterprise</TermName>
          <TermId xmlns="http://schemas.microsoft.com/office/infopath/2007/PartnerControls">d9f78f50-a3cd-4752-b3a4-280758a17050</TermId>
        </TermInfo>
        <TermInfo xmlns="http://schemas.microsoft.com/office/infopath/2007/PartnerControls">
          <TermName xmlns="http://schemas.microsoft.com/office/infopath/2007/PartnerControls">Commercial</TermName>
          <TermId xmlns="http://schemas.microsoft.com/office/infopath/2007/PartnerControls">5906e64b-5af0-4b18-83fb-20ea736789e5</TermId>
        </TermInfo>
      </Terms>
    </o24b8b5e7d404323b861ea361e3f8c2a>
    <g61d21353f0d4c7e99fea7dd9eaaa0e2 xmlns="cd9fc493-ea97-45be-b838-e030c0505f86">
      <Terms xmlns="http://schemas.microsoft.com/office/infopath/2007/PartnerControls">
        <TermInfo xmlns="http://schemas.microsoft.com/office/infopath/2007/PartnerControls">
          <TermName xmlns="http://schemas.microsoft.com/office/infopath/2007/PartnerControls">N/A</TermName>
          <TermId xmlns="http://schemas.microsoft.com/office/infopath/2007/PartnerControls">a92dfe79-2978-4248-9133-e15bb560f9e9</TermId>
        </TermInfo>
      </Terms>
    </g61d21353f0d4c7e99fea7dd9eaaa0e2>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D744DBE91A1ED419F636EC45150A328" ma:contentTypeVersion="33" ma:contentTypeDescription="Create a new document." ma:contentTypeScope="" ma:versionID="0c56e9cfaa4ef67848b13e5490ba0669">
  <xsd:schema xmlns:xsd="http://www.w3.org/2001/XMLSchema" xmlns:xs="http://www.w3.org/2001/XMLSchema" xmlns:p="http://schemas.microsoft.com/office/2006/metadata/properties" xmlns:ns2="cd9fc493-ea97-45be-b838-e030c0505f86" xmlns:ns3="42f0256c-2997-42ba-acb6-f97ce23f8eac" targetNamespace="http://schemas.microsoft.com/office/2006/metadata/properties" ma:root="true" ma:fieldsID="7387c097c4819c155d44c055d6d386a5" ns2:_="" ns3:_="">
    <xsd:import namespace="cd9fc493-ea97-45be-b838-e030c0505f86"/>
    <xsd:import namespace="42f0256c-2997-42ba-acb6-f97ce23f8eac"/>
    <xsd:element name="properties">
      <xsd:complexType>
        <xsd:sequence>
          <xsd:element name="documentManagement">
            <xsd:complexType>
              <xsd:all>
                <xsd:element ref="ns3:Resource" minOccurs="0"/>
                <xsd:element ref="ns2:Owners"/>
                <xsd:element ref="ns2:j1f63fba01b44099a4d2e3fcb4a89e2c" minOccurs="0"/>
                <xsd:element ref="ns2:hd38bc1292c146a891a092a0fb957b13" minOccurs="0"/>
                <xsd:element ref="ns2:g61d21353f0d4c7e99fea7dd9eaaa0e2" minOccurs="0"/>
                <xsd:element ref="ns2:o24b8b5e7d404323b861ea361e3f8c2a" minOccurs="0"/>
                <xsd:element ref="ns2:g5ac069ac7024c29a2fe3bc51a770dd8" minOccurs="0"/>
                <xsd:element ref="ns2:MediaServiceMetadata" minOccurs="0"/>
                <xsd:element ref="ns2:MediaServiceFastMetadata" minOccurs="0"/>
                <xsd:element ref="ns2:MediaServiceDateTaken" minOccurs="0"/>
                <xsd:element ref="ns2:MediaLengthInSeconds" minOccurs="0"/>
                <xsd:element ref="ns2:fbfa48286f9845eb8d0909afeb524117" minOccurs="0"/>
                <xsd:element ref="ns2:lcf76f155ced4ddcb4097134ff3c332f" minOccurs="0"/>
                <xsd:element ref="ns2:MediaServiceObjectDetectorVersion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SearchProperties" minOccurs="0"/>
                <xsd:element ref="ns3:TaxCatchAll" minOccurs="0"/>
                <xsd:element ref="ns2:Archival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d9fc493-ea97-45be-b838-e030c0505f86" elementFormDefault="qualified">
    <xsd:import namespace="http://schemas.microsoft.com/office/2006/documentManagement/types"/>
    <xsd:import namespace="http://schemas.microsoft.com/office/infopath/2007/PartnerControls"/>
    <xsd:element name="Owners" ma:index="10" ma:displayName="Owners" ma:internalName="Owners" ma:readOnly="false">
      <xsd:complexType>
        <xsd:complexContent>
          <xsd:extension base="dms:UserMulti">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j1f63fba01b44099a4d2e3fcb4a89e2c" ma:index="12" ma:taxonomy="true" ma:internalName="j1f63fba01b44099a4d2e3fcb4a89e2c" ma:taxonomyFieldName="Audience" ma:displayName="Audience" ma:readOnly="false" ma:default="" ma:fieldId="{31f63fba-01b4-4099-a4d2-e3fcb4a89e2c}" ma:sspId="42f7ecf7-3daf-40a4-b73e-fe1cc035c9ac" ma:termSetId="0fa1d7fe-903d-4a1a-ae04-d0116490daf5" ma:anchorId="00000000-0000-0000-0000-000000000000" ma:open="false" ma:isKeyword="false">
      <xsd:complexType>
        <xsd:sequence>
          <xsd:element ref="pc:Terms" minOccurs="0" maxOccurs="1"/>
        </xsd:sequence>
      </xsd:complexType>
    </xsd:element>
    <xsd:element name="hd38bc1292c146a891a092a0fb957b13" ma:index="14" ma:taxonomy="true" ma:internalName="hd38bc1292c146a891a092a0fb957b13" ma:taxonomyFieldName="Language" ma:displayName="Language" ma:readOnly="false" ma:default="1;#English|09850924-da2d-4779-a214-e02fc3fd7d40" ma:fieldId="{1d38bc12-92c1-46a8-91a0-92a0fb957b13}" ma:sspId="42f7ecf7-3daf-40a4-b73e-fe1cc035c9ac" ma:termSetId="ee11b2d0-e6c5-4d61-89e7-c4967eca5e46" ma:anchorId="00000000-0000-0000-0000-000000000000" ma:open="false" ma:isKeyword="false">
      <xsd:complexType>
        <xsd:sequence>
          <xsd:element ref="pc:Terms" minOccurs="0" maxOccurs="1"/>
        </xsd:sequence>
      </xsd:complexType>
    </xsd:element>
    <xsd:element name="g61d21353f0d4c7e99fea7dd9eaaa0e2" ma:index="16" ma:taxonomy="true" ma:internalName="g61d21353f0d4c7e99fea7dd9eaaa0e2" ma:taxonomyFieldName="Product" ma:displayName="Product" ma:readOnly="false" ma:default="" ma:fieldId="{061d2135-3f0d-4c7e-99fe-a7dd9eaaa0e2}" ma:taxonomyMulti="true" ma:sspId="42f7ecf7-3daf-40a4-b73e-fe1cc035c9ac" ma:termSetId="e00f0180-97b2-40dd-89e8-e87d25d3e0d1" ma:anchorId="00000000-0000-0000-0000-000000000000" ma:open="false" ma:isKeyword="false">
      <xsd:complexType>
        <xsd:sequence>
          <xsd:element ref="pc:Terms" minOccurs="0" maxOccurs="1"/>
        </xsd:sequence>
      </xsd:complexType>
    </xsd:element>
    <xsd:element name="o24b8b5e7d404323b861ea361e3f8c2a" ma:index="18" ma:taxonomy="true" ma:internalName="o24b8b5e7d404323b861ea361e3f8c2a" ma:taxonomyFieldName="MarketSegment" ma:displayName="Market Segment" ma:readOnly="false" ma:default="" ma:fieldId="{824b8b5e-7d40-4323-b861-ea361e3f8c2a}" ma:taxonomyMulti="true" ma:sspId="42f7ecf7-3daf-40a4-b73e-fe1cc035c9ac" ma:termSetId="205cc78d-c39f-4732-bceb-ababdae92c8c" ma:anchorId="00000000-0000-0000-0000-000000000000" ma:open="false" ma:isKeyword="false">
      <xsd:complexType>
        <xsd:sequence>
          <xsd:element ref="pc:Terms" minOccurs="0" maxOccurs="1"/>
        </xsd:sequence>
      </xsd:complexType>
    </xsd:element>
    <xsd:element name="g5ac069ac7024c29a2fe3bc51a770dd8" ma:index="20" nillable="true" ma:taxonomy="true" ma:internalName="g5ac069ac7024c29a2fe3bc51a770dd8" ma:taxonomyFieldName="MarketingCampaign" ma:displayName="Marketing Campaign" ma:readOnly="false" ma:default="" ma:fieldId="{05ac069a-c702-4c29-a2fe-3bc51a770dd8}" ma:taxonomyMulti="true" ma:sspId="42f7ecf7-3daf-40a4-b73e-fe1cc035c9ac" ma:termSetId="acb97e79-8199-4056-bdf2-1e67fbdf27a8" ma:anchorId="00000000-0000-0000-0000-000000000000" ma:open="false" ma:isKeyword="false">
      <xsd:complexType>
        <xsd:sequence>
          <xsd:element ref="pc:Terms" minOccurs="0" maxOccurs="1"/>
        </xsd:sequence>
      </xsd:complexType>
    </xsd:element>
    <xsd:element name="MediaServiceMetadata" ma:index="21" nillable="true" ma:displayName="MediaServiceMetadata" ma:hidden="true" ma:internalName="MediaServiceMetadata" ma:readOnly="true">
      <xsd:simpleType>
        <xsd:restriction base="dms:Note"/>
      </xsd:simpleType>
    </xsd:element>
    <xsd:element name="MediaServiceFastMetadata" ma:index="22" nillable="true" ma:displayName="MediaServiceFastMetadata" ma:hidden="true" ma:internalName="MediaServiceFastMetadata" ma:readOnly="true">
      <xsd:simpleType>
        <xsd:restriction base="dms:Note"/>
      </xsd:simpleType>
    </xsd:element>
    <xsd:element name="MediaServiceDateTaken" ma:index="23" nillable="true" ma:displayName="MediaServiceDateTaken" ma:hidden="true" ma:indexed="true" ma:internalName="MediaServiceDateTaken" ma:readOnly="true">
      <xsd:simpleType>
        <xsd:restriction base="dms:Text"/>
      </xsd:simpleType>
    </xsd:element>
    <xsd:element name="MediaLengthInSeconds" ma:index="24" nillable="true" ma:displayName="MediaLengthInSeconds" ma:hidden="true" ma:internalName="MediaLengthInSeconds" ma:readOnly="true">
      <xsd:simpleType>
        <xsd:restriction base="dms:Unknown"/>
      </xsd:simpleType>
    </xsd:element>
    <xsd:element name="fbfa48286f9845eb8d0909afeb524117" ma:index="26" ma:taxonomy="true" ma:internalName="fbfa48286f9845eb8d0909afeb524117" ma:taxonomyFieldName="Department" ma:displayName="Department" ma:readOnly="false" ma:default="1;#Product Marketing|de794684-31f8-4ffd-ab5f-69018eaedac3" ma:fieldId="{fbfa4828-6f98-45eb-8d09-09afeb524117}" ma:sspId="42f7ecf7-3daf-40a4-b73e-fe1cc035c9ac" ma:termSetId="e2879ac4-edca-4321-989a-3d1b65ab2577" ma:anchorId="00000000-0000-0000-0000-000000000000" ma:open="false" ma:isKeyword="false">
      <xsd:complexType>
        <xsd:sequence>
          <xsd:element ref="pc:Terms" minOccurs="0" maxOccurs="1"/>
        </xsd:sequence>
      </xsd:complexType>
    </xsd:element>
    <xsd:element name="lcf76f155ced4ddcb4097134ff3c332f" ma:index="27" nillable="true" ma:taxonomy="true" ma:internalName="lcf76f155ced4ddcb4097134ff3c332f" ma:taxonomyFieldName="MediaServiceImageTags" ma:displayName="Image Tags" ma:readOnly="false" ma:fieldId="{5cf76f15-5ced-4ddc-b409-7134ff3c332f}" ma:taxonomyMulti="true" ma:sspId="42f7ecf7-3daf-40a4-b73e-fe1cc035c9ac"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8" nillable="true" ma:displayName="MediaServiceObjectDetectorVersions" ma:hidden="true" ma:indexed="true" ma:internalName="MediaServiceObjectDetectorVersions" ma:readOnly="true">
      <xsd:simpleType>
        <xsd:restriction base="dms:Text"/>
      </xsd:simpleType>
    </xsd:element>
    <xsd:element name="MediaServiceOCR" ma:index="29" nillable="true" ma:displayName="Extracted Text" ma:hidden="true" ma:internalName="MediaServiceOCR" ma:readOnly="true">
      <xsd:simpleType>
        <xsd:restriction base="dms:Note"/>
      </xsd:simpleType>
    </xsd:element>
    <xsd:element name="MediaServiceGenerationTime" ma:index="30" nillable="true" ma:displayName="MediaServiceGenerationTime" ma:hidden="true" ma:internalName="MediaServiceGenerationTime" ma:readOnly="true">
      <xsd:simpleType>
        <xsd:restriction base="dms:Text"/>
      </xsd:simpleType>
    </xsd:element>
    <xsd:element name="MediaServiceEventHashCode" ma:index="31" nillable="true" ma:displayName="MediaServiceEventHashCode" ma:hidden="true" ma:internalName="MediaServiceEventHashCode" ma:readOnly="true">
      <xsd:simpleType>
        <xsd:restriction base="dms:Text"/>
      </xsd:simpleType>
    </xsd:element>
    <xsd:element name="MediaServiceSearchProperties" ma:index="34" nillable="true" ma:displayName="MediaServiceSearchProperties" ma:hidden="true" ma:internalName="MediaServiceSearchProperties" ma:readOnly="true">
      <xsd:simpleType>
        <xsd:restriction base="dms:Note"/>
      </xsd:simpleType>
    </xsd:element>
    <xsd:element name="ArchivalStatus" ma:index="36" nillable="true" ma:displayName="ArchivalStatus" ma:format="Dropdown" ma:hidden="true" ma:internalName="ArchivalStatus" ma:readOnly="false">
      <xsd:simpleType>
        <xsd:restriction base="dms:Choice">
          <xsd:enumeration value="Archive Candidate"/>
        </xsd:restriction>
      </xsd:simpleType>
    </xsd:element>
  </xsd:schema>
  <xsd:schema xmlns:xsd="http://www.w3.org/2001/XMLSchema" xmlns:xs="http://www.w3.org/2001/XMLSchema" xmlns:dms="http://schemas.microsoft.com/office/2006/documentManagement/types" xmlns:pc="http://schemas.microsoft.com/office/infopath/2007/PartnerControls" targetNamespace="42f0256c-2997-42ba-acb6-f97ce23f8eac" elementFormDefault="qualified">
    <xsd:import namespace="http://schemas.microsoft.com/office/2006/documentManagement/types"/>
    <xsd:import namespace="http://schemas.microsoft.com/office/infopath/2007/PartnerControls"/>
    <xsd:element name="Resource" ma:index="8" nillable="true" ma:displayName="Resource" ma:format="Dropdown" ma:internalName="Resource" ma:readOnly="false">
      <xsd:simpleType>
        <xsd:restriction base="dms:Choice">
          <xsd:enumeration value="FAQ"/>
          <xsd:enumeration value="Learning module"/>
          <xsd:enumeration value="Messaging guide"/>
          <xsd:enumeration value="Partner deck"/>
          <xsd:enumeration value="Sales pitch deck"/>
          <xsd:enumeration value="Scenario card"/>
          <xsd:enumeration value="Technical deck"/>
          <xsd:enumeration value="Technical document"/>
          <xsd:enumeration value="Technical video"/>
          <xsd:enumeration value="Webinar"/>
          <xsd:enumeration value="Whitepaper"/>
        </xsd:restriction>
      </xsd:simpleType>
    </xsd:element>
    <xsd:element name="SharedWithUsers" ma:index="32"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3" nillable="true" ma:displayName="Shared With Details" ma:hidden="true" ma:internalName="SharedWithDetails" ma:readOnly="true">
      <xsd:simpleType>
        <xsd:restriction base="dms:Note"/>
      </xsd:simpleType>
    </xsd:element>
    <xsd:element name="TaxCatchAll" ma:index="35" nillable="true" ma:displayName="Taxonomy Catch All Column" ma:hidden="true" ma:list="{fde5b3e6-a9af-4227-bbcf-cbf940dae80e}" ma:internalName="TaxCatchAll" ma:readOnly="false" ma:showField="CatchAllData" ma:web="42f0256c-2997-42ba-acb6-f97ce23f8ea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948E669-A802-4AD3-B8E1-7F3808685BA9}">
  <ds:schemaRefs>
    <ds:schemaRef ds:uri="http://schemas.openxmlformats.org/package/2006/metadata/core-properties"/>
    <ds:schemaRef ds:uri="http://purl.org/dc/terms/"/>
    <ds:schemaRef ds:uri="http://purl.org/dc/elements/1.1/"/>
    <ds:schemaRef ds:uri="42f0256c-2997-42ba-acb6-f97ce23f8eac"/>
    <ds:schemaRef ds:uri="http://schemas.microsoft.com/office/infopath/2007/PartnerControls"/>
    <ds:schemaRef ds:uri="http://schemas.microsoft.com/office/2006/documentManagement/types"/>
    <ds:schemaRef ds:uri="http://purl.org/dc/dcmitype/"/>
    <ds:schemaRef ds:uri="http://schemas.microsoft.com/office/2006/metadata/properties"/>
    <ds:schemaRef ds:uri="cd9fc493-ea97-45be-b838-e030c0505f86"/>
    <ds:schemaRef ds:uri="http://www.w3.org/XML/1998/namespace"/>
  </ds:schemaRefs>
</ds:datastoreItem>
</file>

<file path=customXml/itemProps2.xml><?xml version="1.0" encoding="utf-8"?>
<ds:datastoreItem xmlns:ds="http://schemas.openxmlformats.org/officeDocument/2006/customXml" ds:itemID="{E6529E55-D9C0-413C-B0B5-2D8C879F675E}">
  <ds:schemaRefs>
    <ds:schemaRef ds:uri="http://schemas.microsoft.com/sharepoint/v3/contenttype/forms"/>
  </ds:schemaRefs>
</ds:datastoreItem>
</file>

<file path=customXml/itemProps3.xml><?xml version="1.0" encoding="utf-8"?>
<ds:datastoreItem xmlns:ds="http://schemas.openxmlformats.org/officeDocument/2006/customXml" ds:itemID="{C12C5D88-64A4-4819-A922-6F45DFB0A69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d9fc493-ea97-45be-b838-e030c0505f86"/>
    <ds:schemaRef ds:uri="42f0256c-2997-42ba-acb6-f97ce23f8ea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8799</TotalTime>
  <Words>3261</Words>
  <Application>Microsoft Macintosh PowerPoint</Application>
  <PresentationFormat>Widescreen</PresentationFormat>
  <Paragraphs>516</Paragraphs>
  <Slides>24</Slides>
  <Notes>23</Notes>
  <HiddenSlides>5</HiddenSlides>
  <MMClips>0</MMClips>
  <ScaleCrop>false</ScaleCrop>
  <HeadingPairs>
    <vt:vector size="6" baseType="variant">
      <vt:variant>
        <vt:lpstr>Fonts Used</vt:lpstr>
      </vt:variant>
      <vt:variant>
        <vt:i4>16</vt:i4>
      </vt:variant>
      <vt:variant>
        <vt:lpstr>Theme</vt:lpstr>
      </vt:variant>
      <vt:variant>
        <vt:i4>1</vt:i4>
      </vt:variant>
      <vt:variant>
        <vt:lpstr>Slide Titles</vt:lpstr>
      </vt:variant>
      <vt:variant>
        <vt:i4>24</vt:i4>
      </vt:variant>
    </vt:vector>
  </HeadingPairs>
  <TitlesOfParts>
    <vt:vector size="41" baseType="lpstr">
      <vt:lpstr>Arial</vt:lpstr>
      <vt:lpstr>Arial Narrow</vt:lpstr>
      <vt:lpstr>Calibri</vt:lpstr>
      <vt:lpstr>ES Build</vt:lpstr>
      <vt:lpstr>ES Build </vt:lpstr>
      <vt:lpstr>ES Build (</vt:lpstr>
      <vt:lpstr>ES Build Full Bauhaus</vt:lpstr>
      <vt:lpstr>ES Build Medium</vt:lpstr>
      <vt:lpstr>ES Build Neutral</vt:lpstr>
      <vt:lpstr>ES Build SemiBold</vt:lpstr>
      <vt:lpstr>Helvetica Neue</vt:lpstr>
      <vt:lpstr>Microsoft Sans Serif</vt:lpstr>
      <vt:lpstr>Source Sans Pro</vt:lpstr>
      <vt:lpstr>Symbol</vt:lpstr>
      <vt:lpstr>System Font Regular</vt:lpstr>
      <vt:lpstr>Tahoma</vt:lpstr>
      <vt:lpstr>Veeam</vt:lpstr>
      <vt:lpstr>Radical Resilience to Keep Your Business Running</vt:lpstr>
      <vt:lpstr>The perfect storm of complexity and threats:</vt:lpstr>
      <vt:lpstr>The perfect storm of complexity and threats:</vt:lpstr>
      <vt:lpstr>Veeam is  </vt:lpstr>
      <vt:lpstr>Extensive workload coverage unmatched in the industry </vt:lpstr>
      <vt:lpstr>Veeam has the most comprehensive backup capabilities</vt:lpstr>
      <vt:lpstr>Veeam enables the fastest recovery with industry-leading RPOs and RTOs</vt:lpstr>
      <vt:lpstr>Patented Portable Data Format delivers complete  Data Freedom that no other vendor can deliver</vt:lpstr>
      <vt:lpstr>Veeam’s AI-driven threat detection is the industry benchmark</vt:lpstr>
      <vt:lpstr>PowerPoint Presentation</vt:lpstr>
      <vt:lpstr>Veeam provides the most complete end-to-end ransomware protection and recovery</vt:lpstr>
      <vt:lpstr>Driving relentless innovation to  derive deeper insights from your data </vt:lpstr>
      <vt:lpstr>Flexible delivery, customer choice:  self-managed software or as-a-Service</vt:lpstr>
      <vt:lpstr>Products that bring data resilience to life</vt:lpstr>
      <vt:lpstr>Veeam is #1 in Data Resilience</vt:lpstr>
      <vt:lpstr>Veeam is #1 in Data Resilience</vt:lpstr>
      <vt:lpstr>PowerPoint Presentation</vt:lpstr>
      <vt:lpstr>PowerPoint Presentation</vt:lpstr>
      <vt:lpstr>Veeam Data Platform Packaging</vt:lpstr>
      <vt:lpstr>Veeam Data Platform Packages</vt:lpstr>
      <vt:lpstr>Veeam Data Cloud unlocks the full potential  of Veeam Data Platform as a service</vt:lpstr>
      <vt:lpstr>Veeam has a relentless track record on disruptive innovation in data resilience</vt:lpstr>
      <vt:lpstr>PowerPoint Presentation</vt:lpstr>
      <vt:lpstr>Made more powerful by a robust Security partner ecosystem</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the Refreshed Veeam Brand</dc:title>
  <dc:creator>Misha Rangel</dc:creator>
  <cp:keywords>Veeam</cp:keywords>
  <cp:lastModifiedBy>Cornel Popescu</cp:lastModifiedBy>
  <cp:revision>4</cp:revision>
  <dcterms:created xsi:type="dcterms:W3CDTF">2024-06-13T21:50:09Z</dcterms:created>
  <dcterms:modified xsi:type="dcterms:W3CDTF">2024-10-16T07:16:05Z</dcterms:modified>
  <cp:category>Templat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D744DBE91A1ED419F636EC45150A328</vt:lpwstr>
  </property>
  <property fmtid="{D5CDD505-2E9C-101B-9397-08002B2CF9AE}" pid="3" name="MediaServiceImageTags">
    <vt:lpwstr/>
  </property>
  <property fmtid="{D5CDD505-2E9C-101B-9397-08002B2CF9AE}" pid="4" name="MarketingCampaign">
    <vt:lpwstr/>
  </property>
  <property fmtid="{D5CDD505-2E9C-101B-9397-08002B2CF9AE}" pid="5" name="Audience">
    <vt:lpwstr>19;#Customer|76456fda-07e6-4823-aa04-b9f6379414b8</vt:lpwstr>
  </property>
  <property fmtid="{D5CDD505-2E9C-101B-9397-08002B2CF9AE}" pid="6" name="MarketSegment">
    <vt:lpwstr>32;#Enterprise|d9f78f50-a3cd-4752-b3a4-280758a17050;#31;#Commercial|5906e64b-5af0-4b18-83fb-20ea736789e5</vt:lpwstr>
  </property>
  <property fmtid="{D5CDD505-2E9C-101B-9397-08002B2CF9AE}" pid="7" name="Language">
    <vt:lpwstr>7;#English|09850924-da2d-4779-a214-e02fc3fd7d40</vt:lpwstr>
  </property>
  <property fmtid="{D5CDD505-2E9C-101B-9397-08002B2CF9AE}" pid="8" name="Product">
    <vt:lpwstr>12;#N/A|a92dfe79-2978-4248-9133-e15bb560f9e9</vt:lpwstr>
  </property>
  <property fmtid="{D5CDD505-2E9C-101B-9397-08002B2CF9AE}" pid="9" name="Department">
    <vt:lpwstr>5;#Product Marketing|de794684-31f8-4ffd-ab5f-69018eaedac3</vt:lpwstr>
  </property>
</Properties>
</file>